
<file path=[Content_Types].xml><?xml version="1.0" encoding="utf-8"?>
<Types xmlns="http://schemas.openxmlformats.org/package/2006/content-types">
  <Default Extension="xml" ContentType="application/xml"/>
  <Default Extension="svg" ContentType="image/svg+xml"/>
  <Default Extension="rels" ContentType="application/vnd.openxmlformats-package.relationships+xml"/>
  <Default Extension="emf" ContentType="image/x-emf"/>
  <Default Extension="vml" ContentType="application/vnd.openxmlformats-officedocument.vmlDrawing"/>
  <Default Extension="bin" ContentType="application/vnd.openxmlformats-officedocument.presentationml.printerSettings"/>
  <Default Extension="png" ContentType="image/p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embeddings/oleObject1.bin" ContentType="application/vnd.openxmlformats-officedocument.oleObject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embeddings/oleObject2.bin" ContentType="application/vnd.openxmlformats-officedocument.oleObject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embeddings/oleObject3.bin" ContentType="application/vnd.openxmlformats-officedocument.oleObject"/>
  <Override PartName="/ppt/tags/tag8.xml" ContentType="application/vnd.openxmlformats-officedocument.presentationml.tags+xml"/>
  <Override PartName="/ppt/embeddings/oleObject4.bin" ContentType="application/vnd.openxmlformats-officedocument.oleObject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2.xml" ContentType="application/vnd.openxmlformats-officedocument.theme+xml"/>
  <Override PartName="/ppt/tags/tag9.xml" ContentType="application/vnd.openxmlformats-officedocument.presentationml.tags+xml"/>
  <Override PartName="/ppt/embeddings/oleObject5.bin" ContentType="application/vnd.openxmlformats-officedocument.oleObject"/>
  <Override PartName="/ppt/theme/theme3.xml" ContentType="application/vnd.openxmlformats-officedocument.theme+xml"/>
  <Override PartName="/ppt/theme/theme4.xml" ContentType="application/vnd.openxmlformats-officedocument.theme+xml"/>
  <Override PartName="/ppt/tags/tag10.xml" ContentType="application/vnd.openxmlformats-officedocument.presentationml.tags+xml"/>
  <Override PartName="/ppt/notesSlides/notesSlide1.xml" ContentType="application/vnd.openxmlformats-officedocument.presentationml.notesSlide+xml"/>
  <Override PartName="/ppt/embeddings/oleObject6.bin" ContentType="application/vnd.openxmlformats-officedocument.oleObject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2.xml" ContentType="application/vnd.openxmlformats-officedocument.presentationml.notesSlide+xml"/>
  <Override PartName="/ppt/embeddings/oleObject7.bin" ContentType="application/vnd.openxmlformats-officedocument.oleObject"/>
  <Override PartName="/ppt/tags/tag13.xml" ContentType="application/vnd.openxmlformats-officedocument.presentationml.tags+xml"/>
  <Override PartName="/ppt/embeddings/oleObject8.bin" ContentType="application/vnd.openxmlformats-officedocument.oleObject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embeddings/oleObject9.bin" ContentType="application/vnd.openxmlformats-officedocument.oleObject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3.xml" ContentType="application/vnd.openxmlformats-officedocument.presentationml.notesSlide+xml"/>
  <Override PartName="/ppt/embeddings/oleObject10.bin" ContentType="application/vnd.openxmlformats-officedocument.oleObject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4.xml" ContentType="application/vnd.openxmlformats-officedocument.presentationml.notesSlide+xml"/>
  <Override PartName="/ppt/embeddings/oleObject11.bin" ContentType="application/vnd.openxmlformats-officedocument.oleObject"/>
  <Override PartName="/ppt/tags/tag20.xml" ContentType="application/vnd.openxmlformats-officedocument.presentationml.tags+xml"/>
  <Override PartName="/ppt/embeddings/oleObject12.bin" ContentType="application/vnd.openxmlformats-officedocument.oleObject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notesSlides/notesSlide5.xml" ContentType="application/vnd.openxmlformats-officedocument.presentationml.notesSlide+xml"/>
  <Override PartName="/ppt/embeddings/oleObject13.bin" ContentType="application/vnd.openxmlformats-officedocument.oleObject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notesSlides/notesSlide6.xml" ContentType="application/vnd.openxmlformats-officedocument.presentationml.notesSlide+xml"/>
  <Override PartName="/ppt/embeddings/oleObject14.bin" ContentType="application/vnd.openxmlformats-officedocument.oleObject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notesSlides/notesSlide7.xml" ContentType="application/vnd.openxmlformats-officedocument.presentationml.notesSlide+xml"/>
  <Override PartName="/ppt/embeddings/oleObject15.bin" ContentType="application/vnd.openxmlformats-officedocument.oleObject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notesSlides/notesSlide8.xml" ContentType="application/vnd.openxmlformats-officedocument.presentationml.notesSlide+xml"/>
  <Override PartName="/ppt/embeddings/oleObject16.bin" ContentType="application/vnd.openxmlformats-officedocument.oleObject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notesSlides/notesSlide9.xml" ContentType="application/vnd.openxmlformats-officedocument.presentationml.notesSlide+xml"/>
  <Override PartName="/ppt/embeddings/oleObject17.bin" ContentType="application/vnd.openxmlformats-officedocument.oleObject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notesSlides/notesSlide10.xml" ContentType="application/vnd.openxmlformats-officedocument.presentationml.notesSlide+xml"/>
  <Override PartName="/ppt/embeddings/oleObject18.bin" ContentType="application/vnd.openxmlformats-officedocument.oleObject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notesSlides/notesSlide11.xml" ContentType="application/vnd.openxmlformats-officedocument.presentationml.notesSlide+xml"/>
  <Override PartName="/ppt/embeddings/oleObject19.bin" ContentType="application/vnd.openxmlformats-officedocument.oleObject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notesSlides/notesSlide12.xml" ContentType="application/vnd.openxmlformats-officedocument.presentationml.notesSlide+xml"/>
  <Override PartName="/ppt/embeddings/oleObject20.bin" ContentType="application/vnd.openxmlformats-officedocument.oleObject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notesSlides/notesSlide13.xml" ContentType="application/vnd.openxmlformats-officedocument.presentationml.notesSlide+xml"/>
  <Override PartName="/ppt/embeddings/oleObject21.bin" ContentType="application/vnd.openxmlformats-officedocument.oleObject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notesSlides/notesSlide14.xml" ContentType="application/vnd.openxmlformats-officedocument.presentationml.notesSlide+xml"/>
  <Override PartName="/ppt/embeddings/oleObject22.bin" ContentType="application/vnd.openxmlformats-officedocument.oleObject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notesSlides/notesSlide15.xml" ContentType="application/vnd.openxmlformats-officedocument.presentationml.notesSlide+xml"/>
  <Override PartName="/ppt/embeddings/oleObject23.bin" ContentType="application/vnd.openxmlformats-officedocument.oleObject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notesSlides/notesSlide16.xml" ContentType="application/vnd.openxmlformats-officedocument.presentationml.notesSlide+xml"/>
  <Override PartName="/ppt/embeddings/oleObject24.bin" ContentType="application/vnd.openxmlformats-officedocument.oleObject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embeddings/oleObject25.bin" ContentType="application/vnd.openxmlformats-officedocument.oleObject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embeddings/oleObject26.bin" ContentType="application/vnd.openxmlformats-officedocument.oleObject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notesSlides/notesSlide17.xml" ContentType="application/vnd.openxmlformats-officedocument.presentationml.notesSlide+xml"/>
  <Override PartName="/ppt/embeddings/oleObject27.bin" ContentType="application/vnd.openxmlformats-officedocument.oleObject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notesSlides/notesSlide18.xml" ContentType="application/vnd.openxmlformats-officedocument.presentationml.notesSlide+xml"/>
  <Override PartName="/ppt/embeddings/oleObject28.bin" ContentType="application/vnd.openxmlformats-officedocument.oleObject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notesSlides/notesSlide19.xml" ContentType="application/vnd.openxmlformats-officedocument.presentationml.notesSlide+xml"/>
  <Override PartName="/ppt/embeddings/oleObject29.bin" ContentType="application/vnd.openxmlformats-officedocument.oleObject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embeddings/oleObject30.bin" ContentType="application/vnd.openxmlformats-officedocument.oleObject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embeddings/oleObject31.bin" ContentType="application/vnd.openxmlformats-officedocument.oleObject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embeddings/oleObject32.bin" ContentType="application/vnd.openxmlformats-officedocument.oleObject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embeddings/oleObject33.bin" ContentType="application/vnd.openxmlformats-officedocument.oleObject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embeddings/oleObject34.bin" ContentType="application/vnd.openxmlformats-officedocument.oleObject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embeddings/oleObject35.bin" ContentType="application/vnd.openxmlformats-officedocument.oleObject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embeddings/oleObject36.bin" ContentType="application/vnd.openxmlformats-officedocument.oleObject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embeddings/oleObject37.bin" ContentType="application/vnd.openxmlformats-officedocument.oleObject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embeddings/oleObject38.bin" ContentType="application/vnd.openxmlformats-officedocument.oleObject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embeddings/oleObject39.bin" ContentType="application/vnd.openxmlformats-officedocument.oleObject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embeddings/oleObject40.bin" ContentType="application/vnd.openxmlformats-officedocument.oleObject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embeddings/oleObject41.bin" ContentType="application/vnd.openxmlformats-officedocument.oleObject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embeddings/oleObject42.bin" ContentType="application/vnd.openxmlformats-officedocument.oleObject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embeddings/oleObject43.bin" ContentType="application/vnd.openxmlformats-officedocument.oleObject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embeddings/oleObject44.bin" ContentType="application/vnd.openxmlformats-officedocument.oleObject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embeddings/oleObject45.bin" ContentType="application/vnd.openxmlformats-officedocument.oleObject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embeddings/oleObject46.bin" ContentType="application/vnd.openxmlformats-officedocument.oleObject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embeddings/oleObject47.bin" ContentType="application/vnd.openxmlformats-officedocument.oleObject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embeddings/oleObject48.bin" ContentType="application/vnd.openxmlformats-officedocument.oleObject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embeddings/oleObject49.bin" ContentType="application/vnd.openxmlformats-officedocument.oleObject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embeddings/oleObject50.bin" ContentType="application/vnd.openxmlformats-officedocument.oleObject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embeddings/oleObject51.bin" ContentType="application/vnd.openxmlformats-officedocument.oleObject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webextensions/taskpanes.xml" ContentType="application/vnd.ms-office.webextensiontaskpanes+xml"/>
  <Override PartName="/ppt/webextensions/webextension1.xml" ContentType="application/vnd.ms-office.webextension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4" Type="http://schemas.openxmlformats.org/officeDocument/2006/relationships/custom-properties" Target="docProps/custom.xml"/><Relationship Id="rId5" Type="http://schemas.microsoft.com/office/2011/relationships/webextensiontaskpanes" Target="ppt/webextensions/taskpanes.xml"/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71" r:id="rId4"/>
    <p:sldMasterId id="2147483684" r:id="rId5"/>
  </p:sldMasterIdLst>
  <p:notesMasterIdLst>
    <p:notesMasterId r:id="rId52"/>
  </p:notesMasterIdLst>
  <p:handoutMasterIdLst>
    <p:handoutMasterId r:id="rId53"/>
  </p:handoutMasterIdLst>
  <p:sldIdLst>
    <p:sldId id="256" r:id="rId6"/>
    <p:sldId id="8134" r:id="rId7"/>
    <p:sldId id="8142" r:id="rId8"/>
    <p:sldId id="8136" r:id="rId9"/>
    <p:sldId id="8137" r:id="rId10"/>
    <p:sldId id="8139" r:id="rId11"/>
    <p:sldId id="8141" r:id="rId12"/>
    <p:sldId id="8143" r:id="rId13"/>
    <p:sldId id="8144" r:id="rId14"/>
    <p:sldId id="8145" r:id="rId15"/>
    <p:sldId id="8146" r:id="rId16"/>
    <p:sldId id="8147" r:id="rId17"/>
    <p:sldId id="8148" r:id="rId18"/>
    <p:sldId id="8149" r:id="rId19"/>
    <p:sldId id="8150" r:id="rId20"/>
    <p:sldId id="8151" r:id="rId21"/>
    <p:sldId id="8153" r:id="rId22"/>
    <p:sldId id="8154" r:id="rId23"/>
    <p:sldId id="8156" r:id="rId24"/>
    <p:sldId id="8157" r:id="rId25"/>
    <p:sldId id="8158" r:id="rId26"/>
    <p:sldId id="8159" r:id="rId27"/>
    <p:sldId id="8160" r:id="rId28"/>
    <p:sldId id="8161" r:id="rId29"/>
    <p:sldId id="8162" r:id="rId30"/>
    <p:sldId id="8163" r:id="rId31"/>
    <p:sldId id="8164" r:id="rId32"/>
    <p:sldId id="8165" r:id="rId33"/>
    <p:sldId id="8166" r:id="rId34"/>
    <p:sldId id="8167" r:id="rId35"/>
    <p:sldId id="8168" r:id="rId36"/>
    <p:sldId id="8169" r:id="rId37"/>
    <p:sldId id="8170" r:id="rId38"/>
    <p:sldId id="8171" r:id="rId39"/>
    <p:sldId id="8172" r:id="rId40"/>
    <p:sldId id="8173" r:id="rId41"/>
    <p:sldId id="8174" r:id="rId42"/>
    <p:sldId id="8175" r:id="rId43"/>
    <p:sldId id="8178" r:id="rId44"/>
    <p:sldId id="8176" r:id="rId45"/>
    <p:sldId id="8177" r:id="rId46"/>
    <p:sldId id="8180" r:id="rId47"/>
    <p:sldId id="8181" r:id="rId48"/>
    <p:sldId id="8182" r:id="rId49"/>
    <p:sldId id="8179" r:id="rId50"/>
    <p:sldId id="8183" r:id="rId51"/>
  </p:sldIdLst>
  <p:sldSz cx="9144000" cy="6858000" type="screen4x3"/>
  <p:notesSz cx="6881813" cy="9296400"/>
  <p:custDataLst>
    <p:tags r:id="rId55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3" orient="horz" pos="187" userDrawn="1">
          <p15:clr>
            <a:srgbClr val="B49696"/>
          </p15:clr>
        </p15:guide>
        <p15:guide id="4" pos="2880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>
        <p15:guide id="1" orient="horz" pos="2928" userDrawn="1">
          <p15:clr>
            <a:srgbClr val="A4A3A4"/>
          </p15:clr>
        </p15:guide>
        <p15:guide id="2" pos="2168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hor" initials="A" lastIdx="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AF9FF"/>
    <a:srgbClr val="2DC5FA"/>
    <a:srgbClr val="ADABA1"/>
    <a:srgbClr val="D9D9D9"/>
    <a:srgbClr val="B9ECFE"/>
    <a:srgbClr val="005679"/>
    <a:srgbClr val="03674A"/>
    <a:srgbClr val="083C2D"/>
    <a:srgbClr val="048962"/>
    <a:srgbClr val="818F7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10A1B5D5-9B99-4C35-A422-299274C87663}" styleName="Medium Style 1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301" autoAdjust="0"/>
    <p:restoredTop sz="72156" autoAdjust="0"/>
  </p:normalViewPr>
  <p:slideViewPr>
    <p:cSldViewPr snapToObjects="1" showGuides="1">
      <p:cViewPr>
        <p:scale>
          <a:sx n="75" d="100"/>
          <a:sy n="75" d="100"/>
        </p:scale>
        <p:origin x="-2024" y="-80"/>
      </p:cViewPr>
      <p:guideLst>
        <p:guide orient="horz" pos="187"/>
        <p:guide pos="2880"/>
      </p:guideLst>
    </p:cSldViewPr>
  </p:slideViewPr>
  <p:outlineViewPr>
    <p:cViewPr>
      <p:scale>
        <a:sx n="33" d="100"/>
        <a:sy n="33" d="100"/>
      </p:scale>
      <p:origin x="0" y="-11052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Objects="1" showGuides="1">
      <p:cViewPr varScale="1">
        <p:scale>
          <a:sx n="82" d="100"/>
          <a:sy n="82" d="100"/>
        </p:scale>
        <p:origin x="3948" y="78"/>
      </p:cViewPr>
      <p:guideLst>
        <p:guide orient="horz" pos="2928"/>
        <p:guide pos="2168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4" Type="http://schemas.openxmlformats.org/officeDocument/2006/relationships/slide" Target="slides/slide9.xml"/><Relationship Id="rId15" Type="http://schemas.openxmlformats.org/officeDocument/2006/relationships/slide" Target="slides/slide10.xml"/><Relationship Id="rId16" Type="http://schemas.openxmlformats.org/officeDocument/2006/relationships/slide" Target="slides/slide11.xml"/><Relationship Id="rId17" Type="http://schemas.openxmlformats.org/officeDocument/2006/relationships/slide" Target="slides/slide12.xml"/><Relationship Id="rId18" Type="http://schemas.openxmlformats.org/officeDocument/2006/relationships/slide" Target="slides/slide13.xml"/><Relationship Id="rId19" Type="http://schemas.openxmlformats.org/officeDocument/2006/relationships/slide" Target="slides/slide14.xml"/><Relationship Id="rId50" Type="http://schemas.openxmlformats.org/officeDocument/2006/relationships/slide" Target="slides/slide45.xml"/><Relationship Id="rId51" Type="http://schemas.openxmlformats.org/officeDocument/2006/relationships/slide" Target="slides/slide46.xml"/><Relationship Id="rId52" Type="http://schemas.openxmlformats.org/officeDocument/2006/relationships/notesMaster" Target="notesMasters/notesMaster1.xml"/><Relationship Id="rId53" Type="http://schemas.openxmlformats.org/officeDocument/2006/relationships/handoutMaster" Target="handoutMasters/handoutMaster1.xml"/><Relationship Id="rId54" Type="http://schemas.openxmlformats.org/officeDocument/2006/relationships/printerSettings" Target="printerSettings/printerSettings1.bin"/><Relationship Id="rId55" Type="http://schemas.openxmlformats.org/officeDocument/2006/relationships/tags" Target="tags/tag1.xml"/><Relationship Id="rId56" Type="http://schemas.openxmlformats.org/officeDocument/2006/relationships/commentAuthors" Target="commentAuthors.xml"/><Relationship Id="rId57" Type="http://schemas.openxmlformats.org/officeDocument/2006/relationships/presProps" Target="presProps.xml"/><Relationship Id="rId58" Type="http://schemas.openxmlformats.org/officeDocument/2006/relationships/viewProps" Target="viewProps.xml"/><Relationship Id="rId59" Type="http://schemas.openxmlformats.org/officeDocument/2006/relationships/theme" Target="theme/theme1.xml"/><Relationship Id="rId40" Type="http://schemas.openxmlformats.org/officeDocument/2006/relationships/slide" Target="slides/slide35.xml"/><Relationship Id="rId41" Type="http://schemas.openxmlformats.org/officeDocument/2006/relationships/slide" Target="slides/slide36.xml"/><Relationship Id="rId42" Type="http://schemas.openxmlformats.org/officeDocument/2006/relationships/slide" Target="slides/slide37.xml"/><Relationship Id="rId43" Type="http://schemas.openxmlformats.org/officeDocument/2006/relationships/slide" Target="slides/slide38.xml"/><Relationship Id="rId44" Type="http://schemas.openxmlformats.org/officeDocument/2006/relationships/slide" Target="slides/slide39.xml"/><Relationship Id="rId45" Type="http://schemas.openxmlformats.org/officeDocument/2006/relationships/slide" Target="slides/slide40.xml"/><Relationship Id="rId46" Type="http://schemas.openxmlformats.org/officeDocument/2006/relationships/slide" Target="slides/slide41.xml"/><Relationship Id="rId47" Type="http://schemas.openxmlformats.org/officeDocument/2006/relationships/slide" Target="slides/slide42.xml"/><Relationship Id="rId48" Type="http://schemas.openxmlformats.org/officeDocument/2006/relationships/slide" Target="slides/slide43.xml"/><Relationship Id="rId49" Type="http://schemas.openxmlformats.org/officeDocument/2006/relationships/slide" Target="slides/slide44.xml"/><Relationship Id="rId1" Type="http://schemas.openxmlformats.org/officeDocument/2006/relationships/customXml" Target="../customXml/item1.xml"/><Relationship Id="rId2" Type="http://schemas.openxmlformats.org/officeDocument/2006/relationships/customXml" Target="../customXml/item2.xml"/><Relationship Id="rId3" Type="http://schemas.openxmlformats.org/officeDocument/2006/relationships/customXml" Target="../customXml/item3.xml"/><Relationship Id="rId4" Type="http://schemas.openxmlformats.org/officeDocument/2006/relationships/slideMaster" Target="slideMasters/slideMaster1.xml"/><Relationship Id="rId5" Type="http://schemas.openxmlformats.org/officeDocument/2006/relationships/slideMaster" Target="slideMasters/slideMaster2.xml"/><Relationship Id="rId6" Type="http://schemas.openxmlformats.org/officeDocument/2006/relationships/slide" Target="slides/slide1.xml"/><Relationship Id="rId7" Type="http://schemas.openxmlformats.org/officeDocument/2006/relationships/slide" Target="slides/slide2.xml"/><Relationship Id="rId8" Type="http://schemas.openxmlformats.org/officeDocument/2006/relationships/slide" Target="slides/slide3.xml"/><Relationship Id="rId9" Type="http://schemas.openxmlformats.org/officeDocument/2006/relationships/slide" Target="slides/slide4.xml"/><Relationship Id="rId30" Type="http://schemas.openxmlformats.org/officeDocument/2006/relationships/slide" Target="slides/slide25.xml"/><Relationship Id="rId31" Type="http://schemas.openxmlformats.org/officeDocument/2006/relationships/slide" Target="slides/slide26.xml"/><Relationship Id="rId32" Type="http://schemas.openxmlformats.org/officeDocument/2006/relationships/slide" Target="slides/slide27.xml"/><Relationship Id="rId33" Type="http://schemas.openxmlformats.org/officeDocument/2006/relationships/slide" Target="slides/slide28.xml"/><Relationship Id="rId34" Type="http://schemas.openxmlformats.org/officeDocument/2006/relationships/slide" Target="slides/slide29.xml"/><Relationship Id="rId35" Type="http://schemas.openxmlformats.org/officeDocument/2006/relationships/slide" Target="slides/slide30.xml"/><Relationship Id="rId36" Type="http://schemas.openxmlformats.org/officeDocument/2006/relationships/slide" Target="slides/slide31.xml"/><Relationship Id="rId37" Type="http://schemas.openxmlformats.org/officeDocument/2006/relationships/slide" Target="slides/slide32.xml"/><Relationship Id="rId38" Type="http://schemas.openxmlformats.org/officeDocument/2006/relationships/slide" Target="slides/slide33.xml"/><Relationship Id="rId39" Type="http://schemas.openxmlformats.org/officeDocument/2006/relationships/slide" Target="slides/slide34.xml"/><Relationship Id="rId20" Type="http://schemas.openxmlformats.org/officeDocument/2006/relationships/slide" Target="slides/slide15.xml"/><Relationship Id="rId21" Type="http://schemas.openxmlformats.org/officeDocument/2006/relationships/slide" Target="slides/slide16.xml"/><Relationship Id="rId22" Type="http://schemas.openxmlformats.org/officeDocument/2006/relationships/slide" Target="slides/slide17.xml"/><Relationship Id="rId23" Type="http://schemas.openxmlformats.org/officeDocument/2006/relationships/slide" Target="slides/slide18.xml"/><Relationship Id="rId24" Type="http://schemas.openxmlformats.org/officeDocument/2006/relationships/slide" Target="slides/slide19.xml"/><Relationship Id="rId25" Type="http://schemas.openxmlformats.org/officeDocument/2006/relationships/slide" Target="slides/slide20.xml"/><Relationship Id="rId26" Type="http://schemas.openxmlformats.org/officeDocument/2006/relationships/slide" Target="slides/slide21.xml"/><Relationship Id="rId27" Type="http://schemas.openxmlformats.org/officeDocument/2006/relationships/slide" Target="slides/slide22.xml"/><Relationship Id="rId28" Type="http://schemas.openxmlformats.org/officeDocument/2006/relationships/slide" Target="slides/slide23.xml"/><Relationship Id="rId29" Type="http://schemas.openxmlformats.org/officeDocument/2006/relationships/slide" Target="slides/slide24.xml"/><Relationship Id="rId60" Type="http://schemas.openxmlformats.org/officeDocument/2006/relationships/tableStyles" Target="tableStyles.xml"/><Relationship Id="rId10" Type="http://schemas.openxmlformats.org/officeDocument/2006/relationships/slide" Target="slides/slide5.xml"/><Relationship Id="rId11" Type="http://schemas.openxmlformats.org/officeDocument/2006/relationships/slide" Target="slides/slide6.xml"/><Relationship Id="rId12" Type="http://schemas.openxmlformats.org/officeDocument/2006/relationships/slide" Target="slides/slide7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82119" cy="46482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98102" y="1"/>
            <a:ext cx="2982119" cy="46482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7497BA2-BE1C-4EE9-A31C-7FFCDEBC3FDE}" type="datetimeFigureOut">
              <a:rPr lang="en-US" smtClean="0">
                <a:latin typeface="Arial" pitchFamily="34" charset="0"/>
                <a:cs typeface="Arial" pitchFamily="34" charset="0"/>
              </a:rPr>
              <a:pPr/>
              <a:t>5/22/20</a:t>
            </a:fld>
            <a:endParaRPr 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29967"/>
            <a:ext cx="2982119" cy="46482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98102" y="8829967"/>
            <a:ext cx="2982119" cy="46482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0C191C2-D4F7-424F-868C-23ADE6615EBC}" type="slidenum">
              <a:rPr lang="en-US" smtClean="0">
                <a:latin typeface="Arial" pitchFamily="34" charset="0"/>
                <a:cs typeface="Arial" pitchFamily="34" charset="0"/>
              </a:rPr>
              <a:pPr/>
              <a:t>‹#›</a:t>
            </a:fld>
            <a:endParaRPr lang="en-US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8605548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82119" cy="46482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98102" y="1"/>
            <a:ext cx="2982119" cy="46482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fld id="{732C4D34-2C19-43C3-91CC-9F2B4AC12977}" type="datetimeFigureOut">
              <a:rPr lang="en-US" smtClean="0"/>
              <a:pPr/>
              <a:t>5/22/20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17600" y="698500"/>
            <a:ext cx="4646613" cy="34845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8182" y="4415791"/>
            <a:ext cx="5505450" cy="418338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2982119" cy="46482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98102" y="8829967"/>
            <a:ext cx="2982119" cy="46482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fld id="{D256E95E-57AA-4526-AA4C-3002F47FB13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7139240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1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3.xml"/></Relationships>
</file>

<file path=ppt/notesSlides/_rels/notesSlide1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4.xml"/></Relationships>
</file>

<file path=ppt/notesSlides/_rels/notesSlide1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5.xml"/></Relationships>
</file>

<file path=ppt/notesSlides/_rels/notesSlide1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6.xml"/></Relationships>
</file>

<file path=ppt/notesSlides/_rels/notesSlide1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7.xml"/></Relationships>
</file>

<file path=ppt/notesSlides/_rels/notesSlide1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8.xml"/></Relationships>
</file>

<file path=ppt/notesSlides/_rels/notesSlide1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9.xml"/></Relationships>
</file>

<file path=ppt/notesSlides/_rels/notesSlide1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2.xml"/></Relationships>
</file>

<file path=ppt/notesSlides/_rels/notesSlide1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3.xml"/></Relationships>
</file>

<file path=ppt/notesSlides/_rels/notesSlide1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4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.xm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6.xml"/></Relationships>
</file>

<file path=ppt/notesSlides/_rels/notesSlide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8.xml"/></Relationships>
</file>

<file path=ppt/notesSlides/_rels/notesSlide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9.xml"/></Relationships>
</file>

<file path=ppt/notesSlides/_rels/notesSlide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0.xml"/></Relationships>
</file>

<file path=ppt/notesSlides/_rels/notesSlide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1.xml"/></Relationships>
</file>

<file path=ppt/notesSlides/_rels/notesSlide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2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" name="Google Shape;116;g6c52a2e8d8_0_177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7" name="Google Shape;117;g6c52a2e8d8_0_17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/>
              <a:buChar char="•"/>
            </a:pPr>
            <a:r>
              <a:rPr lang="en-US" dirty="0" smtClean="0"/>
              <a:t>For Travel Type Distribution:</a:t>
            </a:r>
          </a:p>
          <a:p>
            <a:pPr marL="628650" lvl="1" indent="-171450">
              <a:buFont typeface="Arial"/>
              <a:buChar char="•"/>
            </a:pPr>
            <a:r>
              <a:rPr lang="en-US" dirty="0" smtClean="0"/>
              <a:t>It</a:t>
            </a:r>
            <a:r>
              <a:rPr lang="en-US" baseline="0" dirty="0" smtClean="0"/>
              <a:t> is a clear 70-30 split in favor of Business Travel over Personal (i.e. Leisure Travel)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256E95E-57AA-4526-AA4C-3002F47FB13B}" type="slidenum">
              <a:rPr lang="en-US" smtClean="0"/>
              <a:pPr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1277113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/>
              <a:buChar char="•"/>
            </a:pPr>
            <a:r>
              <a:rPr lang="en-US" dirty="0" smtClean="0"/>
              <a:t>For the Target Variable</a:t>
            </a:r>
            <a:r>
              <a:rPr lang="en-US" baseline="0" dirty="0" smtClean="0"/>
              <a:t>, Churn Rate, we can safely assume that we have a balance split, with a slight tip to the Unsatisfied part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256E95E-57AA-4526-AA4C-3002F47FB13B}" type="slidenum">
              <a:rPr lang="en-US" smtClean="0"/>
              <a:pPr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4601785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/>
              <a:buChar char="•"/>
            </a:pPr>
            <a:r>
              <a:rPr lang="en-US" dirty="0" smtClean="0"/>
              <a:t>Moving</a:t>
            </a:r>
            <a:r>
              <a:rPr lang="en-US" baseline="0" dirty="0" smtClean="0"/>
              <a:t> to the Ordinal Categorical Variables, I analyzed the features Centrality and Variability to see how their grade points vary between each other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256E95E-57AA-4526-AA4C-3002F47FB13B}" type="slidenum">
              <a:rPr lang="en-US" smtClean="0"/>
              <a:pPr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9826811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/>
              <a:buChar char="•"/>
            </a:pPr>
            <a:endParaRPr lang="en-US" baseline="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256E95E-57AA-4526-AA4C-3002F47FB13B}" type="slidenum">
              <a:rPr lang="en-US" smtClean="0"/>
              <a:pPr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3162599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256E95E-57AA-4526-AA4C-3002F47FB13B}" type="slidenum">
              <a:rPr lang="en-US" smtClean="0"/>
              <a:pPr/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7294799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lvl="1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baseline="0" dirty="0" smtClean="0"/>
              <a:t>Minding that math behind Spearman is Pearson based, however the former uses ranked values rather than real valu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256E95E-57AA-4526-AA4C-3002F47FB13B}" type="slidenum">
              <a:rPr lang="en-US" smtClean="0"/>
              <a:pPr/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82345953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/>
              <a:buChar char="•"/>
            </a:pPr>
            <a:r>
              <a:rPr lang="en-US" dirty="0" smtClean="0"/>
              <a:t>Formulate</a:t>
            </a:r>
            <a:r>
              <a:rPr lang="en-US" baseline="0" dirty="0" smtClean="0"/>
              <a:t> an accurate characterization of the whole dataset population regarding :</a:t>
            </a:r>
          </a:p>
          <a:p>
            <a:pPr marL="628650" lvl="1" indent="-171450">
              <a:buFont typeface="Arial"/>
              <a:buChar char="•"/>
            </a:pPr>
            <a:r>
              <a:rPr lang="en-US" baseline="0" dirty="0" smtClean="0"/>
              <a:t>Average Age of the Passenger</a:t>
            </a:r>
          </a:p>
          <a:p>
            <a:pPr marL="628650" lvl="1" indent="-171450">
              <a:buFont typeface="Arial"/>
              <a:buChar char="•"/>
            </a:pPr>
            <a:r>
              <a:rPr lang="en-US" baseline="0" dirty="0" smtClean="0"/>
              <a:t>Gender Split</a:t>
            </a:r>
          </a:p>
          <a:p>
            <a:pPr marL="628650" lvl="1" indent="-171450">
              <a:buFont typeface="Arial"/>
              <a:buChar char="•"/>
            </a:pPr>
            <a:r>
              <a:rPr lang="en-US" baseline="0" dirty="0" smtClean="0"/>
              <a:t>Travel Type Split</a:t>
            </a:r>
          </a:p>
          <a:p>
            <a:pPr marL="628650" lvl="1" indent="-171450">
              <a:buFont typeface="Arial"/>
              <a:buChar char="•"/>
            </a:pPr>
            <a:r>
              <a:rPr lang="en-US" baseline="0" dirty="0" smtClean="0"/>
              <a:t>Customer Type Split</a:t>
            </a:r>
          </a:p>
          <a:p>
            <a:pPr marL="628650" lvl="1" indent="-171450">
              <a:buFont typeface="Arial"/>
              <a:buChar char="•"/>
            </a:pPr>
            <a:endParaRPr lang="en-US" baseline="0" dirty="0" smtClean="0"/>
          </a:p>
          <a:p>
            <a:pPr marL="628650" lvl="1" indent="-171450">
              <a:buFont typeface="Arial"/>
              <a:buChar char="•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256E95E-57AA-4526-AA4C-3002F47FB13B}" type="slidenum">
              <a:rPr lang="en-US" smtClean="0"/>
              <a:pPr/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3292726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/>
              <a:buChar char="•"/>
            </a:pPr>
            <a:r>
              <a:rPr lang="en-US" dirty="0" smtClean="0"/>
              <a:t>Moving</a:t>
            </a:r>
            <a:r>
              <a:rPr lang="en-US" baseline="0" dirty="0" smtClean="0"/>
              <a:t> to step 4 of the Framework, I start the Feature Engineering of the Dataset by Feature Scaling the numerical columns</a:t>
            </a:r>
            <a:r>
              <a:rPr lang="mr-IN" baseline="0" dirty="0" smtClean="0"/>
              <a:t>…</a:t>
            </a:r>
            <a:endParaRPr lang="en-US" baseline="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256E95E-57AA-4526-AA4C-3002F47FB13B}" type="slidenum">
              <a:rPr lang="en-US" smtClean="0"/>
              <a:pPr/>
              <a:t>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78758327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dirty="0" smtClean="0"/>
              <a:t>Both filter</a:t>
            </a:r>
            <a:r>
              <a:rPr lang="en-US" baseline="0" dirty="0" smtClean="0"/>
              <a:t> methods are univariate filter methods that aim at ranking the importance of the features  </a:t>
            </a:r>
          </a:p>
          <a:p>
            <a: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baseline="0" dirty="0" smtClean="0"/>
              <a:t>They are typically used whenever you have a categorical target variable</a:t>
            </a:r>
          </a:p>
          <a:p>
            <a: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endParaRPr lang="en-US" baseline="0" dirty="0" smtClean="0"/>
          </a:p>
          <a:p>
            <a: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baseline="0" dirty="0" smtClean="0"/>
              <a:t>F-Classification: </a:t>
            </a:r>
          </a:p>
          <a:p>
            <a:pPr marL="628650" marR="0" lvl="1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baseline="0" dirty="0" smtClean="0"/>
              <a:t>Measures the variance between features</a:t>
            </a:r>
          </a:p>
          <a:p>
            <a:pPr marL="628650" marR="0" lvl="1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baseline="0" dirty="0" smtClean="0"/>
              <a:t>Now, If there are equal variances between features, it means feature has no impact on response and can be dropped </a:t>
            </a:r>
            <a:endParaRPr lang="en-US" dirty="0" smtClean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256E95E-57AA-4526-AA4C-3002F47FB13B}" type="slidenum">
              <a:rPr lang="en-US" smtClean="0"/>
              <a:pPr/>
              <a:t>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42607424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/>
              <a:buChar char="•"/>
            </a:pPr>
            <a:r>
              <a:rPr lang="en-US" dirty="0" smtClean="0"/>
              <a:t>Chi-Squared</a:t>
            </a:r>
            <a:r>
              <a:rPr lang="en-US" baseline="0" dirty="0" smtClean="0"/>
              <a:t> tests for independence between categorical variables, where features that are independent of the target variable are dropped out</a:t>
            </a:r>
          </a:p>
          <a:p>
            <a:pPr marL="171450" indent="-171450">
              <a:buFont typeface="Arial"/>
              <a:buChar char="•"/>
            </a:pPr>
            <a:r>
              <a:rPr lang="en-US" baseline="0" dirty="0" smtClean="0"/>
              <a:t>In the case of dependence between continuous and categorical Variable (in our case), I created 2 models, with the first having the continuous variable turned into ordinal categorical and the second kept as a baseline model for comparison of output</a:t>
            </a:r>
            <a:endParaRPr lang="en-US" baseline="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256E95E-57AA-4526-AA4C-3002F47FB13B}" type="slidenum">
              <a:rPr lang="en-US" smtClean="0"/>
              <a:pPr/>
              <a:t>2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505378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/>
              <a:buChar char="•"/>
            </a:pPr>
            <a:r>
              <a:rPr lang="en-US" dirty="0" smtClean="0"/>
              <a:t>A brief</a:t>
            </a:r>
            <a:r>
              <a:rPr lang="en-US" baseline="0" dirty="0" smtClean="0"/>
              <a:t> overv</a:t>
            </a:r>
            <a:r>
              <a:rPr lang="en-US" dirty="0" smtClean="0"/>
              <a:t>iew of the Airline Industry, just to put things into context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256E95E-57AA-4526-AA4C-3002F47FB13B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8732000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/>
              <a:buChar char="•"/>
            </a:pPr>
            <a:r>
              <a:rPr lang="en-US" dirty="0" smtClean="0"/>
              <a:t>Features of this dataset are divided into 3 categories:</a:t>
            </a:r>
          </a:p>
          <a:p>
            <a:pPr marL="628650" lvl="1" indent="-171450">
              <a:buFont typeface="Arial"/>
              <a:buChar char="•"/>
            </a:pPr>
            <a:r>
              <a:rPr lang="en-US" dirty="0" smtClean="0"/>
              <a:t>Numerical</a:t>
            </a:r>
            <a:r>
              <a:rPr lang="en-US" baseline="0" dirty="0" smtClean="0"/>
              <a:t> Variables, Nominal Categorical Variables, and Ordinal Categorical Variables</a:t>
            </a:r>
          </a:p>
          <a:p>
            <a:pPr marL="628650" lvl="1" indent="-171450">
              <a:buFont typeface="Arial"/>
              <a:buChar char="•"/>
            </a:pPr>
            <a:r>
              <a:rPr lang="en-US" baseline="0" dirty="0" smtClean="0"/>
              <a:t>Ordinal Categorical Variables: I have a grading scale from 0-5, 0 being worst and 5 being best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256E95E-57AA-4526-AA4C-3002F47FB13B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8144135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/>
              <a:buChar char="•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256E95E-57AA-4526-AA4C-3002F47FB13B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5776088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/>
              <a:buChar char="•"/>
            </a:pPr>
            <a:r>
              <a:rPr lang="en-US" baseline="0" dirty="0" smtClean="0"/>
              <a:t>A screenshot of the top 5 rows of my raw dataset</a:t>
            </a:r>
          </a:p>
          <a:p>
            <a:pPr marL="171450" indent="-171450">
              <a:buFont typeface="Arial"/>
              <a:buChar char="•"/>
            </a:pPr>
            <a:endParaRPr lang="en-US" baseline="0" dirty="0" smtClean="0"/>
          </a:p>
          <a:p>
            <a:pPr marL="171450" indent="-171450">
              <a:buFont typeface="Arial"/>
              <a:buChar char="•"/>
            </a:pPr>
            <a:endParaRPr lang="en-US" baseline="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256E95E-57AA-4526-AA4C-3002F47FB13B}" type="slidenum">
              <a:rPr lang="en-US" smtClean="0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8374263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/>
              <a:buChar char="•"/>
            </a:pPr>
            <a:r>
              <a:rPr lang="en-US" dirty="0" smtClean="0"/>
              <a:t>Step 2 </a:t>
            </a:r>
            <a:r>
              <a:rPr lang="mr-IN" dirty="0" smtClean="0"/>
              <a:t>–</a:t>
            </a:r>
            <a:r>
              <a:rPr lang="en-US" dirty="0" smtClean="0"/>
              <a:t> Data Wrangling and Cleaning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256E95E-57AA-4526-AA4C-3002F47FB13B}" type="slidenum">
              <a:rPr lang="en-US" smtClean="0"/>
              <a:pPr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0654425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/>
              <a:buChar char="•"/>
            </a:pPr>
            <a:r>
              <a:rPr lang="en-US" dirty="0" smtClean="0"/>
              <a:t>Step 3 </a:t>
            </a:r>
            <a:r>
              <a:rPr lang="mr-IN" dirty="0" smtClean="0"/>
              <a:t>–</a:t>
            </a:r>
            <a:r>
              <a:rPr lang="en-US" dirty="0" smtClean="0"/>
              <a:t> Data Exploration and Analysis</a:t>
            </a:r>
          </a:p>
          <a:p>
            <a:pPr marL="171450" indent="-171450">
              <a:buFont typeface="Arial"/>
              <a:buChar char="•"/>
            </a:pPr>
            <a:r>
              <a:rPr lang="en-US" dirty="0" smtClean="0"/>
              <a:t>Started of by exploring the Nominal Categorical Features and outputting</a:t>
            </a:r>
            <a:r>
              <a:rPr lang="en-US" baseline="0" dirty="0" smtClean="0"/>
              <a:t> their distribution plots and values proportions</a:t>
            </a:r>
          </a:p>
          <a:p>
            <a:pPr marL="171450" indent="-171450">
              <a:buFont typeface="Arial"/>
              <a:buChar char="•"/>
            </a:pPr>
            <a:r>
              <a:rPr lang="en-US" baseline="0" dirty="0" smtClean="0"/>
              <a:t>Equal split in Gender between Male and Femal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256E95E-57AA-4526-AA4C-3002F47FB13B}" type="slidenum">
              <a:rPr lang="en-US" smtClean="0"/>
              <a:pPr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0057896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/>
              <a:buChar char="•"/>
            </a:pPr>
            <a:r>
              <a:rPr lang="en-US" dirty="0" smtClean="0"/>
              <a:t>For the Customer Type Distribution:</a:t>
            </a:r>
          </a:p>
          <a:p>
            <a:pPr marL="628650" lvl="1" indent="-171450">
              <a:buFont typeface="Arial"/>
              <a:buChar char="•"/>
            </a:pPr>
            <a:r>
              <a:rPr lang="en-US" dirty="0" smtClean="0"/>
              <a:t>It is approximately</a:t>
            </a:r>
            <a:r>
              <a:rPr lang="en-US" baseline="0" dirty="0" smtClean="0"/>
              <a:t> an 80-20 split, in favor of the Loyal Customers (i.e. passengers enrolled in Loyalty Programs)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256E95E-57AA-4526-AA4C-3002F47FB13B}" type="slidenum">
              <a:rPr lang="en-US" smtClean="0"/>
              <a:pPr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9977742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/>
              <a:buChar char="•"/>
            </a:pPr>
            <a:r>
              <a:rPr lang="en-US" dirty="0" smtClean="0"/>
              <a:t>For the Travel Class Distribution :</a:t>
            </a:r>
          </a:p>
          <a:p>
            <a:pPr marL="628650" lvl="1" indent="-171450">
              <a:buFont typeface="Arial"/>
              <a:buChar char="•"/>
            </a:pPr>
            <a:r>
              <a:rPr lang="en-US" dirty="0" smtClean="0"/>
              <a:t>It is an</a:t>
            </a:r>
            <a:r>
              <a:rPr lang="en-US" baseline="0" dirty="0" smtClean="0"/>
              <a:t> equal majority split between Business Class and Economy Class with a small percentage going for Economy Plus</a:t>
            </a:r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256E95E-57AA-4526-AA4C-3002F47FB13B}" type="slidenum">
              <a:rPr lang="en-US" smtClean="0"/>
              <a:pPr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9148415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4" Type="http://schemas.openxmlformats.org/officeDocument/2006/relationships/slideMaster" Target="../slideMasters/slideMaster1.xml"/><Relationship Id="rId5" Type="http://schemas.openxmlformats.org/officeDocument/2006/relationships/oleObject" Target="../embeddings/oleObject2.bin"/><Relationship Id="rId6" Type="http://schemas.openxmlformats.org/officeDocument/2006/relationships/image" Target="../media/image3.emf"/><Relationship Id="rId1" Type="http://schemas.openxmlformats.org/officeDocument/2006/relationships/vmlDrawing" Target="../drawings/vmlDrawing2.vml"/><Relationship Id="rId2" Type="http://schemas.openxmlformats.org/officeDocument/2006/relationships/tags" Target="../tags/tag4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hyperlink" Target="http://bit.ly/2TyoMsr" TargetMode="External"/><Relationship Id="rId4" Type="http://schemas.openxmlformats.org/officeDocument/2006/relationships/hyperlink" Target="http://bit.ly/2TtBDfr" TargetMode="External"/><Relationship Id="rId1" Type="http://schemas.openxmlformats.org/officeDocument/2006/relationships/slideMaster" Target="../slideMasters/slideMaster2.xml"/><Relationship Id="rId2" Type="http://schemas.openxmlformats.org/officeDocument/2006/relationships/hyperlink" Target="http://bit.ly/2Tynxth" TargetMode="Externa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4" Type="http://schemas.openxmlformats.org/officeDocument/2006/relationships/slideMaster" Target="../slideMasters/slideMaster1.xml"/><Relationship Id="rId5" Type="http://schemas.openxmlformats.org/officeDocument/2006/relationships/oleObject" Target="../embeddings/oleObject3.bin"/><Relationship Id="rId6" Type="http://schemas.openxmlformats.org/officeDocument/2006/relationships/image" Target="../media/image3.emf"/><Relationship Id="rId1" Type="http://schemas.openxmlformats.org/officeDocument/2006/relationships/vmlDrawing" Target="../drawings/vmlDrawing3.vml"/><Relationship Id="rId2" Type="http://schemas.openxmlformats.org/officeDocument/2006/relationships/tags" Target="../tags/tag6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4.bin"/><Relationship Id="rId5" Type="http://schemas.openxmlformats.org/officeDocument/2006/relationships/image" Target="../media/image4.emf"/><Relationship Id="rId1" Type="http://schemas.openxmlformats.org/officeDocument/2006/relationships/vmlDrawing" Target="../drawings/vmlDrawing4.vml"/><Relationship Id="rId2" Type="http://schemas.openxmlformats.org/officeDocument/2006/relationships/tags" Target="../tags/tag8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.T. Kearney Disclaimer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1693235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 header">
    <p:spTree>
      <p:nvGrpSpPr>
        <p:cNvPr id="1" name="Shape 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Google Shape;12;p3"/>
          <p:cNvSpPr txBox="1">
            <a:spLocks noGrp="1"/>
          </p:cNvSpPr>
          <p:nvPr>
            <p:ph type="ctrTitle"/>
          </p:nvPr>
        </p:nvSpPr>
        <p:spPr>
          <a:xfrm>
            <a:off x="605842" y="3840033"/>
            <a:ext cx="2622000" cy="11164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None/>
              <a:defRPr sz="4800">
                <a:solidFill>
                  <a:schemeClr val="lt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None/>
              <a:defRPr sz="1200">
                <a:solidFill>
                  <a:srgbClr val="000000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None/>
              <a:defRPr sz="1200">
                <a:solidFill>
                  <a:srgbClr val="000000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None/>
              <a:defRPr sz="1200">
                <a:solidFill>
                  <a:srgbClr val="000000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None/>
              <a:defRPr sz="1200">
                <a:solidFill>
                  <a:srgbClr val="000000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None/>
              <a:defRPr sz="1200">
                <a:solidFill>
                  <a:srgbClr val="000000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None/>
              <a:defRPr sz="1200">
                <a:solidFill>
                  <a:srgbClr val="000000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None/>
              <a:defRPr sz="1200">
                <a:solidFill>
                  <a:srgbClr val="000000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None/>
              <a:defRPr sz="12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13" name="Google Shape;13;p3"/>
          <p:cNvSpPr txBox="1">
            <a:spLocks noGrp="1"/>
          </p:cNvSpPr>
          <p:nvPr>
            <p:ph type="subTitle" idx="1"/>
          </p:nvPr>
        </p:nvSpPr>
        <p:spPr>
          <a:xfrm>
            <a:off x="605842" y="4739600"/>
            <a:ext cx="2357100" cy="1398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/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14" name="Google Shape;14;p3"/>
          <p:cNvSpPr txBox="1">
            <a:spLocks noGrp="1"/>
          </p:cNvSpPr>
          <p:nvPr>
            <p:ph type="title" idx="2" hasCustomPrompt="1"/>
          </p:nvPr>
        </p:nvSpPr>
        <p:spPr>
          <a:xfrm>
            <a:off x="896550" y="1320300"/>
            <a:ext cx="1092300" cy="770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None/>
              <a:defRPr sz="6000">
                <a:solidFill>
                  <a:schemeClr val="accent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9pPr>
          </a:lstStyle>
          <a:p>
            <a:r>
              <a:t>xx%</a:t>
            </a:r>
          </a:p>
        </p:txBody>
      </p:sp>
    </p:spTree>
    <p:extLst>
      <p:ext uri="{BB962C8B-B14F-4D97-AF65-F5344CB8AC3E}">
        <p14:creationId xmlns:p14="http://schemas.microsoft.com/office/powerpoint/2010/main" val="334982808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 and body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Google Shape;16;p4"/>
          <p:cNvSpPr txBox="1">
            <a:spLocks noGrp="1"/>
          </p:cNvSpPr>
          <p:nvPr>
            <p:ph type="body" idx="1"/>
          </p:nvPr>
        </p:nvSpPr>
        <p:spPr>
          <a:xfrm>
            <a:off x="4562475" y="2238900"/>
            <a:ext cx="3724200" cy="2786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429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>
              <a:spcBef>
                <a:spcPts val="1600"/>
              </a:spcBef>
              <a:spcAft>
                <a:spcPts val="160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17" name="Google Shape;17;p4"/>
          <p:cNvSpPr txBox="1">
            <a:spLocks noGrp="1"/>
          </p:cNvSpPr>
          <p:nvPr>
            <p:ph type="ctrTitle"/>
          </p:nvPr>
        </p:nvSpPr>
        <p:spPr>
          <a:xfrm>
            <a:off x="618825" y="548900"/>
            <a:ext cx="4727700" cy="7704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None/>
              <a:defRPr sz="3000"/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81372094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columns" type="twoColTx">
  <p:cSld name="Title and two columns">
    <p:spTree>
      <p:nvGrpSpPr>
        <p:cNvPr id="1" name="Shape 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Google Shape;19;p5"/>
          <p:cNvSpPr txBox="1">
            <a:spLocks noGrp="1"/>
          </p:cNvSpPr>
          <p:nvPr>
            <p:ph type="ctrTitle"/>
          </p:nvPr>
        </p:nvSpPr>
        <p:spPr>
          <a:xfrm>
            <a:off x="1400175" y="3016807"/>
            <a:ext cx="982200" cy="8596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2000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9pPr>
          </a:lstStyle>
          <a:p>
            <a:endParaRPr/>
          </a:p>
        </p:txBody>
      </p:sp>
      <p:sp>
        <p:nvSpPr>
          <p:cNvPr id="20" name="Google Shape;20;p5"/>
          <p:cNvSpPr txBox="1">
            <a:spLocks noGrp="1"/>
          </p:cNvSpPr>
          <p:nvPr>
            <p:ph type="subTitle" idx="1"/>
          </p:nvPr>
        </p:nvSpPr>
        <p:spPr>
          <a:xfrm>
            <a:off x="1400175" y="3747733"/>
            <a:ext cx="2620500" cy="1483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4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21" name="Google Shape;21;p5"/>
          <p:cNvSpPr txBox="1">
            <a:spLocks noGrp="1"/>
          </p:cNvSpPr>
          <p:nvPr>
            <p:ph type="ctrTitle" idx="2"/>
          </p:nvPr>
        </p:nvSpPr>
        <p:spPr>
          <a:xfrm>
            <a:off x="5038725" y="3016807"/>
            <a:ext cx="1137300" cy="8596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2000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9pPr>
          </a:lstStyle>
          <a:p>
            <a:endParaRPr/>
          </a:p>
        </p:txBody>
      </p:sp>
      <p:sp>
        <p:nvSpPr>
          <p:cNvPr id="22" name="Google Shape;22;p5"/>
          <p:cNvSpPr txBox="1">
            <a:spLocks noGrp="1"/>
          </p:cNvSpPr>
          <p:nvPr>
            <p:ph type="subTitle" idx="3"/>
          </p:nvPr>
        </p:nvSpPr>
        <p:spPr>
          <a:xfrm>
            <a:off x="5038725" y="3747733"/>
            <a:ext cx="2737500" cy="1483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4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23" name="Google Shape;23;p5"/>
          <p:cNvSpPr txBox="1">
            <a:spLocks noGrp="1"/>
          </p:cNvSpPr>
          <p:nvPr>
            <p:ph type="ctrTitle" idx="4"/>
          </p:nvPr>
        </p:nvSpPr>
        <p:spPr>
          <a:xfrm>
            <a:off x="618825" y="548900"/>
            <a:ext cx="4618200" cy="7704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None/>
              <a:defRPr sz="3000"/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11826873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 only">
    <p:spTree>
      <p:nvGrpSpPr>
        <p:cNvPr id="1" name="Shape 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Google Shape;25;p6"/>
          <p:cNvSpPr txBox="1">
            <a:spLocks noGrp="1"/>
          </p:cNvSpPr>
          <p:nvPr>
            <p:ph type="ctrTitle"/>
          </p:nvPr>
        </p:nvSpPr>
        <p:spPr>
          <a:xfrm>
            <a:off x="618825" y="548900"/>
            <a:ext cx="4727700" cy="7704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None/>
              <a:defRPr sz="3000"/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93188611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column text">
  <p:cSld name="One column text">
    <p:spTree>
      <p:nvGrpSpPr>
        <p:cNvPr id="1" name="Shape 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Google Shape;27;p7"/>
          <p:cNvSpPr txBox="1">
            <a:spLocks noGrp="1"/>
          </p:cNvSpPr>
          <p:nvPr>
            <p:ph type="body" idx="1"/>
          </p:nvPr>
        </p:nvSpPr>
        <p:spPr>
          <a:xfrm>
            <a:off x="618306" y="2932033"/>
            <a:ext cx="1905900" cy="1728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0480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1pPr>
            <a:lvl2pPr marL="914400" lvl="1" indent="-30480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>
              <a:spcBef>
                <a:spcPts val="160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>
              <a:spcBef>
                <a:spcPts val="160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>
              <a:spcBef>
                <a:spcPts val="160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>
              <a:spcBef>
                <a:spcPts val="160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>
              <a:spcBef>
                <a:spcPts val="1600"/>
              </a:spcBef>
              <a:spcAft>
                <a:spcPts val="160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28" name="Google Shape;28;p7"/>
          <p:cNvSpPr txBox="1">
            <a:spLocks noGrp="1"/>
          </p:cNvSpPr>
          <p:nvPr>
            <p:ph type="ctrTitle"/>
          </p:nvPr>
        </p:nvSpPr>
        <p:spPr>
          <a:xfrm>
            <a:off x="618825" y="548900"/>
            <a:ext cx="4727700" cy="7704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None/>
              <a:defRPr sz="3000"/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08996424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ain point">
  <p:cSld name="Main point">
    <p:spTree>
      <p:nvGrpSpPr>
        <p:cNvPr id="1" name="Shape 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Google Shape;30;p8"/>
          <p:cNvSpPr txBox="1">
            <a:spLocks noGrp="1"/>
          </p:cNvSpPr>
          <p:nvPr>
            <p:ph type="title"/>
          </p:nvPr>
        </p:nvSpPr>
        <p:spPr>
          <a:xfrm>
            <a:off x="490250" y="600200"/>
            <a:ext cx="6367800" cy="5454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1pPr>
            <a:lvl2pPr lvl="1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2pPr>
            <a:lvl3pPr lvl="2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3pPr>
            <a:lvl4pPr lvl="3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4pPr>
            <a:lvl5pPr lvl="4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5pPr>
            <a:lvl6pPr lvl="5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6pPr>
            <a:lvl7pPr lvl="6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7pPr>
            <a:lvl8pPr lvl="7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8pPr>
            <a:lvl9pPr lvl="8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31767138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title and description">
  <p:cSld name="Section title and description">
    <p:spTree>
      <p:nvGrpSpPr>
        <p:cNvPr id="1" name="Shape 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Google Shape;32;p9"/>
          <p:cNvSpPr txBox="1">
            <a:spLocks noGrp="1"/>
          </p:cNvSpPr>
          <p:nvPr>
            <p:ph type="title"/>
          </p:nvPr>
        </p:nvSpPr>
        <p:spPr>
          <a:xfrm>
            <a:off x="265500" y="1644233"/>
            <a:ext cx="4045200" cy="19764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1pPr>
            <a:lvl2pPr lvl="1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2pPr>
            <a:lvl3pPr lvl="2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3pPr>
            <a:lvl4pPr lvl="3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4pPr>
            <a:lvl5pPr lvl="4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5pPr>
            <a:lvl6pPr lvl="5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6pPr>
            <a:lvl7pPr lvl="6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7pPr>
            <a:lvl8pPr lvl="7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8pPr>
            <a:lvl9pPr lvl="8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9pPr>
          </a:lstStyle>
          <a:p>
            <a:endParaRPr/>
          </a:p>
        </p:txBody>
      </p:sp>
      <p:sp>
        <p:nvSpPr>
          <p:cNvPr id="33" name="Google Shape;33;p9"/>
          <p:cNvSpPr txBox="1">
            <a:spLocks noGrp="1"/>
          </p:cNvSpPr>
          <p:nvPr>
            <p:ph type="subTitle" idx="1"/>
          </p:nvPr>
        </p:nvSpPr>
        <p:spPr>
          <a:xfrm>
            <a:off x="265500" y="3737433"/>
            <a:ext cx="4045200" cy="1646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9pPr>
          </a:lstStyle>
          <a:p>
            <a:endParaRPr/>
          </a:p>
        </p:txBody>
      </p:sp>
      <p:sp>
        <p:nvSpPr>
          <p:cNvPr id="34" name="Google Shape;34;p9"/>
          <p:cNvSpPr txBox="1">
            <a:spLocks noGrp="1"/>
          </p:cNvSpPr>
          <p:nvPr>
            <p:ph type="body" idx="2"/>
          </p:nvPr>
        </p:nvSpPr>
        <p:spPr>
          <a:xfrm>
            <a:off x="4939500" y="965433"/>
            <a:ext cx="3837000" cy="4926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marL="457200" lvl="0" indent="-342900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>
              <a:spcBef>
                <a:spcPts val="1600"/>
              </a:spcBef>
              <a:spcAft>
                <a:spcPts val="160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58048239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aption">
  <p:cSld name="Caption">
    <p:spTree>
      <p:nvGrpSpPr>
        <p:cNvPr id="1" name="Shape 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Google Shape;36;p10"/>
          <p:cNvSpPr txBox="1">
            <a:spLocks noGrp="1"/>
          </p:cNvSpPr>
          <p:nvPr>
            <p:ph type="body" idx="1"/>
          </p:nvPr>
        </p:nvSpPr>
        <p:spPr>
          <a:xfrm>
            <a:off x="3562550" y="5579392"/>
            <a:ext cx="4945200" cy="806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marL="457200" lvl="0" indent="-22860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2400">
                <a:solidFill>
                  <a:schemeClr val="lt1"/>
                </a:solidFill>
                <a:latin typeface="Advent Pro Medium"/>
                <a:ea typeface="Advent Pro Medium"/>
                <a:cs typeface="Advent Pro Medium"/>
                <a:sym typeface="Advent Pro Medium"/>
              </a:defRPr>
            </a:lvl1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02140851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ig number">
  <p:cSld name="Big number">
    <p:spTree>
      <p:nvGrpSpPr>
        <p:cNvPr id="1" name="Shape 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Google Shape;38;p11"/>
          <p:cNvSpPr txBox="1">
            <a:spLocks noGrp="1"/>
          </p:cNvSpPr>
          <p:nvPr>
            <p:ph type="title" hasCustomPrompt="1"/>
          </p:nvPr>
        </p:nvSpPr>
        <p:spPr>
          <a:xfrm>
            <a:off x="311700" y="1474833"/>
            <a:ext cx="8520600" cy="26180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1pPr>
            <a:lvl2pPr lvl="1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2pPr>
            <a:lvl3pPr lvl="2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3pPr>
            <a:lvl4pPr lvl="3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4pPr>
            <a:lvl5pPr lvl="4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5pPr>
            <a:lvl6pPr lvl="5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6pPr>
            <a:lvl7pPr lvl="6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7pPr>
            <a:lvl8pPr lvl="7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8pPr>
            <a:lvl9pPr lvl="8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9pPr>
          </a:lstStyle>
          <a:p>
            <a:r>
              <a:t>xx%</a:t>
            </a:r>
          </a:p>
        </p:txBody>
      </p:sp>
      <p:sp>
        <p:nvSpPr>
          <p:cNvPr id="39" name="Google Shape;39;p11"/>
          <p:cNvSpPr txBox="1">
            <a:spLocks noGrp="1"/>
          </p:cNvSpPr>
          <p:nvPr>
            <p:ph type="body" idx="1"/>
          </p:nvPr>
        </p:nvSpPr>
        <p:spPr>
          <a:xfrm>
            <a:off x="311700" y="4202967"/>
            <a:ext cx="8520600" cy="1734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42900" algn="ctr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 algn="ctr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algn="ctr"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algn="ctr"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algn="ctr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algn="ctr"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algn="ctr"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algn="ctr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algn="ctr">
              <a:spcBef>
                <a:spcPts val="1600"/>
              </a:spcBef>
              <a:spcAft>
                <a:spcPts val="160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1661544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able of contents">
  <p:cSld name="Table of contents">
    <p:spTree>
      <p:nvGrpSpPr>
        <p:cNvPr id="1" name="Shape 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Google Shape;41;p12"/>
          <p:cNvSpPr txBox="1">
            <a:spLocks noGrp="1"/>
          </p:cNvSpPr>
          <p:nvPr>
            <p:ph type="ctrTitle"/>
          </p:nvPr>
        </p:nvSpPr>
        <p:spPr>
          <a:xfrm>
            <a:off x="1029526" y="2324333"/>
            <a:ext cx="3028200" cy="7704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2000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9pPr>
          </a:lstStyle>
          <a:p>
            <a:endParaRPr/>
          </a:p>
        </p:txBody>
      </p:sp>
      <p:sp>
        <p:nvSpPr>
          <p:cNvPr id="42" name="Google Shape;42;p12"/>
          <p:cNvSpPr txBox="1">
            <a:spLocks noGrp="1"/>
          </p:cNvSpPr>
          <p:nvPr>
            <p:ph type="subTitle" idx="1"/>
          </p:nvPr>
        </p:nvSpPr>
        <p:spPr>
          <a:xfrm>
            <a:off x="1029526" y="2870100"/>
            <a:ext cx="2428200" cy="763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400"/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43" name="Google Shape;43;p12"/>
          <p:cNvSpPr txBox="1">
            <a:spLocks noGrp="1"/>
          </p:cNvSpPr>
          <p:nvPr>
            <p:ph type="title" idx="2" hasCustomPrompt="1"/>
          </p:nvPr>
        </p:nvSpPr>
        <p:spPr>
          <a:xfrm>
            <a:off x="1029532" y="1723191"/>
            <a:ext cx="1753800" cy="770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None/>
              <a:defRPr sz="4800">
                <a:solidFill>
                  <a:schemeClr val="accent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9pPr>
          </a:lstStyle>
          <a:p>
            <a:r>
              <a:t>xx%</a:t>
            </a:r>
          </a:p>
        </p:txBody>
      </p:sp>
      <p:sp>
        <p:nvSpPr>
          <p:cNvPr id="44" name="Google Shape;44;p12"/>
          <p:cNvSpPr txBox="1">
            <a:spLocks noGrp="1"/>
          </p:cNvSpPr>
          <p:nvPr>
            <p:ph type="ctrTitle" idx="3"/>
          </p:nvPr>
        </p:nvSpPr>
        <p:spPr>
          <a:xfrm>
            <a:off x="2199427" y="4472383"/>
            <a:ext cx="2251800" cy="7704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2000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9pPr>
          </a:lstStyle>
          <a:p>
            <a:endParaRPr/>
          </a:p>
        </p:txBody>
      </p:sp>
      <p:sp>
        <p:nvSpPr>
          <p:cNvPr id="45" name="Google Shape;45;p12"/>
          <p:cNvSpPr txBox="1">
            <a:spLocks noGrp="1"/>
          </p:cNvSpPr>
          <p:nvPr>
            <p:ph type="subTitle" idx="4"/>
          </p:nvPr>
        </p:nvSpPr>
        <p:spPr>
          <a:xfrm>
            <a:off x="2023027" y="5022340"/>
            <a:ext cx="2428200" cy="763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400"/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46" name="Google Shape;46;p12"/>
          <p:cNvSpPr txBox="1">
            <a:spLocks noGrp="1"/>
          </p:cNvSpPr>
          <p:nvPr>
            <p:ph type="title" idx="5" hasCustomPrompt="1"/>
          </p:nvPr>
        </p:nvSpPr>
        <p:spPr>
          <a:xfrm>
            <a:off x="2697427" y="3865407"/>
            <a:ext cx="1753800" cy="770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None/>
              <a:defRPr sz="4800">
                <a:solidFill>
                  <a:schemeClr val="accent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9pPr>
          </a:lstStyle>
          <a:p>
            <a:r>
              <a:t>xx%</a:t>
            </a:r>
          </a:p>
        </p:txBody>
      </p:sp>
      <p:sp>
        <p:nvSpPr>
          <p:cNvPr id="47" name="Google Shape;47;p12"/>
          <p:cNvSpPr txBox="1">
            <a:spLocks noGrp="1"/>
          </p:cNvSpPr>
          <p:nvPr>
            <p:ph type="ctrTitle" idx="6"/>
          </p:nvPr>
        </p:nvSpPr>
        <p:spPr>
          <a:xfrm>
            <a:off x="618825" y="548900"/>
            <a:ext cx="4576200" cy="7704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None/>
              <a:defRPr sz="3000"/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9pPr>
          </a:lstStyle>
          <a:p>
            <a:endParaRPr/>
          </a:p>
        </p:txBody>
      </p:sp>
      <p:sp>
        <p:nvSpPr>
          <p:cNvPr id="48" name="Google Shape;48;p12"/>
          <p:cNvSpPr txBox="1">
            <a:spLocks noGrp="1"/>
          </p:cNvSpPr>
          <p:nvPr>
            <p:ph type="ctrTitle" idx="7"/>
          </p:nvPr>
        </p:nvSpPr>
        <p:spPr>
          <a:xfrm>
            <a:off x="4571997" y="2324333"/>
            <a:ext cx="2251800" cy="7704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2000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9pPr>
          </a:lstStyle>
          <a:p>
            <a:endParaRPr/>
          </a:p>
        </p:txBody>
      </p:sp>
      <p:sp>
        <p:nvSpPr>
          <p:cNvPr id="49" name="Google Shape;49;p12"/>
          <p:cNvSpPr txBox="1">
            <a:spLocks noGrp="1"/>
          </p:cNvSpPr>
          <p:nvPr>
            <p:ph type="subTitle" idx="8"/>
          </p:nvPr>
        </p:nvSpPr>
        <p:spPr>
          <a:xfrm>
            <a:off x="4572001" y="2870100"/>
            <a:ext cx="2428200" cy="763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400"/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50" name="Google Shape;50;p12"/>
          <p:cNvSpPr txBox="1">
            <a:spLocks noGrp="1"/>
          </p:cNvSpPr>
          <p:nvPr>
            <p:ph type="title" idx="9" hasCustomPrompt="1"/>
          </p:nvPr>
        </p:nvSpPr>
        <p:spPr>
          <a:xfrm>
            <a:off x="4572007" y="1723191"/>
            <a:ext cx="1753800" cy="770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None/>
              <a:defRPr sz="4800">
                <a:solidFill>
                  <a:schemeClr val="accent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9pPr>
          </a:lstStyle>
          <a:p>
            <a:r>
              <a:t>xx%</a:t>
            </a:r>
          </a:p>
        </p:txBody>
      </p:sp>
      <p:sp>
        <p:nvSpPr>
          <p:cNvPr id="51" name="Google Shape;51;p12"/>
          <p:cNvSpPr txBox="1">
            <a:spLocks noGrp="1"/>
          </p:cNvSpPr>
          <p:nvPr>
            <p:ph type="ctrTitle" idx="13"/>
          </p:nvPr>
        </p:nvSpPr>
        <p:spPr>
          <a:xfrm>
            <a:off x="5889577" y="4472383"/>
            <a:ext cx="2251800" cy="7704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2000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9pPr>
          </a:lstStyle>
          <a:p>
            <a:endParaRPr/>
          </a:p>
        </p:txBody>
      </p:sp>
      <p:sp>
        <p:nvSpPr>
          <p:cNvPr id="52" name="Google Shape;52;p12"/>
          <p:cNvSpPr txBox="1">
            <a:spLocks noGrp="1"/>
          </p:cNvSpPr>
          <p:nvPr>
            <p:ph type="subTitle" idx="14"/>
          </p:nvPr>
        </p:nvSpPr>
        <p:spPr>
          <a:xfrm>
            <a:off x="5713177" y="5022340"/>
            <a:ext cx="2428200" cy="763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400"/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53" name="Google Shape;53;p12"/>
          <p:cNvSpPr txBox="1">
            <a:spLocks noGrp="1"/>
          </p:cNvSpPr>
          <p:nvPr>
            <p:ph type="title" idx="15" hasCustomPrompt="1"/>
          </p:nvPr>
        </p:nvSpPr>
        <p:spPr>
          <a:xfrm>
            <a:off x="6387577" y="3865407"/>
            <a:ext cx="1753800" cy="770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None/>
              <a:defRPr sz="4800">
                <a:solidFill>
                  <a:schemeClr val="accent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9pPr>
          </a:lstStyle>
          <a:p>
            <a:r>
              <a:t>xx%</a:t>
            </a:r>
          </a:p>
        </p:txBody>
      </p:sp>
    </p:spTree>
    <p:extLst>
      <p:ext uri="{BB962C8B-B14F-4D97-AF65-F5344CB8AC3E}">
        <p14:creationId xmlns:p14="http://schemas.microsoft.com/office/powerpoint/2010/main" val="62380909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.T. Kearney TitleAndText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8530111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9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="" xmlns:a16="http://schemas.microsoft.com/office/drawing/2014/main" id="{8D4C7A36-C573-497E-9362-FA427CC02CD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lnSpc>
                <a:spcPct val="90000"/>
              </a:lnSpc>
              <a:spcBef>
                <a:spcPts val="900"/>
              </a:spcBef>
            </a:pPr>
            <a:endParaRPr lang="en-US" sz="2400" b="0" i="0" baseline="0" dirty="0" err="1">
              <a:solidFill>
                <a:schemeClr val="bg1"/>
              </a:solidFill>
              <a:latin typeface="Arial" pitchFamily="34" charset="0"/>
              <a:ea typeface="+mj-ea"/>
              <a:cs typeface="Arial" pitchFamily="34" charset="0"/>
              <a:sym typeface="Arial" panose="020B0604020202020204" pitchFamily="3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244475" y="2060575"/>
            <a:ext cx="8640000" cy="1338828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/>
              <a:t>Text on first level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itle">
            <a:extLst>
              <a:ext uri="{FF2B5EF4-FFF2-40B4-BE49-F238E27FC236}">
                <a16:creationId xmlns="" xmlns:a16="http://schemas.microsoft.com/office/drawing/2014/main" id="{46C7A7A7-C92A-44BA-9E28-9C33E7E31D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4507" y="493495"/>
            <a:ext cx="7604094" cy="332399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 dirty="0"/>
              <a:t>Headline of maximum two lines here</a:t>
            </a:r>
          </a:p>
        </p:txBody>
      </p:sp>
    </p:spTree>
    <p:extLst>
      <p:ext uri="{BB962C8B-B14F-4D97-AF65-F5344CB8AC3E}">
        <p14:creationId xmlns:p14="http://schemas.microsoft.com/office/powerpoint/2010/main" val="115461873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columns 2">
  <p:cSld name="Title and two columns 2">
    <p:spTree>
      <p:nvGrpSpPr>
        <p:cNvPr id="1" name="Shape 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Google Shape;55;p13"/>
          <p:cNvSpPr txBox="1">
            <a:spLocks noGrp="1"/>
          </p:cNvSpPr>
          <p:nvPr>
            <p:ph type="ctrTitle"/>
          </p:nvPr>
        </p:nvSpPr>
        <p:spPr>
          <a:xfrm>
            <a:off x="5364400" y="2818200"/>
            <a:ext cx="2655600" cy="8596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2000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9pPr>
          </a:lstStyle>
          <a:p>
            <a:endParaRPr/>
          </a:p>
        </p:txBody>
      </p:sp>
      <p:sp>
        <p:nvSpPr>
          <p:cNvPr id="56" name="Google Shape;56;p13"/>
          <p:cNvSpPr txBox="1">
            <a:spLocks noGrp="1"/>
          </p:cNvSpPr>
          <p:nvPr>
            <p:ph type="subTitle" idx="1"/>
          </p:nvPr>
        </p:nvSpPr>
        <p:spPr>
          <a:xfrm>
            <a:off x="5364400" y="1336433"/>
            <a:ext cx="3039300" cy="15724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6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57" name="Google Shape;57;p13"/>
          <p:cNvSpPr txBox="1">
            <a:spLocks noGrp="1"/>
          </p:cNvSpPr>
          <p:nvPr>
            <p:ph type="ctrTitle" idx="2"/>
          </p:nvPr>
        </p:nvSpPr>
        <p:spPr>
          <a:xfrm>
            <a:off x="5364400" y="5203727"/>
            <a:ext cx="1881300" cy="8596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2000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9pPr>
          </a:lstStyle>
          <a:p>
            <a:endParaRPr/>
          </a:p>
        </p:txBody>
      </p:sp>
      <p:sp>
        <p:nvSpPr>
          <p:cNvPr id="58" name="Google Shape;58;p13"/>
          <p:cNvSpPr txBox="1">
            <a:spLocks noGrp="1"/>
          </p:cNvSpPr>
          <p:nvPr>
            <p:ph type="subTitle" idx="3"/>
          </p:nvPr>
        </p:nvSpPr>
        <p:spPr>
          <a:xfrm>
            <a:off x="5364400" y="3731833"/>
            <a:ext cx="3039300" cy="15724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6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95362382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hree columns">
  <p:cSld name="Title and three columns">
    <p:spTree>
      <p:nvGrpSpPr>
        <p:cNvPr id="1" name="Shape 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Google Shape;60;p14"/>
          <p:cNvSpPr txBox="1">
            <a:spLocks noGrp="1"/>
          </p:cNvSpPr>
          <p:nvPr>
            <p:ph type="ctrTitle"/>
          </p:nvPr>
        </p:nvSpPr>
        <p:spPr>
          <a:xfrm>
            <a:off x="1349089" y="3896800"/>
            <a:ext cx="1881300" cy="8596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2000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9pPr>
          </a:lstStyle>
          <a:p>
            <a:endParaRPr/>
          </a:p>
        </p:txBody>
      </p:sp>
      <p:sp>
        <p:nvSpPr>
          <p:cNvPr id="61" name="Google Shape;61;p14"/>
          <p:cNvSpPr txBox="1">
            <a:spLocks noGrp="1"/>
          </p:cNvSpPr>
          <p:nvPr>
            <p:ph type="subTitle" idx="1"/>
          </p:nvPr>
        </p:nvSpPr>
        <p:spPr>
          <a:xfrm>
            <a:off x="1349101" y="4654800"/>
            <a:ext cx="1881300" cy="1483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4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62" name="Google Shape;62;p14"/>
          <p:cNvSpPr txBox="1">
            <a:spLocks noGrp="1"/>
          </p:cNvSpPr>
          <p:nvPr>
            <p:ph type="ctrTitle" idx="2"/>
          </p:nvPr>
        </p:nvSpPr>
        <p:spPr>
          <a:xfrm>
            <a:off x="3628222" y="3896800"/>
            <a:ext cx="1881300" cy="8596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2000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9pPr>
          </a:lstStyle>
          <a:p>
            <a:endParaRPr/>
          </a:p>
        </p:txBody>
      </p:sp>
      <p:sp>
        <p:nvSpPr>
          <p:cNvPr id="63" name="Google Shape;63;p14"/>
          <p:cNvSpPr txBox="1">
            <a:spLocks noGrp="1"/>
          </p:cNvSpPr>
          <p:nvPr>
            <p:ph type="subTitle" idx="3"/>
          </p:nvPr>
        </p:nvSpPr>
        <p:spPr>
          <a:xfrm>
            <a:off x="3628234" y="4654800"/>
            <a:ext cx="1881300" cy="1483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4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64" name="Google Shape;64;p14"/>
          <p:cNvSpPr txBox="1">
            <a:spLocks noGrp="1"/>
          </p:cNvSpPr>
          <p:nvPr>
            <p:ph type="ctrTitle" idx="4"/>
          </p:nvPr>
        </p:nvSpPr>
        <p:spPr>
          <a:xfrm>
            <a:off x="5914222" y="3896800"/>
            <a:ext cx="1881300" cy="8596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2000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9pPr>
          </a:lstStyle>
          <a:p>
            <a:endParaRPr/>
          </a:p>
        </p:txBody>
      </p:sp>
      <p:sp>
        <p:nvSpPr>
          <p:cNvPr id="65" name="Google Shape;65;p14"/>
          <p:cNvSpPr txBox="1">
            <a:spLocks noGrp="1"/>
          </p:cNvSpPr>
          <p:nvPr>
            <p:ph type="subTitle" idx="5"/>
          </p:nvPr>
        </p:nvSpPr>
        <p:spPr>
          <a:xfrm>
            <a:off x="5914234" y="4654800"/>
            <a:ext cx="1881300" cy="1483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4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66" name="Google Shape;66;p14"/>
          <p:cNvSpPr txBox="1">
            <a:spLocks noGrp="1"/>
          </p:cNvSpPr>
          <p:nvPr>
            <p:ph type="ctrTitle" idx="6"/>
          </p:nvPr>
        </p:nvSpPr>
        <p:spPr>
          <a:xfrm>
            <a:off x="618825" y="548900"/>
            <a:ext cx="4727700" cy="7704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None/>
              <a:defRPr sz="3000"/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90843768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six columns">
  <p:cSld name="Title and six columns">
    <p:spTree>
      <p:nvGrpSpPr>
        <p:cNvPr id="1" name="Shape 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" name="Google Shape;68;p15"/>
          <p:cNvSpPr txBox="1">
            <a:spLocks noGrp="1"/>
          </p:cNvSpPr>
          <p:nvPr>
            <p:ph type="ctrTitle"/>
          </p:nvPr>
        </p:nvSpPr>
        <p:spPr>
          <a:xfrm>
            <a:off x="1196689" y="2066333"/>
            <a:ext cx="1881300" cy="8596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2000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9pPr>
          </a:lstStyle>
          <a:p>
            <a:endParaRPr/>
          </a:p>
        </p:txBody>
      </p:sp>
      <p:sp>
        <p:nvSpPr>
          <p:cNvPr id="69" name="Google Shape;69;p15"/>
          <p:cNvSpPr txBox="1">
            <a:spLocks noGrp="1"/>
          </p:cNvSpPr>
          <p:nvPr>
            <p:ph type="subTitle" idx="1"/>
          </p:nvPr>
        </p:nvSpPr>
        <p:spPr>
          <a:xfrm>
            <a:off x="1038125" y="2824333"/>
            <a:ext cx="2200500" cy="859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4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70" name="Google Shape;70;p15"/>
          <p:cNvSpPr txBox="1">
            <a:spLocks noGrp="1"/>
          </p:cNvSpPr>
          <p:nvPr>
            <p:ph type="ctrTitle" idx="2"/>
          </p:nvPr>
        </p:nvSpPr>
        <p:spPr>
          <a:xfrm>
            <a:off x="3628222" y="2066333"/>
            <a:ext cx="1881300" cy="8596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2000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9pPr>
          </a:lstStyle>
          <a:p>
            <a:endParaRPr/>
          </a:p>
        </p:txBody>
      </p:sp>
      <p:sp>
        <p:nvSpPr>
          <p:cNvPr id="71" name="Google Shape;71;p15"/>
          <p:cNvSpPr txBox="1">
            <a:spLocks noGrp="1"/>
          </p:cNvSpPr>
          <p:nvPr>
            <p:ph type="subTitle" idx="3"/>
          </p:nvPr>
        </p:nvSpPr>
        <p:spPr>
          <a:xfrm>
            <a:off x="3533612" y="2824333"/>
            <a:ext cx="2070600" cy="859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4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72" name="Google Shape;72;p15"/>
          <p:cNvSpPr txBox="1">
            <a:spLocks noGrp="1"/>
          </p:cNvSpPr>
          <p:nvPr>
            <p:ph type="ctrTitle" idx="4"/>
          </p:nvPr>
        </p:nvSpPr>
        <p:spPr>
          <a:xfrm>
            <a:off x="6085468" y="2066333"/>
            <a:ext cx="1881300" cy="8596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2000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9pPr>
          </a:lstStyle>
          <a:p>
            <a:endParaRPr/>
          </a:p>
        </p:txBody>
      </p:sp>
      <p:sp>
        <p:nvSpPr>
          <p:cNvPr id="73" name="Google Shape;73;p15"/>
          <p:cNvSpPr txBox="1">
            <a:spLocks noGrp="1"/>
          </p:cNvSpPr>
          <p:nvPr>
            <p:ph type="subTitle" idx="5"/>
          </p:nvPr>
        </p:nvSpPr>
        <p:spPr>
          <a:xfrm>
            <a:off x="5890768" y="2824333"/>
            <a:ext cx="2270700" cy="859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4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74" name="Google Shape;74;p15"/>
          <p:cNvSpPr txBox="1">
            <a:spLocks noGrp="1"/>
          </p:cNvSpPr>
          <p:nvPr>
            <p:ph type="ctrTitle" idx="6"/>
          </p:nvPr>
        </p:nvSpPr>
        <p:spPr>
          <a:xfrm>
            <a:off x="1185326" y="4444793"/>
            <a:ext cx="1881300" cy="8596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2000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9pPr>
          </a:lstStyle>
          <a:p>
            <a:endParaRPr/>
          </a:p>
        </p:txBody>
      </p:sp>
      <p:sp>
        <p:nvSpPr>
          <p:cNvPr id="75" name="Google Shape;75;p15"/>
          <p:cNvSpPr txBox="1">
            <a:spLocks noGrp="1"/>
          </p:cNvSpPr>
          <p:nvPr>
            <p:ph type="subTitle" idx="7"/>
          </p:nvPr>
        </p:nvSpPr>
        <p:spPr>
          <a:xfrm>
            <a:off x="1024850" y="5193769"/>
            <a:ext cx="2200500" cy="859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4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76" name="Google Shape;76;p15"/>
          <p:cNvSpPr txBox="1">
            <a:spLocks noGrp="1"/>
          </p:cNvSpPr>
          <p:nvPr>
            <p:ph type="ctrTitle" idx="8"/>
          </p:nvPr>
        </p:nvSpPr>
        <p:spPr>
          <a:xfrm>
            <a:off x="3616859" y="4444793"/>
            <a:ext cx="1881300" cy="8596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2000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9pPr>
          </a:lstStyle>
          <a:p>
            <a:endParaRPr/>
          </a:p>
        </p:txBody>
      </p:sp>
      <p:sp>
        <p:nvSpPr>
          <p:cNvPr id="77" name="Google Shape;77;p15"/>
          <p:cNvSpPr txBox="1">
            <a:spLocks noGrp="1"/>
          </p:cNvSpPr>
          <p:nvPr>
            <p:ph type="subTitle" idx="9"/>
          </p:nvPr>
        </p:nvSpPr>
        <p:spPr>
          <a:xfrm>
            <a:off x="3522224" y="5193769"/>
            <a:ext cx="2070600" cy="859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4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78" name="Google Shape;78;p15"/>
          <p:cNvSpPr txBox="1">
            <a:spLocks noGrp="1"/>
          </p:cNvSpPr>
          <p:nvPr>
            <p:ph type="ctrTitle" idx="13"/>
          </p:nvPr>
        </p:nvSpPr>
        <p:spPr>
          <a:xfrm>
            <a:off x="6085468" y="4444793"/>
            <a:ext cx="1881300" cy="8596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2000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9pPr>
          </a:lstStyle>
          <a:p>
            <a:endParaRPr/>
          </a:p>
        </p:txBody>
      </p:sp>
      <p:sp>
        <p:nvSpPr>
          <p:cNvPr id="79" name="Google Shape;79;p15"/>
          <p:cNvSpPr txBox="1">
            <a:spLocks noGrp="1"/>
          </p:cNvSpPr>
          <p:nvPr>
            <p:ph type="subTitle" idx="14"/>
          </p:nvPr>
        </p:nvSpPr>
        <p:spPr>
          <a:xfrm>
            <a:off x="5890768" y="5193769"/>
            <a:ext cx="2270700" cy="859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4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80" name="Google Shape;80;p15"/>
          <p:cNvSpPr txBox="1">
            <a:spLocks noGrp="1"/>
          </p:cNvSpPr>
          <p:nvPr>
            <p:ph type="ctrTitle" idx="15"/>
          </p:nvPr>
        </p:nvSpPr>
        <p:spPr>
          <a:xfrm>
            <a:off x="618825" y="548900"/>
            <a:ext cx="4727700" cy="7704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None/>
              <a:defRPr sz="3000"/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22567371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four columns 2">
  <p:cSld name="Title and four columns 2">
    <p:spTree>
      <p:nvGrpSpPr>
        <p:cNvPr id="1" name="Shape 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" name="Google Shape;92;p17"/>
          <p:cNvSpPr txBox="1">
            <a:spLocks noGrp="1"/>
          </p:cNvSpPr>
          <p:nvPr>
            <p:ph type="ctrTitle"/>
          </p:nvPr>
        </p:nvSpPr>
        <p:spPr>
          <a:xfrm>
            <a:off x="719990" y="1779200"/>
            <a:ext cx="1881300" cy="8596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2000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93" name="Google Shape;93;p17"/>
          <p:cNvSpPr txBox="1">
            <a:spLocks noGrp="1"/>
          </p:cNvSpPr>
          <p:nvPr>
            <p:ph type="subTitle" idx="1"/>
          </p:nvPr>
        </p:nvSpPr>
        <p:spPr>
          <a:xfrm>
            <a:off x="791025" y="2692533"/>
            <a:ext cx="1656600" cy="859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4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94" name="Google Shape;94;p17"/>
          <p:cNvSpPr txBox="1">
            <a:spLocks noGrp="1"/>
          </p:cNvSpPr>
          <p:nvPr>
            <p:ph type="ctrTitle" idx="2"/>
          </p:nvPr>
        </p:nvSpPr>
        <p:spPr>
          <a:xfrm>
            <a:off x="2682548" y="1779200"/>
            <a:ext cx="1881300" cy="8596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2000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95" name="Google Shape;95;p17"/>
          <p:cNvSpPr txBox="1">
            <a:spLocks noGrp="1"/>
          </p:cNvSpPr>
          <p:nvPr>
            <p:ph type="subTitle" idx="3"/>
          </p:nvPr>
        </p:nvSpPr>
        <p:spPr>
          <a:xfrm>
            <a:off x="2957729" y="2692533"/>
            <a:ext cx="1881300" cy="859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4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96" name="Google Shape;96;p17"/>
          <p:cNvSpPr txBox="1">
            <a:spLocks noGrp="1"/>
          </p:cNvSpPr>
          <p:nvPr>
            <p:ph type="ctrTitle" idx="4"/>
          </p:nvPr>
        </p:nvSpPr>
        <p:spPr>
          <a:xfrm>
            <a:off x="719998" y="3815367"/>
            <a:ext cx="1881300" cy="8596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2000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97" name="Google Shape;97;p17"/>
          <p:cNvSpPr txBox="1">
            <a:spLocks noGrp="1"/>
          </p:cNvSpPr>
          <p:nvPr>
            <p:ph type="subTitle" idx="5"/>
          </p:nvPr>
        </p:nvSpPr>
        <p:spPr>
          <a:xfrm>
            <a:off x="678600" y="4728700"/>
            <a:ext cx="1881300" cy="859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4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98" name="Google Shape;98;p17"/>
          <p:cNvSpPr txBox="1">
            <a:spLocks noGrp="1"/>
          </p:cNvSpPr>
          <p:nvPr>
            <p:ph type="ctrTitle" idx="6"/>
          </p:nvPr>
        </p:nvSpPr>
        <p:spPr>
          <a:xfrm>
            <a:off x="2689423" y="3815367"/>
            <a:ext cx="1881300" cy="8596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2000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99" name="Google Shape;99;p17"/>
          <p:cNvSpPr txBox="1">
            <a:spLocks noGrp="1"/>
          </p:cNvSpPr>
          <p:nvPr>
            <p:ph type="subTitle" idx="7"/>
          </p:nvPr>
        </p:nvSpPr>
        <p:spPr>
          <a:xfrm>
            <a:off x="3076950" y="4728700"/>
            <a:ext cx="1656600" cy="859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4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100" name="Google Shape;100;p17"/>
          <p:cNvSpPr txBox="1">
            <a:spLocks noGrp="1"/>
          </p:cNvSpPr>
          <p:nvPr>
            <p:ph type="ctrTitle" idx="8"/>
          </p:nvPr>
        </p:nvSpPr>
        <p:spPr>
          <a:xfrm>
            <a:off x="618825" y="548900"/>
            <a:ext cx="4727700" cy="7704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None/>
              <a:defRPr sz="3000"/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37370380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anks">
  <p:cSld name="Thanks">
    <p:spTree>
      <p:nvGrpSpPr>
        <p:cNvPr id="1" name="Shape 1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" name="Google Shape;102;p18"/>
          <p:cNvSpPr txBox="1">
            <a:spLocks noGrp="1"/>
          </p:cNvSpPr>
          <p:nvPr>
            <p:ph type="title"/>
          </p:nvPr>
        </p:nvSpPr>
        <p:spPr>
          <a:xfrm>
            <a:off x="630950" y="1389339"/>
            <a:ext cx="2749800" cy="14952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200"/>
              <a:buNone/>
              <a:defRPr sz="6000">
                <a:solidFill>
                  <a:schemeClr val="lt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9pPr>
          </a:lstStyle>
          <a:p>
            <a:endParaRPr/>
          </a:p>
        </p:txBody>
      </p:sp>
      <p:sp>
        <p:nvSpPr>
          <p:cNvPr id="103" name="Google Shape;103;p18"/>
          <p:cNvSpPr txBox="1">
            <a:spLocks noGrp="1"/>
          </p:cNvSpPr>
          <p:nvPr>
            <p:ph type="subTitle" idx="1"/>
          </p:nvPr>
        </p:nvSpPr>
        <p:spPr>
          <a:xfrm>
            <a:off x="630950" y="2668733"/>
            <a:ext cx="2960400" cy="1804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14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9pPr>
          </a:lstStyle>
          <a:p>
            <a:endParaRPr/>
          </a:p>
        </p:txBody>
      </p:sp>
      <p:sp>
        <p:nvSpPr>
          <p:cNvPr id="104" name="Google Shape;104;p18"/>
          <p:cNvSpPr txBox="1"/>
          <p:nvPr/>
        </p:nvSpPr>
        <p:spPr>
          <a:xfrm>
            <a:off x="621200" y="4790408"/>
            <a:ext cx="4186500" cy="124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lnSpc>
                <a:spcPct val="115000"/>
              </a:lnSpc>
              <a:spcBef>
                <a:spcPts val="300"/>
              </a:spcBef>
              <a:spcAft>
                <a:spcPts val="0"/>
              </a:spcAft>
              <a:buNone/>
            </a:pPr>
            <a:r>
              <a:rPr lang="en" sz="1000">
                <a:solidFill>
                  <a:schemeClr val="accent1"/>
                </a:solidFill>
                <a:latin typeface="Muli"/>
                <a:ea typeface="Muli"/>
                <a:cs typeface="Muli"/>
                <a:sym typeface="Muli"/>
              </a:rPr>
              <a:t>CREDITS: This presentation template was created by </a:t>
            </a:r>
            <a:r>
              <a:rPr lang="en" sz="1000">
                <a:solidFill>
                  <a:schemeClr val="lt1"/>
                </a:solidFill>
                <a:uFill>
                  <a:noFill/>
                </a:uFill>
                <a:latin typeface="Muli Regular"/>
                <a:ea typeface="Muli Regular"/>
                <a:cs typeface="Muli Regular"/>
                <a:sym typeface="Muli Regular"/>
                <a:hlinkClick r:id="rId2"/>
              </a:rPr>
              <a:t>Slidesgo</a:t>
            </a:r>
            <a:r>
              <a:rPr lang="en" sz="1000">
                <a:solidFill>
                  <a:schemeClr val="accent1"/>
                </a:solidFill>
                <a:latin typeface="Muli"/>
                <a:ea typeface="Muli"/>
                <a:cs typeface="Muli"/>
                <a:sym typeface="Muli"/>
              </a:rPr>
              <a:t>, including icons by </a:t>
            </a:r>
            <a:r>
              <a:rPr lang="en" sz="1000">
                <a:solidFill>
                  <a:schemeClr val="lt1"/>
                </a:solidFill>
                <a:uFill>
                  <a:noFill/>
                </a:uFill>
                <a:latin typeface="Muli"/>
                <a:ea typeface="Muli"/>
                <a:cs typeface="Muli"/>
                <a:sym typeface="Muli"/>
                <a:hlinkClick r:id="rId3"/>
              </a:rPr>
              <a:t>Flaticon</a:t>
            </a:r>
            <a:r>
              <a:rPr lang="en" sz="1000">
                <a:solidFill>
                  <a:schemeClr val="accent1"/>
                </a:solidFill>
                <a:latin typeface="Muli"/>
                <a:ea typeface="Muli"/>
                <a:cs typeface="Muli"/>
                <a:sym typeface="Muli"/>
              </a:rPr>
              <a:t>, and infographics &amp; images by </a:t>
            </a:r>
            <a:r>
              <a:rPr lang="en" sz="1000">
                <a:solidFill>
                  <a:schemeClr val="lt1"/>
                </a:solidFill>
                <a:uFill>
                  <a:noFill/>
                </a:uFill>
                <a:latin typeface="Muli"/>
                <a:ea typeface="Muli"/>
                <a:cs typeface="Muli"/>
                <a:sym typeface="Muli"/>
                <a:hlinkClick r:id="rId4"/>
              </a:rPr>
              <a:t>Freepik</a:t>
            </a:r>
            <a:endParaRPr sz="1000">
              <a:solidFill>
                <a:schemeClr val="lt1"/>
              </a:solidFill>
              <a:latin typeface="Muli"/>
              <a:ea typeface="Muli"/>
              <a:cs typeface="Muli"/>
              <a:sym typeface="Muli"/>
            </a:endParaRPr>
          </a:p>
        </p:txBody>
      </p:sp>
    </p:spTree>
    <p:extLst>
      <p:ext uri="{BB962C8B-B14F-4D97-AF65-F5344CB8AC3E}">
        <p14:creationId xmlns:p14="http://schemas.microsoft.com/office/powerpoint/2010/main" val="315183252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list">
  <p:cSld name="Title and list">
    <p:spTree>
      <p:nvGrpSpPr>
        <p:cNvPr id="1" name="Shape 1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" name="Google Shape;106;p19"/>
          <p:cNvSpPr txBox="1">
            <a:spLocks noGrp="1"/>
          </p:cNvSpPr>
          <p:nvPr>
            <p:ph type="body" idx="1"/>
          </p:nvPr>
        </p:nvSpPr>
        <p:spPr>
          <a:xfrm>
            <a:off x="597375" y="1418033"/>
            <a:ext cx="3908700" cy="5049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29210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Font typeface="Livvic Light"/>
              <a:buChar char="●"/>
              <a:defRPr sz="1200"/>
            </a:lvl1pPr>
            <a:lvl2pPr marL="914400" lvl="1" indent="-292100" rtl="0">
              <a:spcBef>
                <a:spcPts val="1600"/>
              </a:spcBef>
              <a:spcAft>
                <a:spcPts val="0"/>
              </a:spcAft>
              <a:buSzPts val="1000"/>
              <a:buFont typeface="Nunito Light"/>
              <a:buChar char="○"/>
              <a:defRPr/>
            </a:lvl2pPr>
            <a:lvl3pPr marL="1371600" lvl="2" indent="-292100" rtl="0">
              <a:spcBef>
                <a:spcPts val="1600"/>
              </a:spcBef>
              <a:spcAft>
                <a:spcPts val="0"/>
              </a:spcAft>
              <a:buSzPts val="1000"/>
              <a:buFont typeface="Nunito Light"/>
              <a:buChar char="■"/>
              <a:defRPr/>
            </a:lvl3pPr>
            <a:lvl4pPr marL="1828800" lvl="3" indent="-292100" rtl="0">
              <a:spcBef>
                <a:spcPts val="1600"/>
              </a:spcBef>
              <a:spcAft>
                <a:spcPts val="0"/>
              </a:spcAft>
              <a:buSzPts val="1000"/>
              <a:buFont typeface="Nunito Light"/>
              <a:buChar char="●"/>
              <a:defRPr/>
            </a:lvl4pPr>
            <a:lvl5pPr marL="2286000" lvl="4" indent="-292100" rtl="0">
              <a:spcBef>
                <a:spcPts val="1600"/>
              </a:spcBef>
              <a:spcAft>
                <a:spcPts val="0"/>
              </a:spcAft>
              <a:buSzPts val="1000"/>
              <a:buFont typeface="Nunito Light"/>
              <a:buChar char="○"/>
              <a:defRPr/>
            </a:lvl5pPr>
            <a:lvl6pPr marL="2743200" lvl="5" indent="-292100" rtl="0">
              <a:spcBef>
                <a:spcPts val="1600"/>
              </a:spcBef>
              <a:spcAft>
                <a:spcPts val="0"/>
              </a:spcAft>
              <a:buSzPts val="1000"/>
              <a:buFont typeface="Nunito Light"/>
              <a:buChar char="■"/>
              <a:defRPr/>
            </a:lvl6pPr>
            <a:lvl7pPr marL="3200400" lvl="6" indent="-292100" rtl="0">
              <a:spcBef>
                <a:spcPts val="1600"/>
              </a:spcBef>
              <a:spcAft>
                <a:spcPts val="0"/>
              </a:spcAft>
              <a:buSzPts val="1000"/>
              <a:buFont typeface="Nunito Light"/>
              <a:buChar char="●"/>
              <a:defRPr/>
            </a:lvl7pPr>
            <a:lvl8pPr marL="3657600" lvl="7" indent="-292100" rtl="0">
              <a:spcBef>
                <a:spcPts val="1600"/>
              </a:spcBef>
              <a:spcAft>
                <a:spcPts val="0"/>
              </a:spcAft>
              <a:buSzPts val="1000"/>
              <a:buFont typeface="Nunito Light"/>
              <a:buChar char="○"/>
              <a:defRPr/>
            </a:lvl8pPr>
            <a:lvl9pPr marL="4114800" lvl="8" indent="-292100" rtl="0">
              <a:spcBef>
                <a:spcPts val="1600"/>
              </a:spcBef>
              <a:spcAft>
                <a:spcPts val="1600"/>
              </a:spcAft>
              <a:buSzPts val="1000"/>
              <a:buFont typeface="Nunito Light"/>
              <a:buChar char="■"/>
              <a:defRPr/>
            </a:lvl9pPr>
          </a:lstStyle>
          <a:p>
            <a:endParaRPr/>
          </a:p>
        </p:txBody>
      </p:sp>
      <p:sp>
        <p:nvSpPr>
          <p:cNvPr id="107" name="Google Shape;107;p19"/>
          <p:cNvSpPr txBox="1">
            <a:spLocks noGrp="1"/>
          </p:cNvSpPr>
          <p:nvPr>
            <p:ph type="ctrTitle"/>
          </p:nvPr>
        </p:nvSpPr>
        <p:spPr>
          <a:xfrm>
            <a:off x="618825" y="548900"/>
            <a:ext cx="4727700" cy="7704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None/>
              <a:defRPr sz="3000"/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9pPr>
          </a:lstStyle>
          <a:p>
            <a:endParaRPr/>
          </a:p>
        </p:txBody>
      </p:sp>
      <p:sp>
        <p:nvSpPr>
          <p:cNvPr id="108" name="Google Shape;108;p19"/>
          <p:cNvSpPr txBox="1">
            <a:spLocks noGrp="1"/>
          </p:cNvSpPr>
          <p:nvPr>
            <p:ph type="body" idx="2"/>
          </p:nvPr>
        </p:nvSpPr>
        <p:spPr>
          <a:xfrm>
            <a:off x="4690125" y="1418033"/>
            <a:ext cx="3908700" cy="5049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29210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C5D37"/>
              </a:buClr>
              <a:buSzPts val="1000"/>
              <a:buFont typeface="Livvic Light"/>
              <a:buChar char="●"/>
              <a:defRPr sz="1200"/>
            </a:lvl1pPr>
            <a:lvl2pPr marL="914400" lvl="1" indent="-292100" rtl="0">
              <a:spcBef>
                <a:spcPts val="1600"/>
              </a:spcBef>
              <a:spcAft>
                <a:spcPts val="0"/>
              </a:spcAft>
              <a:buClr>
                <a:srgbClr val="FFC800"/>
              </a:buClr>
              <a:buSzPts val="1000"/>
              <a:buFont typeface="Nunito Light"/>
              <a:buChar char="○"/>
              <a:defRPr/>
            </a:lvl2pPr>
            <a:lvl3pPr marL="1371600" lvl="2" indent="-292100" rtl="0">
              <a:spcBef>
                <a:spcPts val="1600"/>
              </a:spcBef>
              <a:spcAft>
                <a:spcPts val="0"/>
              </a:spcAft>
              <a:buClr>
                <a:srgbClr val="FFC800"/>
              </a:buClr>
              <a:buSzPts val="1000"/>
              <a:buFont typeface="Nunito Light"/>
              <a:buChar char="■"/>
              <a:defRPr/>
            </a:lvl3pPr>
            <a:lvl4pPr marL="1828800" lvl="3" indent="-292100" rtl="0">
              <a:spcBef>
                <a:spcPts val="1600"/>
              </a:spcBef>
              <a:spcAft>
                <a:spcPts val="0"/>
              </a:spcAft>
              <a:buClr>
                <a:srgbClr val="FFC800"/>
              </a:buClr>
              <a:buSzPts val="1000"/>
              <a:buFont typeface="Nunito Light"/>
              <a:buChar char="●"/>
              <a:defRPr/>
            </a:lvl4pPr>
            <a:lvl5pPr marL="2286000" lvl="4" indent="-292100" rtl="0">
              <a:spcBef>
                <a:spcPts val="1600"/>
              </a:spcBef>
              <a:spcAft>
                <a:spcPts val="0"/>
              </a:spcAft>
              <a:buClr>
                <a:srgbClr val="434343"/>
              </a:buClr>
              <a:buSzPts val="1000"/>
              <a:buFont typeface="Nunito Light"/>
              <a:buChar char="○"/>
              <a:defRPr/>
            </a:lvl5pPr>
            <a:lvl6pPr marL="2743200" lvl="5" indent="-292100" rtl="0">
              <a:spcBef>
                <a:spcPts val="1600"/>
              </a:spcBef>
              <a:spcAft>
                <a:spcPts val="0"/>
              </a:spcAft>
              <a:buClr>
                <a:srgbClr val="434343"/>
              </a:buClr>
              <a:buSzPts val="1000"/>
              <a:buFont typeface="Nunito Light"/>
              <a:buChar char="■"/>
              <a:defRPr/>
            </a:lvl6pPr>
            <a:lvl7pPr marL="3200400" lvl="6" indent="-292100" rtl="0">
              <a:spcBef>
                <a:spcPts val="1600"/>
              </a:spcBef>
              <a:spcAft>
                <a:spcPts val="0"/>
              </a:spcAft>
              <a:buClr>
                <a:srgbClr val="434343"/>
              </a:buClr>
              <a:buSzPts val="1000"/>
              <a:buFont typeface="Nunito Light"/>
              <a:buChar char="●"/>
              <a:defRPr/>
            </a:lvl7pPr>
            <a:lvl8pPr marL="3657600" lvl="7" indent="-292100" rtl="0">
              <a:spcBef>
                <a:spcPts val="1600"/>
              </a:spcBef>
              <a:spcAft>
                <a:spcPts val="0"/>
              </a:spcAft>
              <a:buClr>
                <a:srgbClr val="434343"/>
              </a:buClr>
              <a:buSzPts val="1000"/>
              <a:buFont typeface="Nunito Light"/>
              <a:buChar char="○"/>
              <a:defRPr/>
            </a:lvl8pPr>
            <a:lvl9pPr marL="4114800" lvl="8" indent="-292100" rtl="0">
              <a:spcBef>
                <a:spcPts val="1600"/>
              </a:spcBef>
              <a:spcAft>
                <a:spcPts val="1600"/>
              </a:spcAft>
              <a:buClr>
                <a:srgbClr val="434343"/>
              </a:buClr>
              <a:buSzPts val="1000"/>
              <a:buFont typeface="Nunito Light"/>
              <a:buChar char="■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52978526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ckground">
  <p:cSld name="Background">
    <p:spTree>
      <p:nvGrpSpPr>
        <p:cNvPr id="1" name="Shape 109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3908353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bg>
      <p:bgPr>
        <a:noFill/>
        <a:effectLst/>
      </p:bgPr>
    </p:bg>
    <p:spTree>
      <p:nvGrpSpPr>
        <p:cNvPr id="1" name="Shape 110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2054485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.T. Kearney TitleOnly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4922304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1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="" xmlns:a16="http://schemas.microsoft.com/office/drawing/2014/main" id="{291ED889-1B19-43F4-8AB2-88D47AF8594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lnSpc>
                <a:spcPct val="90000"/>
              </a:lnSpc>
              <a:spcBef>
                <a:spcPts val="900"/>
              </a:spcBef>
            </a:pPr>
            <a:endParaRPr lang="en-US" sz="2400" b="0" i="0" baseline="0" dirty="0" err="1">
              <a:solidFill>
                <a:schemeClr val="bg1"/>
              </a:solidFill>
              <a:latin typeface="Arial" pitchFamily="34" charset="0"/>
              <a:ea typeface="+mj-ea"/>
              <a:cs typeface="Arial" pitchFamily="34" charset="0"/>
              <a:sym typeface="Arial" panose="020B0604020202020204" pitchFamily="34" charset="0"/>
            </a:endParaRPr>
          </a:p>
        </p:txBody>
      </p:sp>
      <p:sp>
        <p:nvSpPr>
          <p:cNvPr id="5" name="Title">
            <a:extLst>
              <a:ext uri="{FF2B5EF4-FFF2-40B4-BE49-F238E27FC236}">
                <a16:creationId xmlns="" xmlns:a16="http://schemas.microsoft.com/office/drawing/2014/main" id="{DEDBE242-48AD-44D7-A30A-0F4BFB955D4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4507" y="493495"/>
            <a:ext cx="7604094" cy="332399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 dirty="0"/>
              <a:t>Headline of maximum two lines here</a:t>
            </a:r>
          </a:p>
        </p:txBody>
      </p:sp>
    </p:spTree>
    <p:extLst>
      <p:ext uri="{BB962C8B-B14F-4D97-AF65-F5344CB8AC3E}">
        <p14:creationId xmlns:p14="http://schemas.microsoft.com/office/powerpoint/2010/main" val="278225513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.T. Kearney Divider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D4AB3880-D29D-40A4-875C-AD339D4CCB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084870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42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="" xmlns:a16="http://schemas.microsoft.com/office/drawing/2014/main" id="{D4AB3880-D29D-40A4-875C-AD339D4CCB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84105262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.T. Kearney Disclaimer 20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3102873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.T. Kearney TitleAndText 20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244800" y="804672"/>
            <a:ext cx="864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en-US" dirty="0"/>
              <a:t>Headline of maximum two lines here</a:t>
            </a:r>
          </a:p>
        </p:txBody>
      </p:sp>
    </p:spTree>
    <p:extLst>
      <p:ext uri="{BB962C8B-B14F-4D97-AF65-F5344CB8AC3E}">
        <p14:creationId xmlns:p14="http://schemas.microsoft.com/office/powerpoint/2010/main" val="309682698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A.T. Kearney TitleOnly 20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244800" y="804672"/>
            <a:ext cx="864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en-US" dirty="0"/>
              <a:t>Headline of maximum two lines here</a:t>
            </a:r>
          </a:p>
        </p:txBody>
      </p:sp>
    </p:spTree>
    <p:extLst>
      <p:ext uri="{BB962C8B-B14F-4D97-AF65-F5344CB8AC3E}">
        <p14:creationId xmlns:p14="http://schemas.microsoft.com/office/powerpoint/2010/main" val="365882403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TK Blank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auto">
          <a:xfrm>
            <a:off x="244475" y="493537"/>
            <a:ext cx="8650288" cy="3323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8348978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 slide">
    <p:spTree>
      <p:nvGrpSpPr>
        <p:cNvPr id="1" name="Shape 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Google Shape;9;p2"/>
          <p:cNvSpPr txBox="1">
            <a:spLocks noGrp="1"/>
          </p:cNvSpPr>
          <p:nvPr>
            <p:ph type="ctrTitle"/>
          </p:nvPr>
        </p:nvSpPr>
        <p:spPr>
          <a:xfrm>
            <a:off x="657225" y="1183267"/>
            <a:ext cx="4517400" cy="2736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5200"/>
              <a:buNone/>
              <a:defRPr sz="5200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lvl="1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2pPr>
            <a:lvl3pPr lvl="2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3pPr>
            <a:lvl4pPr lvl="3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4pPr>
            <a:lvl5pPr lvl="4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5pPr>
            <a:lvl6pPr lvl="5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6pPr>
            <a:lvl7pPr lvl="6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7pPr>
            <a:lvl8pPr lvl="7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8pPr>
            <a:lvl9pPr lvl="8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9pPr>
          </a:lstStyle>
          <a:p>
            <a:endParaRPr/>
          </a:p>
        </p:txBody>
      </p:sp>
      <p:sp>
        <p:nvSpPr>
          <p:cNvPr id="10" name="Google Shape;10;p2"/>
          <p:cNvSpPr txBox="1">
            <a:spLocks noGrp="1"/>
          </p:cNvSpPr>
          <p:nvPr>
            <p:ph type="subTitle" idx="1"/>
          </p:nvPr>
        </p:nvSpPr>
        <p:spPr>
          <a:xfrm>
            <a:off x="720000" y="3780367"/>
            <a:ext cx="3295500" cy="1056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solidFill>
                  <a:srgbClr val="1C4587"/>
                </a:solidFill>
              </a:defRPr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21404613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tags" Target="../tags/tag2.xml"/><Relationship Id="rId12" Type="http://schemas.openxmlformats.org/officeDocument/2006/relationships/tags" Target="../tags/tag3.xml"/><Relationship Id="rId13" Type="http://schemas.openxmlformats.org/officeDocument/2006/relationships/oleObject" Target="../embeddings/oleObject1.bin"/><Relationship Id="rId14" Type="http://schemas.openxmlformats.org/officeDocument/2006/relationships/image" Target="../media/image1.emf"/><Relationship Id="rId15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theme" Target="../theme/theme1.xml"/><Relationship Id="rId10" Type="http://schemas.openxmlformats.org/officeDocument/2006/relationships/vmlDrawing" Target="../drawings/vmlDrawing1.vml"/></Relationships>
</file>

<file path=ppt/slideMasters/_rels/slideMaster2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17.xml"/><Relationship Id="rId20" Type="http://schemas.openxmlformats.org/officeDocument/2006/relationships/theme" Target="../theme/theme2.xml"/><Relationship Id="rId21" Type="http://schemas.openxmlformats.org/officeDocument/2006/relationships/vmlDrawing" Target="../drawings/vmlDrawing5.vml"/><Relationship Id="rId22" Type="http://schemas.openxmlformats.org/officeDocument/2006/relationships/tags" Target="../tags/tag9.xml"/><Relationship Id="rId23" Type="http://schemas.openxmlformats.org/officeDocument/2006/relationships/oleObject" Target="../embeddings/oleObject5.bin"/><Relationship Id="rId24" Type="http://schemas.openxmlformats.org/officeDocument/2006/relationships/image" Target="../media/image4.emf"/><Relationship Id="rId10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0.xml"/><Relationship Id="rId13" Type="http://schemas.openxmlformats.org/officeDocument/2006/relationships/slideLayout" Target="../slideLayouts/slideLayout21.xml"/><Relationship Id="rId14" Type="http://schemas.openxmlformats.org/officeDocument/2006/relationships/slideLayout" Target="../slideLayouts/slideLayout22.xml"/><Relationship Id="rId15" Type="http://schemas.openxmlformats.org/officeDocument/2006/relationships/slideLayout" Target="../slideLayouts/slideLayout23.xml"/><Relationship Id="rId16" Type="http://schemas.openxmlformats.org/officeDocument/2006/relationships/slideLayout" Target="../slideLayouts/slideLayout24.xml"/><Relationship Id="rId17" Type="http://schemas.openxmlformats.org/officeDocument/2006/relationships/slideLayout" Target="../slideLayouts/slideLayout25.xml"/><Relationship Id="rId18" Type="http://schemas.openxmlformats.org/officeDocument/2006/relationships/slideLayout" Target="../slideLayouts/slideLayout26.xml"/><Relationship Id="rId19" Type="http://schemas.openxmlformats.org/officeDocument/2006/relationships/slideLayout" Target="../slideLayouts/slideLayout27.xml"/><Relationship Id="rId1" Type="http://schemas.openxmlformats.org/officeDocument/2006/relationships/slideLayout" Target="../slideLayouts/slideLayout9.xml"/><Relationship Id="rId2" Type="http://schemas.openxmlformats.org/officeDocument/2006/relationships/slideLayout" Target="../slideLayouts/slideLayout10.xml"/><Relationship Id="rId3" Type="http://schemas.openxmlformats.org/officeDocument/2006/relationships/slideLayout" Target="../slideLayouts/slideLayout11.xml"/><Relationship Id="rId4" Type="http://schemas.openxmlformats.org/officeDocument/2006/relationships/slideLayout" Target="../slideLayouts/slideLayout12.xml"/><Relationship Id="rId5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5.xml"/><Relationship Id="rId8" Type="http://schemas.openxmlformats.org/officeDocument/2006/relationships/slideLayout" Target="../slideLayouts/slideLayout1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59498238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70" name="think-cell Slide" r:id="rId13" imgW="493" imgH="493" progId="TCLayout.ActiveDocument.1">
                  <p:embed/>
                </p:oleObj>
              </mc:Choice>
              <mc:Fallback>
                <p:oleObj name="think-cell Slide" r:id="rId13" imgW="493" imgH="49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="" xmlns:a16="http://schemas.microsoft.com/office/drawing/2014/main" id="{3208B807-80D5-4FFC-9414-2181C44B479E}"/>
              </a:ext>
            </a:extLst>
          </p:cNvPr>
          <p:cNvSpPr/>
          <p:nvPr userDrawn="1">
            <p:custDataLst>
              <p:tags r:id="rId1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solidFill>
                <a:schemeClr val="bg1"/>
              </a:solidFill>
              <a:latin typeface="Arial" pitchFamily="34" charset="0"/>
              <a:ea typeface="+mj-ea"/>
              <a:cs typeface="Arial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44507" y="493495"/>
            <a:ext cx="7604094" cy="332399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 dirty="0"/>
              <a:t>Headline of maximum two lines here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8641893" y="6595256"/>
            <a:ext cx="265176" cy="138499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rtlCol="0" anchor="b" anchorCtr="0">
            <a:noAutofit/>
          </a:bodyPr>
          <a:lstStyle/>
          <a:p>
            <a:pPr algn="r"/>
            <a:fld id="{6CE8C368-3382-4C28-AE75-DF7C05ACA19D}" type="slidenum">
              <a:rPr lang="en-US" sz="900">
                <a:solidFill>
                  <a:srgbClr val="ADABA1"/>
                </a:solidFill>
              </a:rPr>
              <a:pPr algn="r"/>
              <a:t>‹#›</a:t>
            </a:fld>
            <a:endParaRPr lang="en-US" sz="900" dirty="0">
              <a:solidFill>
                <a:srgbClr val="ADABA1"/>
              </a:solidFill>
            </a:endParaRP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228600" y="1143000"/>
            <a:ext cx="8686800" cy="0"/>
          </a:xfrm>
          <a:prstGeom prst="line">
            <a:avLst/>
          </a:prstGeom>
          <a:ln w="28575">
            <a:solidFill>
              <a:srgbClr val="2DC5F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 descr="Ironhack_Paris_Logo.png">
            <a:extLst>
              <a:ext uri="{FF2B5EF4-FFF2-40B4-BE49-F238E27FC236}">
                <a16:creationId xmlns="" xmlns:a16="http://schemas.microsoft.com/office/drawing/2014/main" id="{1C0AB4C0-9752-45B5-8AD9-B8972E9DE29F}"/>
              </a:ext>
            </a:extLst>
          </p:cNvPr>
          <p:cNvPicPr>
            <a:picLocks noChangeAspect="1"/>
          </p:cNvPicPr>
          <p:nvPr userDrawn="1"/>
        </p:nvPicPr>
        <p:blipFill>
          <a:blip r:embed="rId1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86700" y="190500"/>
            <a:ext cx="938390" cy="9383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70146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9" r:id="rId5"/>
    <p:sldLayoutId id="2147483681" r:id="rId6"/>
    <p:sldLayoutId id="2147483682" r:id="rId7"/>
    <p:sldLayoutId id="2147483683" r:id="rId8"/>
  </p:sldLayoutIdLst>
  <p:hf sldNum="0" hdr="0" ftr="0" dt="0"/>
  <p:txStyles>
    <p:titleStyle>
      <a:lvl1pPr marL="0" indent="0" algn="l" defTabSz="914400" rtl="0" eaLnBrk="1" latinLnBrk="0" hangingPunct="1">
        <a:lnSpc>
          <a:spcPct val="90000"/>
        </a:lnSpc>
        <a:spcBef>
          <a:spcPct val="0"/>
        </a:spcBef>
        <a:buNone/>
        <a:defRPr sz="2400" b="0" kern="1200" baseline="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180000" indent="-180000" algn="l" defTabSz="914400" rtl="0" eaLnBrk="1" latinLnBrk="0" hangingPunct="1">
        <a:lnSpc>
          <a:spcPct val="90000"/>
        </a:lnSpc>
        <a:spcBef>
          <a:spcPts val="1400"/>
        </a:spcBef>
        <a:buClr>
          <a:srgbClr val="048962"/>
        </a:buClr>
        <a:buSzPct val="100000"/>
        <a:buFont typeface="Arial" pitchFamily="34" charset="0"/>
        <a:buChar char="■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310896" indent="-128016" algn="l" defTabSz="914400" rtl="0" eaLnBrk="1" latinLnBrk="0" hangingPunct="1">
        <a:lnSpc>
          <a:spcPct val="90000"/>
        </a:lnSpc>
        <a:spcBef>
          <a:spcPts val="900"/>
        </a:spcBef>
        <a:buClr>
          <a:srgbClr val="048962"/>
        </a:buClr>
        <a:buFont typeface="Arial" pitchFamily="34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489600" indent="-180000" algn="l" defTabSz="914400" rtl="0" eaLnBrk="1" latinLnBrk="0" hangingPunct="1">
        <a:lnSpc>
          <a:spcPct val="90000"/>
        </a:lnSpc>
        <a:spcBef>
          <a:spcPts val="600"/>
        </a:spcBef>
        <a:buClr>
          <a:srgbClr val="048962"/>
        </a:buClr>
        <a:buFont typeface="Arial" pitchFamily="34" charset="0"/>
        <a:buChar char="–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633600" indent="-137160" algn="l" defTabSz="914400" rtl="0" eaLnBrk="1" latinLnBrk="0" hangingPunct="1">
        <a:lnSpc>
          <a:spcPct val="90000"/>
        </a:lnSpc>
        <a:spcBef>
          <a:spcPts val="200"/>
        </a:spcBef>
        <a:buClr>
          <a:srgbClr val="048962"/>
        </a:buClr>
        <a:buFont typeface="Arial" pitchFamily="34" charset="0"/>
        <a:buChar char="-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70400" indent="-136800" algn="l" defTabSz="914400" rtl="0" eaLnBrk="1" latinLnBrk="0" hangingPunct="1">
        <a:lnSpc>
          <a:spcPct val="90000"/>
        </a:lnSpc>
        <a:spcBef>
          <a:spcPts val="100"/>
        </a:spcBef>
        <a:buClr>
          <a:srgbClr val="048962"/>
        </a:buClr>
        <a:buFont typeface="Arial" pitchFamily="34" charset="0"/>
        <a:buChar char="-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="" xmlns:p15="http://schemas.microsoft.com/office/powerpoint/2012/main">
        <p15:guide id="1" orient="horz" pos="1026" userDrawn="1">
          <p15:clr>
            <a:srgbClr val="FF9696"/>
          </p15:clr>
        </p15:guide>
        <p15:guide id="2" orient="horz" pos="1296" userDrawn="1">
          <p15:clr>
            <a:srgbClr val="FF9696"/>
          </p15:clr>
        </p15:guide>
        <p15:guide id="3" orient="horz" pos="1548" userDrawn="1">
          <p15:clr>
            <a:srgbClr val="FF9696"/>
          </p15:clr>
        </p15:guide>
        <p15:guide id="4" orient="horz" pos="3566" userDrawn="1">
          <p15:clr>
            <a:srgbClr val="FF9696"/>
          </p15:clr>
        </p15:guide>
        <p15:guide id="5" orient="horz" pos="3997" userDrawn="1">
          <p15:clr>
            <a:srgbClr val="FF9696"/>
          </p15:clr>
        </p15:guide>
        <p15:guide id="6" orient="horz" pos="4247" userDrawn="1">
          <p15:clr>
            <a:srgbClr val="FF9696"/>
          </p15:clr>
        </p15:guide>
        <p15:guide id="7" pos="154" userDrawn="1">
          <p15:clr>
            <a:srgbClr val="FF9696"/>
          </p15:clr>
        </p15:guide>
        <p15:guide id="8" pos="2652" userDrawn="1">
          <p15:clr>
            <a:srgbClr val="FF9696"/>
          </p15:clr>
        </p15:guide>
        <p15:guide id="9" pos="2881" userDrawn="1">
          <p15:clr>
            <a:srgbClr val="FF9696"/>
          </p15:clr>
        </p15:guide>
        <p15:guide id="10" pos="3107" userDrawn="1">
          <p15:clr>
            <a:srgbClr val="FF9696"/>
          </p15:clr>
        </p15:guide>
        <p15:guide id="11" pos="5602" userDrawn="1">
          <p15:clr>
            <a:srgbClr val="FF9696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C1E0FB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="" xmlns:a16="http://schemas.microsoft.com/office/drawing/2014/main" id="{79352844-F86E-4458-9FD4-DDA7B74ABAA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28190273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66" name="think-cell Slide" r:id="rId23" imgW="592" imgH="591" progId="TCLayout.ActiveDocument.1">
                  <p:embed/>
                </p:oleObj>
              </mc:Choice>
              <mc:Fallback>
                <p:oleObj name="think-cell Slide" r:id="rId23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="" xmlns:a16="http://schemas.microsoft.com/office/drawing/2014/main" id="{79352844-F86E-4458-9FD4-DDA7B74ABAA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Google Shape;6;p1"/>
          <p:cNvSpPr txBox="1">
            <a:spLocks noGrp="1"/>
          </p:cNvSpPr>
          <p:nvPr>
            <p:ph type="title"/>
          </p:nvPr>
        </p:nvSpPr>
        <p:spPr>
          <a:xfrm>
            <a:off x="311700" y="593367"/>
            <a:ext cx="8520600" cy="76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dvent Pro Medium"/>
              <a:buNone/>
              <a:defRPr sz="2800">
                <a:solidFill>
                  <a:schemeClr val="dk1"/>
                </a:solidFill>
                <a:latin typeface="Advent Pro Medium"/>
                <a:ea typeface="Advent Pro Medium"/>
                <a:cs typeface="Advent Pro Medium"/>
                <a:sym typeface="Advent Pro Medium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dvent Pro Medium"/>
              <a:buNone/>
              <a:defRPr sz="2800">
                <a:solidFill>
                  <a:schemeClr val="dk1"/>
                </a:solidFill>
                <a:latin typeface="Advent Pro Medium"/>
                <a:ea typeface="Advent Pro Medium"/>
                <a:cs typeface="Advent Pro Medium"/>
                <a:sym typeface="Advent Pro Medium"/>
              </a:defRPr>
            </a:lvl2pPr>
            <a:lvl3pPr lvl="2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dvent Pro Medium"/>
              <a:buNone/>
              <a:defRPr sz="2800">
                <a:solidFill>
                  <a:schemeClr val="dk1"/>
                </a:solidFill>
                <a:latin typeface="Advent Pro Medium"/>
                <a:ea typeface="Advent Pro Medium"/>
                <a:cs typeface="Advent Pro Medium"/>
                <a:sym typeface="Advent Pro Medium"/>
              </a:defRPr>
            </a:lvl3pPr>
            <a:lvl4pPr lvl="3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dvent Pro Medium"/>
              <a:buNone/>
              <a:defRPr sz="2800">
                <a:solidFill>
                  <a:schemeClr val="dk1"/>
                </a:solidFill>
                <a:latin typeface="Advent Pro Medium"/>
                <a:ea typeface="Advent Pro Medium"/>
                <a:cs typeface="Advent Pro Medium"/>
                <a:sym typeface="Advent Pro Medium"/>
              </a:defRPr>
            </a:lvl4pPr>
            <a:lvl5pPr lvl="4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dvent Pro Medium"/>
              <a:buNone/>
              <a:defRPr sz="2800">
                <a:solidFill>
                  <a:schemeClr val="dk1"/>
                </a:solidFill>
                <a:latin typeface="Advent Pro Medium"/>
                <a:ea typeface="Advent Pro Medium"/>
                <a:cs typeface="Advent Pro Medium"/>
                <a:sym typeface="Advent Pro Medium"/>
              </a:defRPr>
            </a:lvl5pPr>
            <a:lvl6pPr lvl="5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dvent Pro Medium"/>
              <a:buNone/>
              <a:defRPr sz="2800">
                <a:solidFill>
                  <a:schemeClr val="dk1"/>
                </a:solidFill>
                <a:latin typeface="Advent Pro Medium"/>
                <a:ea typeface="Advent Pro Medium"/>
                <a:cs typeface="Advent Pro Medium"/>
                <a:sym typeface="Advent Pro Medium"/>
              </a:defRPr>
            </a:lvl6pPr>
            <a:lvl7pPr lvl="6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dvent Pro Medium"/>
              <a:buNone/>
              <a:defRPr sz="2800">
                <a:solidFill>
                  <a:schemeClr val="dk1"/>
                </a:solidFill>
                <a:latin typeface="Advent Pro Medium"/>
                <a:ea typeface="Advent Pro Medium"/>
                <a:cs typeface="Advent Pro Medium"/>
                <a:sym typeface="Advent Pro Medium"/>
              </a:defRPr>
            </a:lvl7pPr>
            <a:lvl8pPr lvl="7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dvent Pro Medium"/>
              <a:buNone/>
              <a:defRPr sz="2800">
                <a:solidFill>
                  <a:schemeClr val="dk1"/>
                </a:solidFill>
                <a:latin typeface="Advent Pro Medium"/>
                <a:ea typeface="Advent Pro Medium"/>
                <a:cs typeface="Advent Pro Medium"/>
                <a:sym typeface="Advent Pro Medium"/>
              </a:defRPr>
            </a:lvl8pPr>
            <a:lvl9pPr lvl="8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dvent Pro Medium"/>
              <a:buNone/>
              <a:defRPr sz="2800">
                <a:solidFill>
                  <a:schemeClr val="dk1"/>
                </a:solidFill>
                <a:latin typeface="Advent Pro Medium"/>
                <a:ea typeface="Advent Pro Medium"/>
                <a:cs typeface="Advent Pro Medium"/>
                <a:sym typeface="Advent Pro Medium"/>
              </a:defRPr>
            </a:lvl9pPr>
          </a:lstStyle>
          <a:p>
            <a:endParaRPr/>
          </a:p>
        </p:txBody>
      </p:sp>
      <p:sp>
        <p:nvSpPr>
          <p:cNvPr id="7" name="Google Shape;7;p1"/>
          <p:cNvSpPr txBox="1">
            <a:spLocks noGrp="1"/>
          </p:cNvSpPr>
          <p:nvPr>
            <p:ph type="body" idx="1"/>
          </p:nvPr>
        </p:nvSpPr>
        <p:spPr>
          <a:xfrm>
            <a:off x="311700" y="1536633"/>
            <a:ext cx="8520600" cy="455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429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Muli"/>
              <a:buChar char="●"/>
              <a:defRPr sz="1800">
                <a:solidFill>
                  <a:schemeClr val="dk1"/>
                </a:solidFill>
                <a:latin typeface="Muli"/>
                <a:ea typeface="Muli"/>
                <a:cs typeface="Muli"/>
                <a:sym typeface="Muli"/>
              </a:defRPr>
            </a:lvl1pPr>
            <a:lvl2pPr marL="914400" lvl="1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Muli"/>
              <a:buChar char="○"/>
              <a:defRPr>
                <a:solidFill>
                  <a:schemeClr val="dk1"/>
                </a:solidFill>
                <a:latin typeface="Muli"/>
                <a:ea typeface="Muli"/>
                <a:cs typeface="Muli"/>
                <a:sym typeface="Muli"/>
              </a:defRPr>
            </a:lvl2pPr>
            <a:lvl3pPr marL="1371600" lvl="2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Muli"/>
              <a:buChar char="■"/>
              <a:defRPr>
                <a:solidFill>
                  <a:schemeClr val="dk1"/>
                </a:solidFill>
                <a:latin typeface="Muli"/>
                <a:ea typeface="Muli"/>
                <a:cs typeface="Muli"/>
                <a:sym typeface="Muli"/>
              </a:defRPr>
            </a:lvl3pPr>
            <a:lvl4pPr marL="1828800" lvl="3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Muli"/>
              <a:buChar char="●"/>
              <a:defRPr>
                <a:solidFill>
                  <a:schemeClr val="dk1"/>
                </a:solidFill>
                <a:latin typeface="Muli"/>
                <a:ea typeface="Muli"/>
                <a:cs typeface="Muli"/>
                <a:sym typeface="Muli"/>
              </a:defRPr>
            </a:lvl4pPr>
            <a:lvl5pPr marL="2286000" lvl="4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Muli"/>
              <a:buChar char="○"/>
              <a:defRPr>
                <a:solidFill>
                  <a:schemeClr val="dk1"/>
                </a:solidFill>
                <a:latin typeface="Muli"/>
                <a:ea typeface="Muli"/>
                <a:cs typeface="Muli"/>
                <a:sym typeface="Muli"/>
              </a:defRPr>
            </a:lvl5pPr>
            <a:lvl6pPr marL="2743200" lvl="5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Muli"/>
              <a:buChar char="■"/>
              <a:defRPr>
                <a:solidFill>
                  <a:schemeClr val="dk1"/>
                </a:solidFill>
                <a:latin typeface="Muli"/>
                <a:ea typeface="Muli"/>
                <a:cs typeface="Muli"/>
                <a:sym typeface="Muli"/>
              </a:defRPr>
            </a:lvl6pPr>
            <a:lvl7pPr marL="3200400" lvl="6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Muli"/>
              <a:buChar char="●"/>
              <a:defRPr>
                <a:solidFill>
                  <a:schemeClr val="dk1"/>
                </a:solidFill>
                <a:latin typeface="Muli"/>
                <a:ea typeface="Muli"/>
                <a:cs typeface="Muli"/>
                <a:sym typeface="Muli"/>
              </a:defRPr>
            </a:lvl7pPr>
            <a:lvl8pPr marL="3657600" lvl="7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Muli"/>
              <a:buChar char="○"/>
              <a:defRPr>
                <a:solidFill>
                  <a:schemeClr val="dk1"/>
                </a:solidFill>
                <a:latin typeface="Muli"/>
                <a:ea typeface="Muli"/>
                <a:cs typeface="Muli"/>
                <a:sym typeface="Muli"/>
              </a:defRPr>
            </a:lvl8pPr>
            <a:lvl9pPr marL="4114800" lvl="8" indent="-317500">
              <a:lnSpc>
                <a:spcPct val="115000"/>
              </a:lnSpc>
              <a:spcBef>
                <a:spcPts val="1600"/>
              </a:spcBef>
              <a:spcAft>
                <a:spcPts val="1600"/>
              </a:spcAft>
              <a:buClr>
                <a:schemeClr val="dk1"/>
              </a:buClr>
              <a:buSzPts val="1400"/>
              <a:buFont typeface="Muli"/>
              <a:buChar char="■"/>
              <a:defRPr>
                <a:solidFill>
                  <a:schemeClr val="dk1"/>
                </a:solidFill>
                <a:latin typeface="Muli"/>
                <a:ea typeface="Muli"/>
                <a:cs typeface="Muli"/>
                <a:sym typeface="Muli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679103991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4" r:id="rId10"/>
    <p:sldLayoutId id="2147483695" r:id="rId11"/>
    <p:sldLayoutId id="2147483696" r:id="rId12"/>
    <p:sldLayoutId id="2147483697" r:id="rId13"/>
    <p:sldLayoutId id="2147483698" r:id="rId14"/>
    <p:sldLayoutId id="2147483699" r:id="rId15"/>
    <p:sldLayoutId id="2147483700" r:id="rId16"/>
    <p:sldLayoutId id="2147483701" r:id="rId17"/>
    <p:sldLayoutId id="2147483702" r:id="rId18"/>
    <p:sldLayoutId id="2147483703" r:id="rId19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4" Type="http://schemas.openxmlformats.org/officeDocument/2006/relationships/notesSlide" Target="../notesSlides/notesSlide1.xml"/><Relationship Id="rId5" Type="http://schemas.openxmlformats.org/officeDocument/2006/relationships/oleObject" Target="../embeddings/oleObject6.bin"/><Relationship Id="rId6" Type="http://schemas.openxmlformats.org/officeDocument/2006/relationships/image" Target="../media/image4.emf"/><Relationship Id="rId7" Type="http://schemas.openxmlformats.org/officeDocument/2006/relationships/image" Target="../media/image2.png"/><Relationship Id="rId1" Type="http://schemas.openxmlformats.org/officeDocument/2006/relationships/vmlDrawing" Target="../drawings/vmlDrawing6.vml"/><Relationship Id="rId2" Type="http://schemas.openxmlformats.org/officeDocument/2006/relationships/tags" Target="../tags/tag10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26.xml"/><Relationship Id="rId4" Type="http://schemas.openxmlformats.org/officeDocument/2006/relationships/slideLayout" Target="../slideLayouts/slideLayout3.xml"/><Relationship Id="rId5" Type="http://schemas.openxmlformats.org/officeDocument/2006/relationships/notesSlide" Target="../notesSlides/notesSlide7.xml"/><Relationship Id="rId6" Type="http://schemas.openxmlformats.org/officeDocument/2006/relationships/oleObject" Target="../embeddings/oleObject15.bin"/><Relationship Id="rId7" Type="http://schemas.openxmlformats.org/officeDocument/2006/relationships/image" Target="../media/image4.emf"/><Relationship Id="rId8" Type="http://schemas.openxmlformats.org/officeDocument/2006/relationships/image" Target="../media/image11.png"/><Relationship Id="rId1" Type="http://schemas.openxmlformats.org/officeDocument/2006/relationships/vmlDrawing" Target="../drawings/vmlDrawing15.vml"/><Relationship Id="rId2" Type="http://schemas.openxmlformats.org/officeDocument/2006/relationships/tags" Target="../tags/tag25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4" Type="http://schemas.openxmlformats.org/officeDocument/2006/relationships/slideLayout" Target="../slideLayouts/slideLayout3.xml"/><Relationship Id="rId5" Type="http://schemas.openxmlformats.org/officeDocument/2006/relationships/notesSlide" Target="../notesSlides/notesSlide8.xml"/><Relationship Id="rId6" Type="http://schemas.openxmlformats.org/officeDocument/2006/relationships/oleObject" Target="../embeddings/oleObject16.bin"/><Relationship Id="rId7" Type="http://schemas.openxmlformats.org/officeDocument/2006/relationships/image" Target="../media/image4.emf"/><Relationship Id="rId8" Type="http://schemas.openxmlformats.org/officeDocument/2006/relationships/image" Target="../media/image12.png"/><Relationship Id="rId1" Type="http://schemas.openxmlformats.org/officeDocument/2006/relationships/vmlDrawing" Target="../drawings/vmlDrawing16.vml"/><Relationship Id="rId2" Type="http://schemas.openxmlformats.org/officeDocument/2006/relationships/tags" Target="../tags/tag2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4" Type="http://schemas.openxmlformats.org/officeDocument/2006/relationships/slideLayout" Target="../slideLayouts/slideLayout3.xml"/><Relationship Id="rId5" Type="http://schemas.openxmlformats.org/officeDocument/2006/relationships/notesSlide" Target="../notesSlides/notesSlide9.xml"/><Relationship Id="rId6" Type="http://schemas.openxmlformats.org/officeDocument/2006/relationships/oleObject" Target="../embeddings/oleObject17.bin"/><Relationship Id="rId7" Type="http://schemas.openxmlformats.org/officeDocument/2006/relationships/image" Target="../media/image4.emf"/><Relationship Id="rId8" Type="http://schemas.openxmlformats.org/officeDocument/2006/relationships/image" Target="../media/image13.png"/><Relationship Id="rId1" Type="http://schemas.openxmlformats.org/officeDocument/2006/relationships/vmlDrawing" Target="../drawings/vmlDrawing17.vml"/><Relationship Id="rId2" Type="http://schemas.openxmlformats.org/officeDocument/2006/relationships/tags" Target="../tags/tag29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tags" Target="../tags/tag32.xml"/><Relationship Id="rId4" Type="http://schemas.openxmlformats.org/officeDocument/2006/relationships/slideLayout" Target="../slideLayouts/slideLayout3.xml"/><Relationship Id="rId5" Type="http://schemas.openxmlformats.org/officeDocument/2006/relationships/notesSlide" Target="../notesSlides/notesSlide10.xml"/><Relationship Id="rId6" Type="http://schemas.openxmlformats.org/officeDocument/2006/relationships/oleObject" Target="../embeddings/oleObject18.bin"/><Relationship Id="rId7" Type="http://schemas.openxmlformats.org/officeDocument/2006/relationships/image" Target="../media/image4.emf"/><Relationship Id="rId8" Type="http://schemas.openxmlformats.org/officeDocument/2006/relationships/image" Target="../media/image14.png"/><Relationship Id="rId1" Type="http://schemas.openxmlformats.org/officeDocument/2006/relationships/vmlDrawing" Target="../drawings/vmlDrawing18.vml"/><Relationship Id="rId2" Type="http://schemas.openxmlformats.org/officeDocument/2006/relationships/tags" Target="../tags/tag31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tags" Target="../tags/tag34.xml"/><Relationship Id="rId4" Type="http://schemas.openxmlformats.org/officeDocument/2006/relationships/slideLayout" Target="../slideLayouts/slideLayout3.xml"/><Relationship Id="rId5" Type="http://schemas.openxmlformats.org/officeDocument/2006/relationships/notesSlide" Target="../notesSlides/notesSlide11.xml"/><Relationship Id="rId6" Type="http://schemas.openxmlformats.org/officeDocument/2006/relationships/oleObject" Target="../embeddings/oleObject19.bin"/><Relationship Id="rId7" Type="http://schemas.openxmlformats.org/officeDocument/2006/relationships/image" Target="../media/image4.emf"/><Relationship Id="rId8" Type="http://schemas.openxmlformats.org/officeDocument/2006/relationships/image" Target="../media/image15.png"/><Relationship Id="rId1" Type="http://schemas.openxmlformats.org/officeDocument/2006/relationships/vmlDrawing" Target="../drawings/vmlDrawing19.vml"/><Relationship Id="rId2" Type="http://schemas.openxmlformats.org/officeDocument/2006/relationships/tags" Target="../tags/tag3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4" Type="http://schemas.openxmlformats.org/officeDocument/2006/relationships/slideLayout" Target="../slideLayouts/slideLayout3.xml"/><Relationship Id="rId5" Type="http://schemas.openxmlformats.org/officeDocument/2006/relationships/notesSlide" Target="../notesSlides/notesSlide12.xml"/><Relationship Id="rId6" Type="http://schemas.openxmlformats.org/officeDocument/2006/relationships/oleObject" Target="../embeddings/oleObject20.bin"/><Relationship Id="rId7" Type="http://schemas.openxmlformats.org/officeDocument/2006/relationships/image" Target="../media/image4.emf"/><Relationship Id="rId8" Type="http://schemas.openxmlformats.org/officeDocument/2006/relationships/image" Target="../media/image16.png"/><Relationship Id="rId1" Type="http://schemas.openxmlformats.org/officeDocument/2006/relationships/vmlDrawing" Target="../drawings/vmlDrawing20.vml"/><Relationship Id="rId2" Type="http://schemas.openxmlformats.org/officeDocument/2006/relationships/tags" Target="../tags/tag35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tags" Target="../tags/tag38.xml"/><Relationship Id="rId4" Type="http://schemas.openxmlformats.org/officeDocument/2006/relationships/slideLayout" Target="../slideLayouts/slideLayout3.xml"/><Relationship Id="rId5" Type="http://schemas.openxmlformats.org/officeDocument/2006/relationships/notesSlide" Target="../notesSlides/notesSlide13.xml"/><Relationship Id="rId6" Type="http://schemas.openxmlformats.org/officeDocument/2006/relationships/oleObject" Target="../embeddings/oleObject21.bin"/><Relationship Id="rId7" Type="http://schemas.openxmlformats.org/officeDocument/2006/relationships/image" Target="../media/image4.emf"/><Relationship Id="rId8" Type="http://schemas.openxmlformats.org/officeDocument/2006/relationships/image" Target="../media/image17.png"/><Relationship Id="rId1" Type="http://schemas.openxmlformats.org/officeDocument/2006/relationships/vmlDrawing" Target="../drawings/vmlDrawing21.vml"/><Relationship Id="rId2" Type="http://schemas.openxmlformats.org/officeDocument/2006/relationships/tags" Target="../tags/tag37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tags" Target="../tags/tag40.xml"/><Relationship Id="rId4" Type="http://schemas.openxmlformats.org/officeDocument/2006/relationships/slideLayout" Target="../slideLayouts/slideLayout3.xml"/><Relationship Id="rId5" Type="http://schemas.openxmlformats.org/officeDocument/2006/relationships/notesSlide" Target="../notesSlides/notesSlide14.xml"/><Relationship Id="rId6" Type="http://schemas.openxmlformats.org/officeDocument/2006/relationships/oleObject" Target="../embeddings/oleObject22.bin"/><Relationship Id="rId7" Type="http://schemas.openxmlformats.org/officeDocument/2006/relationships/image" Target="../media/image4.emf"/><Relationship Id="rId8" Type="http://schemas.openxmlformats.org/officeDocument/2006/relationships/image" Target="../media/image18.png"/><Relationship Id="rId1" Type="http://schemas.openxmlformats.org/officeDocument/2006/relationships/vmlDrawing" Target="../drawings/vmlDrawing22.vml"/><Relationship Id="rId2" Type="http://schemas.openxmlformats.org/officeDocument/2006/relationships/tags" Target="../tags/tag39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4" Type="http://schemas.openxmlformats.org/officeDocument/2006/relationships/slideLayout" Target="../slideLayouts/slideLayout3.xml"/><Relationship Id="rId5" Type="http://schemas.openxmlformats.org/officeDocument/2006/relationships/notesSlide" Target="../notesSlides/notesSlide15.xml"/><Relationship Id="rId6" Type="http://schemas.openxmlformats.org/officeDocument/2006/relationships/oleObject" Target="../embeddings/oleObject23.bin"/><Relationship Id="rId7" Type="http://schemas.openxmlformats.org/officeDocument/2006/relationships/image" Target="../media/image4.emf"/><Relationship Id="rId8" Type="http://schemas.openxmlformats.org/officeDocument/2006/relationships/image" Target="../media/image19.png"/><Relationship Id="rId1" Type="http://schemas.openxmlformats.org/officeDocument/2006/relationships/vmlDrawing" Target="../drawings/vmlDrawing23.vml"/><Relationship Id="rId2" Type="http://schemas.openxmlformats.org/officeDocument/2006/relationships/tags" Target="../tags/tag41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tags" Target="../tags/tag44.xml"/><Relationship Id="rId4" Type="http://schemas.openxmlformats.org/officeDocument/2006/relationships/slideLayout" Target="../slideLayouts/slideLayout3.xml"/><Relationship Id="rId5" Type="http://schemas.openxmlformats.org/officeDocument/2006/relationships/notesSlide" Target="../notesSlides/notesSlide16.xml"/><Relationship Id="rId6" Type="http://schemas.openxmlformats.org/officeDocument/2006/relationships/oleObject" Target="../embeddings/oleObject24.bin"/><Relationship Id="rId7" Type="http://schemas.openxmlformats.org/officeDocument/2006/relationships/image" Target="../media/image4.emf"/><Relationship Id="rId1" Type="http://schemas.openxmlformats.org/officeDocument/2006/relationships/vmlDrawing" Target="../drawings/vmlDrawing24.vml"/><Relationship Id="rId2" Type="http://schemas.openxmlformats.org/officeDocument/2006/relationships/tags" Target="../tags/tag4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4" Type="http://schemas.openxmlformats.org/officeDocument/2006/relationships/slideLayout" Target="../slideLayouts/slideLayout3.xml"/><Relationship Id="rId5" Type="http://schemas.openxmlformats.org/officeDocument/2006/relationships/notesSlide" Target="../notesSlides/notesSlide2.xml"/><Relationship Id="rId6" Type="http://schemas.openxmlformats.org/officeDocument/2006/relationships/oleObject" Target="../embeddings/oleObject7.bin"/><Relationship Id="rId7" Type="http://schemas.openxmlformats.org/officeDocument/2006/relationships/image" Target="../media/image4.emf"/><Relationship Id="rId1" Type="http://schemas.openxmlformats.org/officeDocument/2006/relationships/vmlDrawing" Target="../drawings/vmlDrawing7.vml"/><Relationship Id="rId2" Type="http://schemas.openxmlformats.org/officeDocument/2006/relationships/tags" Target="../tags/tag1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tags" Target="../tags/tag46.xml"/><Relationship Id="rId4" Type="http://schemas.openxmlformats.org/officeDocument/2006/relationships/slideLayout" Target="../slideLayouts/slideLayout3.xml"/><Relationship Id="rId5" Type="http://schemas.openxmlformats.org/officeDocument/2006/relationships/oleObject" Target="../embeddings/oleObject25.bin"/><Relationship Id="rId6" Type="http://schemas.openxmlformats.org/officeDocument/2006/relationships/image" Target="../media/image4.emf"/><Relationship Id="rId7" Type="http://schemas.openxmlformats.org/officeDocument/2006/relationships/image" Target="../media/image20.png"/><Relationship Id="rId1" Type="http://schemas.openxmlformats.org/officeDocument/2006/relationships/vmlDrawing" Target="../drawings/vmlDrawing25.vml"/><Relationship Id="rId2" Type="http://schemas.openxmlformats.org/officeDocument/2006/relationships/tags" Target="../tags/tag45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tags" Target="../tags/tag48.xml"/><Relationship Id="rId4" Type="http://schemas.openxmlformats.org/officeDocument/2006/relationships/slideLayout" Target="../slideLayouts/slideLayout3.xml"/><Relationship Id="rId5" Type="http://schemas.openxmlformats.org/officeDocument/2006/relationships/oleObject" Target="../embeddings/oleObject26.bin"/><Relationship Id="rId6" Type="http://schemas.openxmlformats.org/officeDocument/2006/relationships/image" Target="../media/image4.emf"/><Relationship Id="rId1" Type="http://schemas.openxmlformats.org/officeDocument/2006/relationships/vmlDrawing" Target="../drawings/vmlDrawing26.vml"/><Relationship Id="rId2" Type="http://schemas.openxmlformats.org/officeDocument/2006/relationships/tags" Target="../tags/tag47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tags" Target="../tags/tag50.xml"/><Relationship Id="rId4" Type="http://schemas.openxmlformats.org/officeDocument/2006/relationships/slideLayout" Target="../slideLayouts/slideLayout3.xml"/><Relationship Id="rId5" Type="http://schemas.openxmlformats.org/officeDocument/2006/relationships/notesSlide" Target="../notesSlides/notesSlide17.xml"/><Relationship Id="rId6" Type="http://schemas.openxmlformats.org/officeDocument/2006/relationships/oleObject" Target="../embeddings/oleObject27.bin"/><Relationship Id="rId7" Type="http://schemas.openxmlformats.org/officeDocument/2006/relationships/image" Target="../media/image4.emf"/><Relationship Id="rId1" Type="http://schemas.openxmlformats.org/officeDocument/2006/relationships/vmlDrawing" Target="../drawings/vmlDrawing27.vml"/><Relationship Id="rId2" Type="http://schemas.openxmlformats.org/officeDocument/2006/relationships/tags" Target="../tags/tag49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tags" Target="../tags/tag52.xml"/><Relationship Id="rId4" Type="http://schemas.openxmlformats.org/officeDocument/2006/relationships/slideLayout" Target="../slideLayouts/slideLayout3.xml"/><Relationship Id="rId5" Type="http://schemas.openxmlformats.org/officeDocument/2006/relationships/notesSlide" Target="../notesSlides/notesSlide18.xml"/><Relationship Id="rId6" Type="http://schemas.openxmlformats.org/officeDocument/2006/relationships/oleObject" Target="../embeddings/oleObject28.bin"/><Relationship Id="rId7" Type="http://schemas.openxmlformats.org/officeDocument/2006/relationships/image" Target="../media/image4.emf"/><Relationship Id="rId8" Type="http://schemas.openxmlformats.org/officeDocument/2006/relationships/image" Target="../media/image21.png"/><Relationship Id="rId1" Type="http://schemas.openxmlformats.org/officeDocument/2006/relationships/vmlDrawing" Target="../drawings/vmlDrawing28.vml"/><Relationship Id="rId2" Type="http://schemas.openxmlformats.org/officeDocument/2006/relationships/tags" Target="../tags/tag51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tags" Target="../tags/tag54.xml"/><Relationship Id="rId4" Type="http://schemas.openxmlformats.org/officeDocument/2006/relationships/slideLayout" Target="../slideLayouts/slideLayout3.xml"/><Relationship Id="rId5" Type="http://schemas.openxmlformats.org/officeDocument/2006/relationships/notesSlide" Target="../notesSlides/notesSlide19.xml"/><Relationship Id="rId6" Type="http://schemas.openxmlformats.org/officeDocument/2006/relationships/oleObject" Target="../embeddings/oleObject29.bin"/><Relationship Id="rId7" Type="http://schemas.openxmlformats.org/officeDocument/2006/relationships/image" Target="../media/image4.emf"/><Relationship Id="rId8" Type="http://schemas.openxmlformats.org/officeDocument/2006/relationships/image" Target="../media/image22.png"/><Relationship Id="rId1" Type="http://schemas.openxmlformats.org/officeDocument/2006/relationships/vmlDrawing" Target="../drawings/vmlDrawing29.vml"/><Relationship Id="rId2" Type="http://schemas.openxmlformats.org/officeDocument/2006/relationships/tags" Target="../tags/tag53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tags" Target="../tags/tag56.xml"/><Relationship Id="rId4" Type="http://schemas.openxmlformats.org/officeDocument/2006/relationships/slideLayout" Target="../slideLayouts/slideLayout3.xml"/><Relationship Id="rId5" Type="http://schemas.openxmlformats.org/officeDocument/2006/relationships/oleObject" Target="../embeddings/oleObject30.bin"/><Relationship Id="rId6" Type="http://schemas.openxmlformats.org/officeDocument/2006/relationships/image" Target="../media/image4.emf"/><Relationship Id="rId7" Type="http://schemas.openxmlformats.org/officeDocument/2006/relationships/image" Target="../media/image23.png"/><Relationship Id="rId1" Type="http://schemas.openxmlformats.org/officeDocument/2006/relationships/vmlDrawing" Target="../drawings/vmlDrawing30.vml"/><Relationship Id="rId2" Type="http://schemas.openxmlformats.org/officeDocument/2006/relationships/tags" Target="../tags/tag55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tags" Target="../tags/tag58.xml"/><Relationship Id="rId4" Type="http://schemas.openxmlformats.org/officeDocument/2006/relationships/slideLayout" Target="../slideLayouts/slideLayout3.xml"/><Relationship Id="rId5" Type="http://schemas.openxmlformats.org/officeDocument/2006/relationships/oleObject" Target="../embeddings/oleObject31.bin"/><Relationship Id="rId6" Type="http://schemas.openxmlformats.org/officeDocument/2006/relationships/image" Target="../media/image4.emf"/><Relationship Id="rId7" Type="http://schemas.openxmlformats.org/officeDocument/2006/relationships/image" Target="../media/image24.png"/><Relationship Id="rId1" Type="http://schemas.openxmlformats.org/officeDocument/2006/relationships/vmlDrawing" Target="../drawings/vmlDrawing31.vml"/><Relationship Id="rId2" Type="http://schemas.openxmlformats.org/officeDocument/2006/relationships/tags" Target="../tags/tag57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tags" Target="../tags/tag60.xml"/><Relationship Id="rId4" Type="http://schemas.openxmlformats.org/officeDocument/2006/relationships/slideLayout" Target="../slideLayouts/slideLayout3.xml"/><Relationship Id="rId5" Type="http://schemas.openxmlformats.org/officeDocument/2006/relationships/oleObject" Target="../embeddings/oleObject32.bin"/><Relationship Id="rId6" Type="http://schemas.openxmlformats.org/officeDocument/2006/relationships/image" Target="../media/image4.emf"/><Relationship Id="rId7" Type="http://schemas.openxmlformats.org/officeDocument/2006/relationships/image" Target="../media/image25.png"/><Relationship Id="rId1" Type="http://schemas.openxmlformats.org/officeDocument/2006/relationships/vmlDrawing" Target="../drawings/vmlDrawing32.vml"/><Relationship Id="rId2" Type="http://schemas.openxmlformats.org/officeDocument/2006/relationships/tags" Target="../tags/tag59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tags" Target="../tags/tag62.xml"/><Relationship Id="rId4" Type="http://schemas.openxmlformats.org/officeDocument/2006/relationships/slideLayout" Target="../slideLayouts/slideLayout3.xml"/><Relationship Id="rId5" Type="http://schemas.openxmlformats.org/officeDocument/2006/relationships/oleObject" Target="../embeddings/oleObject33.bin"/><Relationship Id="rId6" Type="http://schemas.openxmlformats.org/officeDocument/2006/relationships/image" Target="../media/image4.emf"/><Relationship Id="rId7" Type="http://schemas.openxmlformats.org/officeDocument/2006/relationships/image" Target="../media/image26.png"/><Relationship Id="rId1" Type="http://schemas.openxmlformats.org/officeDocument/2006/relationships/vmlDrawing" Target="../drawings/vmlDrawing33.vml"/><Relationship Id="rId2" Type="http://schemas.openxmlformats.org/officeDocument/2006/relationships/tags" Target="../tags/tag61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tags" Target="../tags/tag64.xml"/><Relationship Id="rId4" Type="http://schemas.openxmlformats.org/officeDocument/2006/relationships/slideLayout" Target="../slideLayouts/slideLayout3.xml"/><Relationship Id="rId5" Type="http://schemas.openxmlformats.org/officeDocument/2006/relationships/oleObject" Target="../embeddings/oleObject34.bin"/><Relationship Id="rId6" Type="http://schemas.openxmlformats.org/officeDocument/2006/relationships/image" Target="../media/image4.emf"/><Relationship Id="rId7" Type="http://schemas.openxmlformats.org/officeDocument/2006/relationships/image" Target="../media/image27.png"/><Relationship Id="rId1" Type="http://schemas.openxmlformats.org/officeDocument/2006/relationships/vmlDrawing" Target="../drawings/vmlDrawing34.vml"/><Relationship Id="rId2" Type="http://schemas.openxmlformats.org/officeDocument/2006/relationships/tags" Target="../tags/tag6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4" Type="http://schemas.openxmlformats.org/officeDocument/2006/relationships/oleObject" Target="../embeddings/oleObject8.bin"/><Relationship Id="rId5" Type="http://schemas.openxmlformats.org/officeDocument/2006/relationships/image" Target="../media/image4.emf"/><Relationship Id="rId6" Type="http://schemas.openxmlformats.org/officeDocument/2006/relationships/image" Target="../media/image5.png"/><Relationship Id="rId1" Type="http://schemas.openxmlformats.org/officeDocument/2006/relationships/vmlDrawing" Target="../drawings/vmlDrawing8.vml"/><Relationship Id="rId2" Type="http://schemas.openxmlformats.org/officeDocument/2006/relationships/tags" Target="../tags/tag13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tags" Target="../tags/tag66.xml"/><Relationship Id="rId4" Type="http://schemas.openxmlformats.org/officeDocument/2006/relationships/slideLayout" Target="../slideLayouts/slideLayout3.xml"/><Relationship Id="rId5" Type="http://schemas.openxmlformats.org/officeDocument/2006/relationships/oleObject" Target="../embeddings/oleObject35.bin"/><Relationship Id="rId6" Type="http://schemas.openxmlformats.org/officeDocument/2006/relationships/image" Target="../media/image4.emf"/><Relationship Id="rId7" Type="http://schemas.openxmlformats.org/officeDocument/2006/relationships/image" Target="../media/image28.png"/><Relationship Id="rId8" Type="http://schemas.openxmlformats.org/officeDocument/2006/relationships/image" Target="../media/image29.png"/><Relationship Id="rId1" Type="http://schemas.openxmlformats.org/officeDocument/2006/relationships/vmlDrawing" Target="../drawings/vmlDrawing35.vml"/><Relationship Id="rId2" Type="http://schemas.openxmlformats.org/officeDocument/2006/relationships/tags" Target="../tags/tag65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tags" Target="../tags/tag68.xml"/><Relationship Id="rId4" Type="http://schemas.openxmlformats.org/officeDocument/2006/relationships/slideLayout" Target="../slideLayouts/slideLayout3.xml"/><Relationship Id="rId5" Type="http://schemas.openxmlformats.org/officeDocument/2006/relationships/oleObject" Target="../embeddings/oleObject36.bin"/><Relationship Id="rId6" Type="http://schemas.openxmlformats.org/officeDocument/2006/relationships/image" Target="../media/image4.emf"/><Relationship Id="rId7" Type="http://schemas.openxmlformats.org/officeDocument/2006/relationships/image" Target="../media/image30.png"/><Relationship Id="rId1" Type="http://schemas.openxmlformats.org/officeDocument/2006/relationships/vmlDrawing" Target="../drawings/vmlDrawing36.vml"/><Relationship Id="rId2" Type="http://schemas.openxmlformats.org/officeDocument/2006/relationships/tags" Target="../tags/tag67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tags" Target="../tags/tag70.xml"/><Relationship Id="rId4" Type="http://schemas.openxmlformats.org/officeDocument/2006/relationships/slideLayout" Target="../slideLayouts/slideLayout3.xml"/><Relationship Id="rId5" Type="http://schemas.openxmlformats.org/officeDocument/2006/relationships/oleObject" Target="../embeddings/oleObject37.bin"/><Relationship Id="rId6" Type="http://schemas.openxmlformats.org/officeDocument/2006/relationships/image" Target="../media/image4.emf"/><Relationship Id="rId1" Type="http://schemas.openxmlformats.org/officeDocument/2006/relationships/vmlDrawing" Target="../drawings/vmlDrawing37.vml"/><Relationship Id="rId2" Type="http://schemas.openxmlformats.org/officeDocument/2006/relationships/tags" Target="../tags/tag69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tags" Target="../tags/tag72.xml"/><Relationship Id="rId4" Type="http://schemas.openxmlformats.org/officeDocument/2006/relationships/slideLayout" Target="../slideLayouts/slideLayout3.xml"/><Relationship Id="rId5" Type="http://schemas.openxmlformats.org/officeDocument/2006/relationships/oleObject" Target="../embeddings/oleObject38.bin"/><Relationship Id="rId6" Type="http://schemas.openxmlformats.org/officeDocument/2006/relationships/image" Target="../media/image4.emf"/><Relationship Id="rId7" Type="http://schemas.openxmlformats.org/officeDocument/2006/relationships/image" Target="../media/image31.png"/><Relationship Id="rId1" Type="http://schemas.openxmlformats.org/officeDocument/2006/relationships/vmlDrawing" Target="../drawings/vmlDrawing38.vml"/><Relationship Id="rId2" Type="http://schemas.openxmlformats.org/officeDocument/2006/relationships/tags" Target="../tags/tag71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tags" Target="../tags/tag74.xml"/><Relationship Id="rId4" Type="http://schemas.openxmlformats.org/officeDocument/2006/relationships/slideLayout" Target="../slideLayouts/slideLayout3.xml"/><Relationship Id="rId5" Type="http://schemas.openxmlformats.org/officeDocument/2006/relationships/oleObject" Target="../embeddings/oleObject39.bin"/><Relationship Id="rId6" Type="http://schemas.openxmlformats.org/officeDocument/2006/relationships/image" Target="../media/image4.emf"/><Relationship Id="rId1" Type="http://schemas.openxmlformats.org/officeDocument/2006/relationships/vmlDrawing" Target="../drawings/vmlDrawing39.vml"/><Relationship Id="rId2" Type="http://schemas.openxmlformats.org/officeDocument/2006/relationships/tags" Target="../tags/tag73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tags" Target="../tags/tag76.xml"/><Relationship Id="rId4" Type="http://schemas.openxmlformats.org/officeDocument/2006/relationships/slideLayout" Target="../slideLayouts/slideLayout3.xml"/><Relationship Id="rId5" Type="http://schemas.openxmlformats.org/officeDocument/2006/relationships/oleObject" Target="../embeddings/oleObject40.bin"/><Relationship Id="rId6" Type="http://schemas.openxmlformats.org/officeDocument/2006/relationships/image" Target="../media/image4.emf"/><Relationship Id="rId7" Type="http://schemas.openxmlformats.org/officeDocument/2006/relationships/image" Target="../media/image32.png"/><Relationship Id="rId1" Type="http://schemas.openxmlformats.org/officeDocument/2006/relationships/vmlDrawing" Target="../drawings/vmlDrawing40.vml"/><Relationship Id="rId2" Type="http://schemas.openxmlformats.org/officeDocument/2006/relationships/tags" Target="../tags/tag75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tags" Target="../tags/tag78.xml"/><Relationship Id="rId4" Type="http://schemas.openxmlformats.org/officeDocument/2006/relationships/slideLayout" Target="../slideLayouts/slideLayout3.xml"/><Relationship Id="rId5" Type="http://schemas.openxmlformats.org/officeDocument/2006/relationships/oleObject" Target="../embeddings/oleObject41.bin"/><Relationship Id="rId6" Type="http://schemas.openxmlformats.org/officeDocument/2006/relationships/image" Target="../media/image4.emf"/><Relationship Id="rId7" Type="http://schemas.openxmlformats.org/officeDocument/2006/relationships/image" Target="../media/image33.png"/><Relationship Id="rId1" Type="http://schemas.openxmlformats.org/officeDocument/2006/relationships/vmlDrawing" Target="../drawings/vmlDrawing41.vml"/><Relationship Id="rId2" Type="http://schemas.openxmlformats.org/officeDocument/2006/relationships/tags" Target="../tags/tag77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tags" Target="../tags/tag80.xml"/><Relationship Id="rId4" Type="http://schemas.openxmlformats.org/officeDocument/2006/relationships/slideLayout" Target="../slideLayouts/slideLayout3.xml"/><Relationship Id="rId5" Type="http://schemas.openxmlformats.org/officeDocument/2006/relationships/oleObject" Target="../embeddings/oleObject42.bin"/><Relationship Id="rId6" Type="http://schemas.openxmlformats.org/officeDocument/2006/relationships/image" Target="../media/image4.emf"/><Relationship Id="rId7" Type="http://schemas.openxmlformats.org/officeDocument/2006/relationships/image" Target="../media/image34.png"/><Relationship Id="rId1" Type="http://schemas.openxmlformats.org/officeDocument/2006/relationships/vmlDrawing" Target="../drawings/vmlDrawing42.vml"/><Relationship Id="rId2" Type="http://schemas.openxmlformats.org/officeDocument/2006/relationships/tags" Target="../tags/tag79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tags" Target="../tags/tag82.xml"/><Relationship Id="rId4" Type="http://schemas.openxmlformats.org/officeDocument/2006/relationships/slideLayout" Target="../slideLayouts/slideLayout3.xml"/><Relationship Id="rId5" Type="http://schemas.openxmlformats.org/officeDocument/2006/relationships/oleObject" Target="../embeddings/oleObject43.bin"/><Relationship Id="rId6" Type="http://schemas.openxmlformats.org/officeDocument/2006/relationships/image" Target="../media/image4.emf"/><Relationship Id="rId7" Type="http://schemas.openxmlformats.org/officeDocument/2006/relationships/image" Target="../media/image35.png"/><Relationship Id="rId1" Type="http://schemas.openxmlformats.org/officeDocument/2006/relationships/vmlDrawing" Target="../drawings/vmlDrawing43.vml"/><Relationship Id="rId2" Type="http://schemas.openxmlformats.org/officeDocument/2006/relationships/tags" Target="../tags/tag81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tags" Target="../tags/tag84.xml"/><Relationship Id="rId4" Type="http://schemas.openxmlformats.org/officeDocument/2006/relationships/slideLayout" Target="../slideLayouts/slideLayout3.xml"/><Relationship Id="rId5" Type="http://schemas.openxmlformats.org/officeDocument/2006/relationships/oleObject" Target="../embeddings/oleObject44.bin"/><Relationship Id="rId6" Type="http://schemas.openxmlformats.org/officeDocument/2006/relationships/image" Target="../media/image4.emf"/><Relationship Id="rId1" Type="http://schemas.openxmlformats.org/officeDocument/2006/relationships/vmlDrawing" Target="../drawings/vmlDrawing44.vml"/><Relationship Id="rId2" Type="http://schemas.openxmlformats.org/officeDocument/2006/relationships/tags" Target="../tags/tag8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4" Type="http://schemas.openxmlformats.org/officeDocument/2006/relationships/slideLayout" Target="../slideLayouts/slideLayout3.xml"/><Relationship Id="rId5" Type="http://schemas.openxmlformats.org/officeDocument/2006/relationships/oleObject" Target="../embeddings/oleObject9.bin"/><Relationship Id="rId6" Type="http://schemas.openxmlformats.org/officeDocument/2006/relationships/image" Target="../media/image4.emf"/><Relationship Id="rId7" Type="http://schemas.openxmlformats.org/officeDocument/2006/relationships/image" Target="../media/image6.png"/><Relationship Id="rId8" Type="http://schemas.openxmlformats.org/officeDocument/2006/relationships/image" Target="../media/image7.svg"/><Relationship Id="rId9" Type="http://schemas.openxmlformats.org/officeDocument/2006/relationships/image" Target="../media/image7.png"/><Relationship Id="rId10" Type="http://schemas.openxmlformats.org/officeDocument/2006/relationships/image" Target="../media/image9.svg"/><Relationship Id="rId1" Type="http://schemas.openxmlformats.org/officeDocument/2006/relationships/vmlDrawing" Target="../drawings/vmlDrawing9.vml"/><Relationship Id="rId2" Type="http://schemas.openxmlformats.org/officeDocument/2006/relationships/tags" Target="../tags/tag14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tags" Target="../tags/tag86.xml"/><Relationship Id="rId4" Type="http://schemas.openxmlformats.org/officeDocument/2006/relationships/slideLayout" Target="../slideLayouts/slideLayout3.xml"/><Relationship Id="rId5" Type="http://schemas.openxmlformats.org/officeDocument/2006/relationships/oleObject" Target="../embeddings/oleObject45.bin"/><Relationship Id="rId6" Type="http://schemas.openxmlformats.org/officeDocument/2006/relationships/image" Target="../media/image4.emf"/><Relationship Id="rId7" Type="http://schemas.openxmlformats.org/officeDocument/2006/relationships/image" Target="../media/image36.png"/><Relationship Id="rId1" Type="http://schemas.openxmlformats.org/officeDocument/2006/relationships/vmlDrawing" Target="../drawings/vmlDrawing45.vml"/><Relationship Id="rId2" Type="http://schemas.openxmlformats.org/officeDocument/2006/relationships/tags" Target="../tags/tag85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tags" Target="../tags/tag88.xml"/><Relationship Id="rId4" Type="http://schemas.openxmlformats.org/officeDocument/2006/relationships/slideLayout" Target="../slideLayouts/slideLayout3.xml"/><Relationship Id="rId5" Type="http://schemas.openxmlformats.org/officeDocument/2006/relationships/oleObject" Target="../embeddings/oleObject46.bin"/><Relationship Id="rId6" Type="http://schemas.openxmlformats.org/officeDocument/2006/relationships/image" Target="../media/image4.emf"/><Relationship Id="rId7" Type="http://schemas.openxmlformats.org/officeDocument/2006/relationships/image" Target="../media/image37.png"/><Relationship Id="rId1" Type="http://schemas.openxmlformats.org/officeDocument/2006/relationships/vmlDrawing" Target="../drawings/vmlDrawing46.vml"/><Relationship Id="rId2" Type="http://schemas.openxmlformats.org/officeDocument/2006/relationships/tags" Target="../tags/tag87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tags" Target="../tags/tag90.xml"/><Relationship Id="rId4" Type="http://schemas.openxmlformats.org/officeDocument/2006/relationships/slideLayout" Target="../slideLayouts/slideLayout3.xml"/><Relationship Id="rId5" Type="http://schemas.openxmlformats.org/officeDocument/2006/relationships/oleObject" Target="../embeddings/oleObject47.bin"/><Relationship Id="rId6" Type="http://schemas.openxmlformats.org/officeDocument/2006/relationships/image" Target="../media/image4.emf"/><Relationship Id="rId7" Type="http://schemas.openxmlformats.org/officeDocument/2006/relationships/image" Target="../media/image38.png"/><Relationship Id="rId8" Type="http://schemas.openxmlformats.org/officeDocument/2006/relationships/image" Target="../media/image39.png"/><Relationship Id="rId1" Type="http://schemas.openxmlformats.org/officeDocument/2006/relationships/vmlDrawing" Target="../drawings/vmlDrawing47.vml"/><Relationship Id="rId2" Type="http://schemas.openxmlformats.org/officeDocument/2006/relationships/tags" Target="../tags/tag89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tags" Target="../tags/tag92.xml"/><Relationship Id="rId4" Type="http://schemas.openxmlformats.org/officeDocument/2006/relationships/slideLayout" Target="../slideLayouts/slideLayout3.xml"/><Relationship Id="rId5" Type="http://schemas.openxmlformats.org/officeDocument/2006/relationships/oleObject" Target="../embeddings/oleObject48.bin"/><Relationship Id="rId6" Type="http://schemas.openxmlformats.org/officeDocument/2006/relationships/image" Target="../media/image4.emf"/><Relationship Id="rId1" Type="http://schemas.openxmlformats.org/officeDocument/2006/relationships/vmlDrawing" Target="../drawings/vmlDrawing48.vml"/><Relationship Id="rId2" Type="http://schemas.openxmlformats.org/officeDocument/2006/relationships/tags" Target="../tags/tag91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tags" Target="../tags/tag94.xml"/><Relationship Id="rId4" Type="http://schemas.openxmlformats.org/officeDocument/2006/relationships/slideLayout" Target="../slideLayouts/slideLayout3.xml"/><Relationship Id="rId5" Type="http://schemas.openxmlformats.org/officeDocument/2006/relationships/oleObject" Target="../embeddings/oleObject49.bin"/><Relationship Id="rId6" Type="http://schemas.openxmlformats.org/officeDocument/2006/relationships/image" Target="../media/image4.emf"/><Relationship Id="rId1" Type="http://schemas.openxmlformats.org/officeDocument/2006/relationships/vmlDrawing" Target="../drawings/vmlDrawing49.vml"/><Relationship Id="rId2" Type="http://schemas.openxmlformats.org/officeDocument/2006/relationships/tags" Target="../tags/tag93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tags" Target="../tags/tag96.xml"/><Relationship Id="rId4" Type="http://schemas.openxmlformats.org/officeDocument/2006/relationships/slideLayout" Target="../slideLayouts/slideLayout3.xml"/><Relationship Id="rId5" Type="http://schemas.openxmlformats.org/officeDocument/2006/relationships/oleObject" Target="../embeddings/oleObject50.bin"/><Relationship Id="rId6" Type="http://schemas.openxmlformats.org/officeDocument/2006/relationships/image" Target="../media/image4.emf"/><Relationship Id="rId1" Type="http://schemas.openxmlformats.org/officeDocument/2006/relationships/vmlDrawing" Target="../drawings/vmlDrawing50.vml"/><Relationship Id="rId2" Type="http://schemas.openxmlformats.org/officeDocument/2006/relationships/tags" Target="../tags/tag95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tags" Target="../tags/tag98.xml"/><Relationship Id="rId4" Type="http://schemas.openxmlformats.org/officeDocument/2006/relationships/slideLayout" Target="../slideLayouts/slideLayout3.xml"/><Relationship Id="rId5" Type="http://schemas.openxmlformats.org/officeDocument/2006/relationships/oleObject" Target="../embeddings/oleObject51.bin"/><Relationship Id="rId6" Type="http://schemas.openxmlformats.org/officeDocument/2006/relationships/image" Target="../media/image4.emf"/><Relationship Id="rId1" Type="http://schemas.openxmlformats.org/officeDocument/2006/relationships/vmlDrawing" Target="../drawings/vmlDrawing51.vml"/><Relationship Id="rId2" Type="http://schemas.openxmlformats.org/officeDocument/2006/relationships/tags" Target="../tags/tag9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4" Type="http://schemas.openxmlformats.org/officeDocument/2006/relationships/slideLayout" Target="../slideLayouts/slideLayout3.xml"/><Relationship Id="rId5" Type="http://schemas.openxmlformats.org/officeDocument/2006/relationships/notesSlide" Target="../notesSlides/notesSlide3.xml"/><Relationship Id="rId6" Type="http://schemas.openxmlformats.org/officeDocument/2006/relationships/oleObject" Target="../embeddings/oleObject10.bin"/><Relationship Id="rId7" Type="http://schemas.openxmlformats.org/officeDocument/2006/relationships/image" Target="../media/image4.emf"/><Relationship Id="rId8" Type="http://schemas.openxmlformats.org/officeDocument/2006/relationships/image" Target="../media/image8.png"/><Relationship Id="rId9" Type="http://schemas.openxmlformats.org/officeDocument/2006/relationships/image" Target="../media/image11.svg"/><Relationship Id="rId10" Type="http://schemas.openxmlformats.org/officeDocument/2006/relationships/image" Target="../media/image7.png"/><Relationship Id="rId11" Type="http://schemas.openxmlformats.org/officeDocument/2006/relationships/image" Target="../media/image9.svg"/><Relationship Id="rId1" Type="http://schemas.openxmlformats.org/officeDocument/2006/relationships/vmlDrawing" Target="../drawings/vmlDrawing10.vml"/><Relationship Id="rId2" Type="http://schemas.openxmlformats.org/officeDocument/2006/relationships/tags" Target="../tags/tag1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4" Type="http://schemas.openxmlformats.org/officeDocument/2006/relationships/slideLayout" Target="../slideLayouts/slideLayout3.xml"/><Relationship Id="rId5" Type="http://schemas.openxmlformats.org/officeDocument/2006/relationships/notesSlide" Target="../notesSlides/notesSlide4.xml"/><Relationship Id="rId6" Type="http://schemas.openxmlformats.org/officeDocument/2006/relationships/oleObject" Target="../embeddings/oleObject11.bin"/><Relationship Id="rId7" Type="http://schemas.openxmlformats.org/officeDocument/2006/relationships/image" Target="../media/image4.emf"/><Relationship Id="rId1" Type="http://schemas.openxmlformats.org/officeDocument/2006/relationships/vmlDrawing" Target="../drawings/vmlDrawing11.vml"/><Relationship Id="rId2" Type="http://schemas.openxmlformats.org/officeDocument/2006/relationships/tags" Target="../tags/tag18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4" Type="http://schemas.openxmlformats.org/officeDocument/2006/relationships/oleObject" Target="../embeddings/oleObject12.bin"/><Relationship Id="rId5" Type="http://schemas.openxmlformats.org/officeDocument/2006/relationships/image" Target="../media/image4.emf"/><Relationship Id="rId1" Type="http://schemas.openxmlformats.org/officeDocument/2006/relationships/vmlDrawing" Target="../drawings/vmlDrawing12.vml"/><Relationship Id="rId2" Type="http://schemas.openxmlformats.org/officeDocument/2006/relationships/tags" Target="../tags/tag20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4" Type="http://schemas.openxmlformats.org/officeDocument/2006/relationships/slideLayout" Target="../slideLayouts/slideLayout3.xml"/><Relationship Id="rId5" Type="http://schemas.openxmlformats.org/officeDocument/2006/relationships/notesSlide" Target="../notesSlides/notesSlide5.xml"/><Relationship Id="rId6" Type="http://schemas.openxmlformats.org/officeDocument/2006/relationships/oleObject" Target="../embeddings/oleObject13.bin"/><Relationship Id="rId7" Type="http://schemas.openxmlformats.org/officeDocument/2006/relationships/image" Target="../media/image4.emf"/><Relationship Id="rId8" Type="http://schemas.openxmlformats.org/officeDocument/2006/relationships/image" Target="../media/image9.png"/><Relationship Id="rId9" Type="http://schemas.openxmlformats.org/officeDocument/2006/relationships/image" Target="../media/image10.png"/><Relationship Id="rId10" Type="http://schemas.openxmlformats.org/officeDocument/2006/relationships/hyperlink" Target="https://www.kaggle.com/teejmahal20/airline-passenger-satisfaction" TargetMode="External"/><Relationship Id="rId1" Type="http://schemas.openxmlformats.org/officeDocument/2006/relationships/vmlDrawing" Target="../drawings/vmlDrawing13.vml"/><Relationship Id="rId2" Type="http://schemas.openxmlformats.org/officeDocument/2006/relationships/tags" Target="../tags/tag2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4" Type="http://schemas.openxmlformats.org/officeDocument/2006/relationships/slideLayout" Target="../slideLayouts/slideLayout3.xml"/><Relationship Id="rId5" Type="http://schemas.openxmlformats.org/officeDocument/2006/relationships/notesSlide" Target="../notesSlides/notesSlide6.xml"/><Relationship Id="rId6" Type="http://schemas.openxmlformats.org/officeDocument/2006/relationships/oleObject" Target="../embeddings/oleObject14.bin"/><Relationship Id="rId7" Type="http://schemas.openxmlformats.org/officeDocument/2006/relationships/image" Target="../media/image4.emf"/><Relationship Id="rId1" Type="http://schemas.openxmlformats.org/officeDocument/2006/relationships/vmlDrawing" Target="../drawings/vmlDrawing14.vml"/><Relationship Id="rId2" Type="http://schemas.openxmlformats.org/officeDocument/2006/relationships/tags" Target="../tags/tag2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A480D513-982A-49FB-8D90-8DEB9884830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850888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90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="" xmlns:a16="http://schemas.microsoft.com/office/drawing/2014/main" id="{A480D513-982A-49FB-8D90-8DEB988483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9" name="Google Shape;119;p24"/>
          <p:cNvSpPr/>
          <p:nvPr/>
        </p:nvSpPr>
        <p:spPr>
          <a:xfrm>
            <a:off x="0" y="2129879"/>
            <a:ext cx="6432154" cy="4728080"/>
          </a:xfrm>
          <a:custGeom>
            <a:avLst/>
            <a:gdLst/>
            <a:ahLst/>
            <a:cxnLst/>
            <a:rect l="l" t="t" r="r" b="b"/>
            <a:pathLst>
              <a:path w="189042" h="138959" extrusionOk="0">
                <a:moveTo>
                  <a:pt x="35789" y="0"/>
                </a:moveTo>
                <a:cubicBezTo>
                  <a:pt x="34514" y="0"/>
                  <a:pt x="33226" y="110"/>
                  <a:pt x="31938" y="335"/>
                </a:cubicBezTo>
                <a:cubicBezTo>
                  <a:pt x="22509" y="1976"/>
                  <a:pt x="15166" y="9453"/>
                  <a:pt x="13704" y="18927"/>
                </a:cubicBezTo>
                <a:cubicBezTo>
                  <a:pt x="13615" y="18916"/>
                  <a:pt x="13536" y="18916"/>
                  <a:pt x="13447" y="18916"/>
                </a:cubicBezTo>
                <a:cubicBezTo>
                  <a:pt x="6015" y="18916"/>
                  <a:pt x="0" y="24942"/>
                  <a:pt x="0" y="32363"/>
                </a:cubicBezTo>
                <a:lnTo>
                  <a:pt x="0" y="138958"/>
                </a:lnTo>
                <a:lnTo>
                  <a:pt x="189042" y="138958"/>
                </a:lnTo>
                <a:lnTo>
                  <a:pt x="189042" y="99074"/>
                </a:lnTo>
                <a:cubicBezTo>
                  <a:pt x="189042" y="91642"/>
                  <a:pt x="183027" y="85627"/>
                  <a:pt x="175595" y="85627"/>
                </a:cubicBezTo>
                <a:cubicBezTo>
                  <a:pt x="175438" y="85627"/>
                  <a:pt x="175282" y="85638"/>
                  <a:pt x="175115" y="85638"/>
                </a:cubicBezTo>
                <a:cubicBezTo>
                  <a:pt x="176766" y="78251"/>
                  <a:pt x="174099" y="70562"/>
                  <a:pt x="168229" y="65786"/>
                </a:cubicBezTo>
                <a:cubicBezTo>
                  <a:pt x="167917" y="65529"/>
                  <a:pt x="167604" y="65283"/>
                  <a:pt x="167281" y="65060"/>
                </a:cubicBezTo>
                <a:cubicBezTo>
                  <a:pt x="167136" y="64949"/>
                  <a:pt x="166980" y="64837"/>
                  <a:pt x="166823" y="64737"/>
                </a:cubicBezTo>
                <a:cubicBezTo>
                  <a:pt x="164312" y="63029"/>
                  <a:pt x="161444" y="61924"/>
                  <a:pt x="158431" y="61511"/>
                </a:cubicBezTo>
                <a:cubicBezTo>
                  <a:pt x="158052" y="61456"/>
                  <a:pt x="157661" y="61411"/>
                  <a:pt x="157271" y="61378"/>
                </a:cubicBezTo>
                <a:cubicBezTo>
                  <a:pt x="156735" y="61333"/>
                  <a:pt x="156188" y="61311"/>
                  <a:pt x="155641" y="61311"/>
                </a:cubicBezTo>
                <a:cubicBezTo>
                  <a:pt x="154816" y="61311"/>
                  <a:pt x="154001" y="61355"/>
                  <a:pt x="153198" y="61467"/>
                </a:cubicBezTo>
                <a:cubicBezTo>
                  <a:pt x="153097" y="61467"/>
                  <a:pt x="153008" y="61478"/>
                  <a:pt x="152907" y="61500"/>
                </a:cubicBezTo>
                <a:cubicBezTo>
                  <a:pt x="152494" y="58967"/>
                  <a:pt x="151658" y="56534"/>
                  <a:pt x="150408" y="54302"/>
                </a:cubicBezTo>
                <a:cubicBezTo>
                  <a:pt x="150318" y="54124"/>
                  <a:pt x="150229" y="53956"/>
                  <a:pt x="150129" y="53789"/>
                </a:cubicBezTo>
                <a:cubicBezTo>
                  <a:pt x="150073" y="53689"/>
                  <a:pt x="150017" y="53599"/>
                  <a:pt x="149961" y="53510"/>
                </a:cubicBezTo>
                <a:cubicBezTo>
                  <a:pt x="149861" y="53365"/>
                  <a:pt x="149772" y="53209"/>
                  <a:pt x="149682" y="53075"/>
                </a:cubicBezTo>
                <a:cubicBezTo>
                  <a:pt x="149649" y="53019"/>
                  <a:pt x="149615" y="52974"/>
                  <a:pt x="149582" y="52919"/>
                </a:cubicBezTo>
                <a:cubicBezTo>
                  <a:pt x="148845" y="51780"/>
                  <a:pt x="148008" y="50720"/>
                  <a:pt x="147071" y="49738"/>
                </a:cubicBezTo>
                <a:cubicBezTo>
                  <a:pt x="147049" y="49705"/>
                  <a:pt x="147015" y="49671"/>
                  <a:pt x="146982" y="49638"/>
                </a:cubicBezTo>
                <a:cubicBezTo>
                  <a:pt x="142602" y="45071"/>
                  <a:pt x="136737" y="42763"/>
                  <a:pt x="130859" y="42763"/>
                </a:cubicBezTo>
                <a:cubicBezTo>
                  <a:pt x="125489" y="42763"/>
                  <a:pt x="120108" y="44689"/>
                  <a:pt x="115836" y="48578"/>
                </a:cubicBezTo>
                <a:cubicBezTo>
                  <a:pt x="115110" y="45475"/>
                  <a:pt x="113302" y="42730"/>
                  <a:pt x="110747" y="40844"/>
                </a:cubicBezTo>
                <a:cubicBezTo>
                  <a:pt x="113012" y="30176"/>
                  <a:pt x="108348" y="19239"/>
                  <a:pt x="99096" y="13492"/>
                </a:cubicBezTo>
                <a:cubicBezTo>
                  <a:pt x="94896" y="10878"/>
                  <a:pt x="90156" y="9586"/>
                  <a:pt x="85432" y="9586"/>
                </a:cubicBezTo>
                <a:cubicBezTo>
                  <a:pt x="79751" y="9586"/>
                  <a:pt x="74091" y="11453"/>
                  <a:pt x="69412" y="15133"/>
                </a:cubicBezTo>
                <a:cubicBezTo>
                  <a:pt x="66171" y="12720"/>
                  <a:pt x="62254" y="11440"/>
                  <a:pt x="58265" y="11440"/>
                </a:cubicBezTo>
                <a:cubicBezTo>
                  <a:pt x="57310" y="11440"/>
                  <a:pt x="56351" y="11513"/>
                  <a:pt x="55396" y="11662"/>
                </a:cubicBezTo>
                <a:cubicBezTo>
                  <a:pt x="51444" y="4395"/>
                  <a:pt x="43864" y="0"/>
                  <a:pt x="35789" y="0"/>
                </a:cubicBezTo>
                <a:close/>
              </a:path>
            </a:pathLst>
          </a:custGeom>
          <a:solidFill>
            <a:srgbClr val="F49968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>
              <a:buClr>
                <a:srgbClr val="000000"/>
              </a:buClr>
            </a:pPr>
            <a:endParaRPr sz="1400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20" name="Google Shape;120;p24"/>
          <p:cNvSpPr/>
          <p:nvPr/>
        </p:nvSpPr>
        <p:spPr>
          <a:xfrm>
            <a:off x="976151" y="2578094"/>
            <a:ext cx="8146992" cy="4279926"/>
          </a:xfrm>
          <a:custGeom>
            <a:avLst/>
            <a:gdLst/>
            <a:ahLst/>
            <a:cxnLst/>
            <a:rect l="l" t="t" r="r" b="b"/>
            <a:pathLst>
              <a:path w="237487" h="124761" extrusionOk="0">
                <a:moveTo>
                  <a:pt x="212801" y="0"/>
                </a:moveTo>
                <a:cubicBezTo>
                  <a:pt x="201689" y="0"/>
                  <a:pt x="191769" y="7504"/>
                  <a:pt x="188920" y="18511"/>
                </a:cubicBezTo>
                <a:cubicBezTo>
                  <a:pt x="188663" y="18489"/>
                  <a:pt x="188407" y="18489"/>
                  <a:pt x="188150" y="18489"/>
                </a:cubicBezTo>
                <a:cubicBezTo>
                  <a:pt x="183463" y="18489"/>
                  <a:pt x="179211" y="21178"/>
                  <a:pt x="177203" y="25407"/>
                </a:cubicBezTo>
                <a:cubicBezTo>
                  <a:pt x="175194" y="29626"/>
                  <a:pt x="175785" y="34636"/>
                  <a:pt x="178743" y="38263"/>
                </a:cubicBezTo>
                <a:cubicBezTo>
                  <a:pt x="176165" y="38297"/>
                  <a:pt x="173609" y="38743"/>
                  <a:pt x="171176" y="39602"/>
                </a:cubicBezTo>
                <a:cubicBezTo>
                  <a:pt x="166242" y="34340"/>
                  <a:pt x="159557" y="31666"/>
                  <a:pt x="152849" y="31666"/>
                </a:cubicBezTo>
                <a:cubicBezTo>
                  <a:pt x="146982" y="31666"/>
                  <a:pt x="141096" y="33712"/>
                  <a:pt x="136348" y="37861"/>
                </a:cubicBezTo>
                <a:cubicBezTo>
                  <a:pt x="133894" y="36745"/>
                  <a:pt x="131310" y="36212"/>
                  <a:pt x="128760" y="36212"/>
                </a:cubicBezTo>
                <a:cubicBezTo>
                  <a:pt x="122542" y="36212"/>
                  <a:pt x="116526" y="39381"/>
                  <a:pt x="113091" y="44992"/>
                </a:cubicBezTo>
                <a:cubicBezTo>
                  <a:pt x="108921" y="39724"/>
                  <a:pt x="102676" y="36864"/>
                  <a:pt x="96283" y="36864"/>
                </a:cubicBezTo>
                <a:cubicBezTo>
                  <a:pt x="93251" y="36864"/>
                  <a:pt x="90185" y="37508"/>
                  <a:pt x="87291" y="38843"/>
                </a:cubicBezTo>
                <a:cubicBezTo>
                  <a:pt x="78307" y="42995"/>
                  <a:pt x="73330" y="52759"/>
                  <a:pt x="75261" y="62468"/>
                </a:cubicBezTo>
                <a:cubicBezTo>
                  <a:pt x="69915" y="62825"/>
                  <a:pt x="64916" y="65202"/>
                  <a:pt x="61289" y="69130"/>
                </a:cubicBezTo>
                <a:cubicBezTo>
                  <a:pt x="60340" y="69610"/>
                  <a:pt x="59425" y="70146"/>
                  <a:pt x="58544" y="70737"/>
                </a:cubicBezTo>
                <a:cubicBezTo>
                  <a:pt x="55743" y="68629"/>
                  <a:pt x="52371" y="67531"/>
                  <a:pt x="48958" y="67531"/>
                </a:cubicBezTo>
                <a:cubicBezTo>
                  <a:pt x="47257" y="67531"/>
                  <a:pt x="45547" y="67804"/>
                  <a:pt x="43891" y="68360"/>
                </a:cubicBezTo>
                <a:cubicBezTo>
                  <a:pt x="38914" y="70045"/>
                  <a:pt x="35086" y="74074"/>
                  <a:pt x="33669" y="79129"/>
                </a:cubicBezTo>
                <a:cubicBezTo>
                  <a:pt x="25355" y="80513"/>
                  <a:pt x="18570" y="86517"/>
                  <a:pt x="16160" y="94585"/>
                </a:cubicBezTo>
                <a:cubicBezTo>
                  <a:pt x="15859" y="94574"/>
                  <a:pt x="15557" y="94563"/>
                  <a:pt x="15256" y="94563"/>
                </a:cubicBezTo>
                <a:cubicBezTo>
                  <a:pt x="15208" y="94562"/>
                  <a:pt x="15160" y="94562"/>
                  <a:pt x="15112" y="94562"/>
                </a:cubicBezTo>
                <a:cubicBezTo>
                  <a:pt x="6775" y="94562"/>
                  <a:pt x="1" y="101306"/>
                  <a:pt x="1" y="109661"/>
                </a:cubicBezTo>
                <a:cubicBezTo>
                  <a:pt x="1" y="118006"/>
                  <a:pt x="6775" y="124761"/>
                  <a:pt x="15112" y="124761"/>
                </a:cubicBezTo>
                <a:cubicBezTo>
                  <a:pt x="15160" y="124761"/>
                  <a:pt x="15208" y="124761"/>
                  <a:pt x="15256" y="124760"/>
                </a:cubicBezTo>
                <a:lnTo>
                  <a:pt x="237486" y="124760"/>
                </a:lnTo>
                <a:lnTo>
                  <a:pt x="237486" y="24671"/>
                </a:lnTo>
                <a:cubicBezTo>
                  <a:pt x="237486" y="12250"/>
                  <a:pt x="228246" y="1760"/>
                  <a:pt x="215926" y="198"/>
                </a:cubicBezTo>
                <a:cubicBezTo>
                  <a:pt x="214877" y="65"/>
                  <a:pt x="213834" y="0"/>
                  <a:pt x="212801" y="0"/>
                </a:cubicBezTo>
                <a:close/>
              </a:path>
            </a:pathLst>
          </a:custGeom>
          <a:solidFill>
            <a:srgbClr val="F5C6AF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>
              <a:buClr>
                <a:srgbClr val="000000"/>
              </a:buClr>
            </a:pPr>
            <a:endParaRPr sz="1400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22" name="Google Shape;122;p24"/>
          <p:cNvSpPr/>
          <p:nvPr/>
        </p:nvSpPr>
        <p:spPr>
          <a:xfrm>
            <a:off x="2291578" y="4387766"/>
            <a:ext cx="6919216" cy="2470234"/>
          </a:xfrm>
          <a:custGeom>
            <a:avLst/>
            <a:gdLst/>
            <a:ahLst/>
            <a:cxnLst/>
            <a:rect l="l" t="t" r="r" b="b"/>
            <a:pathLst>
              <a:path w="201697" h="72008" extrusionOk="0">
                <a:moveTo>
                  <a:pt x="188752" y="1"/>
                </a:moveTo>
                <a:cubicBezTo>
                  <a:pt x="182343" y="1"/>
                  <a:pt x="177002" y="5213"/>
                  <a:pt x="177012" y="11780"/>
                </a:cubicBezTo>
                <a:cubicBezTo>
                  <a:pt x="177012" y="12427"/>
                  <a:pt x="177068" y="13074"/>
                  <a:pt x="177168" y="13721"/>
                </a:cubicBezTo>
                <a:cubicBezTo>
                  <a:pt x="176169" y="13584"/>
                  <a:pt x="175172" y="13517"/>
                  <a:pt x="174184" y="13517"/>
                </a:cubicBezTo>
                <a:cubicBezTo>
                  <a:pt x="165710" y="13517"/>
                  <a:pt x="157882" y="18458"/>
                  <a:pt x="154314" y="26354"/>
                </a:cubicBezTo>
                <a:cubicBezTo>
                  <a:pt x="152909" y="25938"/>
                  <a:pt x="151462" y="25731"/>
                  <a:pt x="150015" y="25731"/>
                </a:cubicBezTo>
                <a:cubicBezTo>
                  <a:pt x="148669" y="25731"/>
                  <a:pt x="147323" y="25910"/>
                  <a:pt x="146011" y="26265"/>
                </a:cubicBezTo>
                <a:lnTo>
                  <a:pt x="146011" y="26231"/>
                </a:lnTo>
                <a:cubicBezTo>
                  <a:pt x="146000" y="18843"/>
                  <a:pt x="140509" y="12605"/>
                  <a:pt x="133178" y="11668"/>
                </a:cubicBezTo>
                <a:cubicBezTo>
                  <a:pt x="132549" y="11588"/>
                  <a:pt x="131924" y="11548"/>
                  <a:pt x="131305" y="11548"/>
                </a:cubicBezTo>
                <a:cubicBezTo>
                  <a:pt x="124702" y="11548"/>
                  <a:pt x="118801" y="16008"/>
                  <a:pt x="117097" y="22548"/>
                </a:cubicBezTo>
                <a:cubicBezTo>
                  <a:pt x="111484" y="23151"/>
                  <a:pt x="107087" y="27648"/>
                  <a:pt x="106629" y="33273"/>
                </a:cubicBezTo>
                <a:cubicBezTo>
                  <a:pt x="102452" y="27926"/>
                  <a:pt x="96085" y="24875"/>
                  <a:pt x="89431" y="24875"/>
                </a:cubicBezTo>
                <a:cubicBezTo>
                  <a:pt x="88335" y="24875"/>
                  <a:pt x="87232" y="24957"/>
                  <a:pt x="86129" y="25126"/>
                </a:cubicBezTo>
                <a:cubicBezTo>
                  <a:pt x="78329" y="26320"/>
                  <a:pt x="71778" y="31632"/>
                  <a:pt x="68999" y="39020"/>
                </a:cubicBezTo>
                <a:cubicBezTo>
                  <a:pt x="66728" y="37730"/>
                  <a:pt x="64209" y="37091"/>
                  <a:pt x="61698" y="37091"/>
                </a:cubicBezTo>
                <a:cubicBezTo>
                  <a:pt x="58670" y="37091"/>
                  <a:pt x="55653" y="38020"/>
                  <a:pt x="53097" y="39857"/>
                </a:cubicBezTo>
                <a:cubicBezTo>
                  <a:pt x="50542" y="33354"/>
                  <a:pt x="44287" y="29226"/>
                  <a:pt x="37504" y="29226"/>
                </a:cubicBezTo>
                <a:cubicBezTo>
                  <a:pt x="36465" y="29226"/>
                  <a:pt x="35413" y="29323"/>
                  <a:pt x="34360" y="29523"/>
                </a:cubicBezTo>
                <a:cubicBezTo>
                  <a:pt x="26448" y="31018"/>
                  <a:pt x="20712" y="37937"/>
                  <a:pt x="20712" y="45994"/>
                </a:cubicBezTo>
                <a:cubicBezTo>
                  <a:pt x="20712" y="47189"/>
                  <a:pt x="20835" y="48371"/>
                  <a:pt x="21081" y="49532"/>
                </a:cubicBezTo>
                <a:cubicBezTo>
                  <a:pt x="20492" y="49439"/>
                  <a:pt x="19902" y="49393"/>
                  <a:pt x="19317" y="49393"/>
                </a:cubicBezTo>
                <a:cubicBezTo>
                  <a:pt x="15765" y="49393"/>
                  <a:pt x="12367" y="51072"/>
                  <a:pt x="10211" y="53985"/>
                </a:cubicBezTo>
                <a:cubicBezTo>
                  <a:pt x="9932" y="53962"/>
                  <a:pt x="9653" y="53940"/>
                  <a:pt x="9363" y="53940"/>
                </a:cubicBezTo>
                <a:cubicBezTo>
                  <a:pt x="4643" y="53940"/>
                  <a:pt x="714" y="57578"/>
                  <a:pt x="357" y="62287"/>
                </a:cubicBezTo>
                <a:cubicBezTo>
                  <a:pt x="0" y="66997"/>
                  <a:pt x="3337" y="71181"/>
                  <a:pt x="8002" y="71896"/>
                </a:cubicBezTo>
                <a:lnTo>
                  <a:pt x="8002" y="72007"/>
                </a:lnTo>
                <a:lnTo>
                  <a:pt x="200525" y="72007"/>
                </a:lnTo>
                <a:lnTo>
                  <a:pt x="200525" y="14145"/>
                </a:lnTo>
                <a:lnTo>
                  <a:pt x="200291" y="14145"/>
                </a:lnTo>
                <a:cubicBezTo>
                  <a:pt x="201697" y="7316"/>
                  <a:pt x="196898" y="765"/>
                  <a:pt x="189957" y="62"/>
                </a:cubicBezTo>
                <a:cubicBezTo>
                  <a:pt x="189552" y="21"/>
                  <a:pt x="189150" y="1"/>
                  <a:pt x="188752" y="1"/>
                </a:cubicBezTo>
                <a:close/>
              </a:path>
            </a:pathLst>
          </a:custGeom>
          <a:solidFill>
            <a:srgbClr val="F49968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>
              <a:buClr>
                <a:srgbClr val="000000"/>
              </a:buClr>
            </a:pPr>
            <a:endParaRPr sz="1400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grpSp>
        <p:nvGrpSpPr>
          <p:cNvPr id="123" name="Google Shape;123;p24"/>
          <p:cNvGrpSpPr/>
          <p:nvPr/>
        </p:nvGrpSpPr>
        <p:grpSpPr>
          <a:xfrm>
            <a:off x="-713138" y="2906721"/>
            <a:ext cx="9883779" cy="3379583"/>
            <a:chOff x="238125" y="2053400"/>
            <a:chExt cx="6403900" cy="2189700"/>
          </a:xfrm>
        </p:grpSpPr>
        <p:sp>
          <p:nvSpPr>
            <p:cNvPr id="124" name="Google Shape;124;p24"/>
            <p:cNvSpPr/>
            <p:nvPr/>
          </p:nvSpPr>
          <p:spPr>
            <a:xfrm>
              <a:off x="238400" y="2953025"/>
              <a:ext cx="4551700" cy="1221150"/>
            </a:xfrm>
            <a:custGeom>
              <a:avLst/>
              <a:gdLst/>
              <a:ahLst/>
              <a:cxnLst/>
              <a:rect l="l" t="t" r="r" b="b"/>
              <a:pathLst>
                <a:path w="182068" h="48846" extrusionOk="0">
                  <a:moveTo>
                    <a:pt x="179802" y="1"/>
                  </a:moveTo>
                  <a:cubicBezTo>
                    <a:pt x="173910" y="2043"/>
                    <a:pt x="167984" y="4063"/>
                    <a:pt x="162047" y="6038"/>
                  </a:cubicBezTo>
                  <a:cubicBezTo>
                    <a:pt x="160853" y="6428"/>
                    <a:pt x="159659" y="6830"/>
                    <a:pt x="158465" y="7221"/>
                  </a:cubicBezTo>
                  <a:cubicBezTo>
                    <a:pt x="158063" y="7355"/>
                    <a:pt x="157661" y="7489"/>
                    <a:pt x="157249" y="7611"/>
                  </a:cubicBezTo>
                  <a:cubicBezTo>
                    <a:pt x="155854" y="8080"/>
                    <a:pt x="154448" y="8538"/>
                    <a:pt x="153053" y="8995"/>
                  </a:cubicBezTo>
                  <a:cubicBezTo>
                    <a:pt x="144092" y="11919"/>
                    <a:pt x="135119" y="14765"/>
                    <a:pt x="126114" y="17532"/>
                  </a:cubicBezTo>
                  <a:cubicBezTo>
                    <a:pt x="115557" y="20791"/>
                    <a:pt x="104955" y="23927"/>
                    <a:pt x="94309" y="26940"/>
                  </a:cubicBezTo>
                  <a:cubicBezTo>
                    <a:pt x="91408" y="27765"/>
                    <a:pt x="88495" y="28580"/>
                    <a:pt x="85571" y="29372"/>
                  </a:cubicBezTo>
                  <a:cubicBezTo>
                    <a:pt x="80996" y="30633"/>
                    <a:pt x="76398" y="31872"/>
                    <a:pt x="71800" y="33066"/>
                  </a:cubicBezTo>
                  <a:cubicBezTo>
                    <a:pt x="69937" y="33557"/>
                    <a:pt x="68073" y="34037"/>
                    <a:pt x="66198" y="34517"/>
                  </a:cubicBezTo>
                  <a:cubicBezTo>
                    <a:pt x="64993" y="34818"/>
                    <a:pt x="63777" y="35131"/>
                    <a:pt x="62560" y="35432"/>
                  </a:cubicBezTo>
                  <a:cubicBezTo>
                    <a:pt x="56512" y="36950"/>
                    <a:pt x="50452" y="38400"/>
                    <a:pt x="44370" y="39762"/>
                  </a:cubicBezTo>
                  <a:cubicBezTo>
                    <a:pt x="35186" y="41826"/>
                    <a:pt x="25957" y="43712"/>
                    <a:pt x="16672" y="45263"/>
                  </a:cubicBezTo>
                  <a:cubicBezTo>
                    <a:pt x="12030" y="46033"/>
                    <a:pt x="7377" y="46725"/>
                    <a:pt x="2701" y="47283"/>
                  </a:cubicBezTo>
                  <a:cubicBezTo>
                    <a:pt x="1797" y="47384"/>
                    <a:pt x="904" y="47495"/>
                    <a:pt x="0" y="47585"/>
                  </a:cubicBezTo>
                  <a:lnTo>
                    <a:pt x="0" y="48846"/>
                  </a:lnTo>
                  <a:cubicBezTo>
                    <a:pt x="949" y="48768"/>
                    <a:pt x="1897" y="48689"/>
                    <a:pt x="2846" y="48611"/>
                  </a:cubicBezTo>
                  <a:cubicBezTo>
                    <a:pt x="7544" y="48198"/>
                    <a:pt x="12242" y="47663"/>
                    <a:pt x="16929" y="47027"/>
                  </a:cubicBezTo>
                  <a:cubicBezTo>
                    <a:pt x="26303" y="45766"/>
                    <a:pt x="35621" y="44170"/>
                    <a:pt x="44906" y="42384"/>
                  </a:cubicBezTo>
                  <a:cubicBezTo>
                    <a:pt x="51323" y="41146"/>
                    <a:pt x="57728" y="39829"/>
                    <a:pt x="64111" y="38434"/>
                  </a:cubicBezTo>
                  <a:cubicBezTo>
                    <a:pt x="65317" y="38166"/>
                    <a:pt x="66522" y="37909"/>
                    <a:pt x="67727" y="37630"/>
                  </a:cubicBezTo>
                  <a:cubicBezTo>
                    <a:pt x="69368" y="37273"/>
                    <a:pt x="71008" y="36905"/>
                    <a:pt x="72660" y="36526"/>
                  </a:cubicBezTo>
                  <a:cubicBezTo>
                    <a:pt x="91073" y="32330"/>
                    <a:pt x="109386" y="27643"/>
                    <a:pt x="127620" y="22666"/>
                  </a:cubicBezTo>
                  <a:cubicBezTo>
                    <a:pt x="136726" y="20166"/>
                    <a:pt x="145821" y="17599"/>
                    <a:pt x="154894" y="14954"/>
                  </a:cubicBezTo>
                  <a:cubicBezTo>
                    <a:pt x="159023" y="13749"/>
                    <a:pt x="163152" y="12533"/>
                    <a:pt x="167270" y="11294"/>
                  </a:cubicBezTo>
                  <a:cubicBezTo>
                    <a:pt x="167538" y="11216"/>
                    <a:pt x="167805" y="11138"/>
                    <a:pt x="168084" y="11049"/>
                  </a:cubicBezTo>
                  <a:cubicBezTo>
                    <a:pt x="169479" y="10636"/>
                    <a:pt x="170874" y="10223"/>
                    <a:pt x="172269" y="9799"/>
                  </a:cubicBezTo>
                  <a:cubicBezTo>
                    <a:pt x="172303" y="9787"/>
                    <a:pt x="172325" y="9776"/>
                    <a:pt x="172347" y="9765"/>
                  </a:cubicBezTo>
                  <a:cubicBezTo>
                    <a:pt x="173720" y="9352"/>
                    <a:pt x="175081" y="8939"/>
                    <a:pt x="176454" y="8515"/>
                  </a:cubicBezTo>
                  <a:cubicBezTo>
                    <a:pt x="178318" y="7935"/>
                    <a:pt x="180193" y="7355"/>
                    <a:pt x="182067" y="6774"/>
                  </a:cubicBezTo>
                  <a:lnTo>
                    <a:pt x="182034" y="6663"/>
                  </a:lnTo>
                  <a:lnTo>
                    <a:pt x="179802" y="1"/>
                  </a:lnTo>
                  <a:close/>
                </a:path>
              </a:pathLst>
            </a:custGeom>
            <a:solidFill>
              <a:srgbClr val="F2F4F8">
                <a:alpha val="5251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>
                <a:buClr>
                  <a:srgbClr val="000000"/>
                </a:buClr>
              </a:pPr>
              <a:endParaRPr sz="1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25" name="Google Shape;125;p24"/>
            <p:cNvSpPr/>
            <p:nvPr/>
          </p:nvSpPr>
          <p:spPr>
            <a:xfrm>
              <a:off x="238125" y="2949675"/>
              <a:ext cx="4184275" cy="1139700"/>
            </a:xfrm>
            <a:custGeom>
              <a:avLst/>
              <a:gdLst/>
              <a:ahLst/>
              <a:cxnLst/>
              <a:rect l="l" t="t" r="r" b="b"/>
              <a:pathLst>
                <a:path w="167371" h="45588" extrusionOk="0">
                  <a:moveTo>
                    <a:pt x="166243" y="1"/>
                  </a:moveTo>
                  <a:cubicBezTo>
                    <a:pt x="165015" y="414"/>
                    <a:pt x="163788" y="827"/>
                    <a:pt x="162560" y="1228"/>
                  </a:cubicBezTo>
                  <a:cubicBezTo>
                    <a:pt x="161935" y="1440"/>
                    <a:pt x="161310" y="1652"/>
                    <a:pt x="160686" y="1864"/>
                  </a:cubicBezTo>
                  <a:cubicBezTo>
                    <a:pt x="159179" y="2367"/>
                    <a:pt x="157672" y="2869"/>
                    <a:pt x="156155" y="3371"/>
                  </a:cubicBezTo>
                  <a:cubicBezTo>
                    <a:pt x="154827" y="3817"/>
                    <a:pt x="153488" y="4252"/>
                    <a:pt x="152149" y="4688"/>
                  </a:cubicBezTo>
                  <a:cubicBezTo>
                    <a:pt x="140900" y="8381"/>
                    <a:pt x="129618" y="11953"/>
                    <a:pt x="118313" y="15434"/>
                  </a:cubicBezTo>
                  <a:cubicBezTo>
                    <a:pt x="113860" y="16796"/>
                    <a:pt x="109408" y="18146"/>
                    <a:pt x="104944" y="19474"/>
                  </a:cubicBezTo>
                  <a:cubicBezTo>
                    <a:pt x="93316" y="22967"/>
                    <a:pt x="81654" y="26292"/>
                    <a:pt x="69948" y="29462"/>
                  </a:cubicBezTo>
                  <a:cubicBezTo>
                    <a:pt x="64290" y="31002"/>
                    <a:pt x="58610" y="32486"/>
                    <a:pt x="52918" y="33926"/>
                  </a:cubicBezTo>
                  <a:cubicBezTo>
                    <a:pt x="42339" y="36626"/>
                    <a:pt x="31715" y="39126"/>
                    <a:pt x="21013" y="41324"/>
                  </a:cubicBezTo>
                  <a:cubicBezTo>
                    <a:pt x="14039" y="42742"/>
                    <a:pt x="7042" y="44047"/>
                    <a:pt x="0" y="45074"/>
                  </a:cubicBezTo>
                  <a:lnTo>
                    <a:pt x="0" y="45587"/>
                  </a:lnTo>
                  <a:cubicBezTo>
                    <a:pt x="7097" y="44683"/>
                    <a:pt x="14150" y="43500"/>
                    <a:pt x="21181" y="42195"/>
                  </a:cubicBezTo>
                  <a:cubicBezTo>
                    <a:pt x="32508" y="40074"/>
                    <a:pt x="43768" y="37608"/>
                    <a:pt x="54983" y="34963"/>
                  </a:cubicBezTo>
                  <a:cubicBezTo>
                    <a:pt x="59759" y="33825"/>
                    <a:pt x="64513" y="32664"/>
                    <a:pt x="69278" y="31470"/>
                  </a:cubicBezTo>
                  <a:lnTo>
                    <a:pt x="70405" y="31191"/>
                  </a:lnTo>
                  <a:cubicBezTo>
                    <a:pt x="74144" y="30254"/>
                    <a:pt x="77882" y="29294"/>
                    <a:pt x="81621" y="28312"/>
                  </a:cubicBezTo>
                  <a:cubicBezTo>
                    <a:pt x="89477" y="26259"/>
                    <a:pt x="97322" y="24128"/>
                    <a:pt x="105156" y="21940"/>
                  </a:cubicBezTo>
                  <a:cubicBezTo>
                    <a:pt x="109798" y="20646"/>
                    <a:pt x="114441" y="19340"/>
                    <a:pt x="119083" y="18001"/>
                  </a:cubicBezTo>
                  <a:cubicBezTo>
                    <a:pt x="130477" y="14731"/>
                    <a:pt x="141848" y="11339"/>
                    <a:pt x="153198" y="7835"/>
                  </a:cubicBezTo>
                  <a:cubicBezTo>
                    <a:pt x="155195" y="7221"/>
                    <a:pt x="157181" y="6607"/>
                    <a:pt x="159179" y="5971"/>
                  </a:cubicBezTo>
                  <a:cubicBezTo>
                    <a:pt x="159681" y="5826"/>
                    <a:pt x="160195" y="5659"/>
                    <a:pt x="160697" y="5502"/>
                  </a:cubicBezTo>
                  <a:lnTo>
                    <a:pt x="161165" y="5357"/>
                  </a:lnTo>
                  <a:cubicBezTo>
                    <a:pt x="162627" y="4900"/>
                    <a:pt x="164089" y="4431"/>
                    <a:pt x="165540" y="3973"/>
                  </a:cubicBezTo>
                  <a:cubicBezTo>
                    <a:pt x="166154" y="3784"/>
                    <a:pt x="166756" y="3583"/>
                    <a:pt x="167370" y="3393"/>
                  </a:cubicBezTo>
                  <a:lnTo>
                    <a:pt x="167169" y="2791"/>
                  </a:lnTo>
                  <a:lnTo>
                    <a:pt x="167069" y="2478"/>
                  </a:lnTo>
                  <a:lnTo>
                    <a:pt x="166656" y="1251"/>
                  </a:lnTo>
                  <a:lnTo>
                    <a:pt x="166355" y="358"/>
                  </a:lnTo>
                  <a:lnTo>
                    <a:pt x="166243" y="1"/>
                  </a:lnTo>
                  <a:close/>
                </a:path>
              </a:pathLst>
            </a:custGeom>
            <a:solidFill>
              <a:srgbClr val="F2F4F8">
                <a:alpha val="5251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>
                <a:buClr>
                  <a:srgbClr val="000000"/>
                </a:buClr>
              </a:pPr>
              <a:endParaRPr sz="1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26" name="Google Shape;126;p24"/>
            <p:cNvSpPr/>
            <p:nvPr/>
          </p:nvSpPr>
          <p:spPr>
            <a:xfrm>
              <a:off x="238125" y="3145800"/>
              <a:ext cx="4568425" cy="1097300"/>
            </a:xfrm>
            <a:custGeom>
              <a:avLst/>
              <a:gdLst/>
              <a:ahLst/>
              <a:cxnLst/>
              <a:rect l="l" t="t" r="r" b="b"/>
              <a:pathLst>
                <a:path w="182737" h="43892" extrusionOk="0">
                  <a:moveTo>
                    <a:pt x="181632" y="1"/>
                  </a:moveTo>
                  <a:lnTo>
                    <a:pt x="178563" y="1005"/>
                  </a:lnTo>
                  <a:lnTo>
                    <a:pt x="177603" y="1318"/>
                  </a:lnTo>
                  <a:cubicBezTo>
                    <a:pt x="176331" y="1731"/>
                    <a:pt x="175048" y="2143"/>
                    <a:pt x="173776" y="2556"/>
                  </a:cubicBezTo>
                  <a:cubicBezTo>
                    <a:pt x="173664" y="2590"/>
                    <a:pt x="173552" y="2623"/>
                    <a:pt x="173452" y="2657"/>
                  </a:cubicBezTo>
                  <a:lnTo>
                    <a:pt x="173419" y="2657"/>
                  </a:lnTo>
                  <a:cubicBezTo>
                    <a:pt x="172593" y="2925"/>
                    <a:pt x="171767" y="3192"/>
                    <a:pt x="170941" y="3449"/>
                  </a:cubicBezTo>
                  <a:cubicBezTo>
                    <a:pt x="170037" y="3739"/>
                    <a:pt x="169122" y="4029"/>
                    <a:pt x="168218" y="4320"/>
                  </a:cubicBezTo>
                  <a:cubicBezTo>
                    <a:pt x="164045" y="5625"/>
                    <a:pt x="159882" y="6931"/>
                    <a:pt x="155708" y="8214"/>
                  </a:cubicBezTo>
                  <a:cubicBezTo>
                    <a:pt x="147037" y="10870"/>
                    <a:pt x="138333" y="13448"/>
                    <a:pt x="129618" y="15959"/>
                  </a:cubicBezTo>
                  <a:cubicBezTo>
                    <a:pt x="114128" y="20412"/>
                    <a:pt x="98583" y="24641"/>
                    <a:pt x="82937" y="28491"/>
                  </a:cubicBezTo>
                  <a:cubicBezTo>
                    <a:pt x="80962" y="28982"/>
                    <a:pt x="78987" y="29462"/>
                    <a:pt x="77012" y="29942"/>
                  </a:cubicBezTo>
                  <a:cubicBezTo>
                    <a:pt x="75070" y="30410"/>
                    <a:pt x="73128" y="30868"/>
                    <a:pt x="71186" y="31314"/>
                  </a:cubicBezTo>
                  <a:cubicBezTo>
                    <a:pt x="70606" y="31459"/>
                    <a:pt x="70037" y="31593"/>
                    <a:pt x="69457" y="31716"/>
                  </a:cubicBezTo>
                  <a:cubicBezTo>
                    <a:pt x="64982" y="32765"/>
                    <a:pt x="60507" y="33758"/>
                    <a:pt x="56021" y="34718"/>
                  </a:cubicBezTo>
                  <a:cubicBezTo>
                    <a:pt x="54168" y="35120"/>
                    <a:pt x="52305" y="35510"/>
                    <a:pt x="50452" y="35890"/>
                  </a:cubicBezTo>
                  <a:cubicBezTo>
                    <a:pt x="41569" y="37709"/>
                    <a:pt x="32642" y="39360"/>
                    <a:pt x="23669" y="40711"/>
                  </a:cubicBezTo>
                  <a:cubicBezTo>
                    <a:pt x="15824" y="41905"/>
                    <a:pt x="7923" y="42864"/>
                    <a:pt x="0" y="43378"/>
                  </a:cubicBezTo>
                  <a:lnTo>
                    <a:pt x="0" y="43891"/>
                  </a:lnTo>
                  <a:cubicBezTo>
                    <a:pt x="7957" y="43500"/>
                    <a:pt x="15902" y="42664"/>
                    <a:pt x="23803" y="41592"/>
                  </a:cubicBezTo>
                  <a:cubicBezTo>
                    <a:pt x="32809" y="40387"/>
                    <a:pt x="41792" y="38869"/>
                    <a:pt x="50720" y="37195"/>
                  </a:cubicBezTo>
                  <a:cubicBezTo>
                    <a:pt x="51546" y="37039"/>
                    <a:pt x="52383" y="36883"/>
                    <a:pt x="53220" y="36727"/>
                  </a:cubicBezTo>
                  <a:cubicBezTo>
                    <a:pt x="61310" y="35153"/>
                    <a:pt x="69379" y="33479"/>
                    <a:pt x="77425" y="31683"/>
                  </a:cubicBezTo>
                  <a:cubicBezTo>
                    <a:pt x="80214" y="31058"/>
                    <a:pt x="83004" y="30422"/>
                    <a:pt x="85794" y="29774"/>
                  </a:cubicBezTo>
                  <a:cubicBezTo>
                    <a:pt x="100714" y="26304"/>
                    <a:pt x="115557" y="22532"/>
                    <a:pt x="130343" y="18537"/>
                  </a:cubicBezTo>
                  <a:cubicBezTo>
                    <a:pt x="139114" y="16171"/>
                    <a:pt x="147874" y="13727"/>
                    <a:pt x="156601" y="11205"/>
                  </a:cubicBezTo>
                  <a:cubicBezTo>
                    <a:pt x="161389" y="9821"/>
                    <a:pt x="166165" y="8415"/>
                    <a:pt x="170941" y="6987"/>
                  </a:cubicBezTo>
                  <a:cubicBezTo>
                    <a:pt x="173262" y="6284"/>
                    <a:pt x="175572" y="5592"/>
                    <a:pt x="177893" y="4878"/>
                  </a:cubicBezTo>
                  <a:cubicBezTo>
                    <a:pt x="178083" y="4822"/>
                    <a:pt x="178284" y="4766"/>
                    <a:pt x="178485" y="4699"/>
                  </a:cubicBezTo>
                  <a:cubicBezTo>
                    <a:pt x="178708" y="4632"/>
                    <a:pt x="178931" y="4565"/>
                    <a:pt x="179166" y="4487"/>
                  </a:cubicBezTo>
                  <a:cubicBezTo>
                    <a:pt x="179378" y="4420"/>
                    <a:pt x="179601" y="4353"/>
                    <a:pt x="179813" y="4286"/>
                  </a:cubicBezTo>
                  <a:cubicBezTo>
                    <a:pt x="180270" y="4152"/>
                    <a:pt x="180739" y="3996"/>
                    <a:pt x="181208" y="3851"/>
                  </a:cubicBezTo>
                  <a:cubicBezTo>
                    <a:pt x="181375" y="3806"/>
                    <a:pt x="181554" y="3750"/>
                    <a:pt x="181721" y="3695"/>
                  </a:cubicBezTo>
                  <a:cubicBezTo>
                    <a:pt x="182056" y="3594"/>
                    <a:pt x="182402" y="3483"/>
                    <a:pt x="182737" y="3382"/>
                  </a:cubicBezTo>
                  <a:lnTo>
                    <a:pt x="182580" y="2925"/>
                  </a:lnTo>
                  <a:lnTo>
                    <a:pt x="181632" y="1"/>
                  </a:lnTo>
                  <a:close/>
                </a:path>
              </a:pathLst>
            </a:custGeom>
            <a:solidFill>
              <a:srgbClr val="F2F4F8">
                <a:alpha val="5251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>
                <a:buClr>
                  <a:srgbClr val="000000"/>
                </a:buClr>
              </a:pPr>
              <a:endParaRPr sz="1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27" name="Google Shape;127;p24"/>
            <p:cNvSpPr/>
            <p:nvPr/>
          </p:nvSpPr>
          <p:spPr>
            <a:xfrm>
              <a:off x="4658100" y="3159200"/>
              <a:ext cx="207050" cy="155425"/>
            </a:xfrm>
            <a:custGeom>
              <a:avLst/>
              <a:gdLst/>
              <a:ahLst/>
              <a:cxnLst/>
              <a:rect l="l" t="t" r="r" b="b"/>
              <a:pathLst>
                <a:path w="8282" h="6217" extrusionOk="0">
                  <a:moveTo>
                    <a:pt x="1240" y="0"/>
                  </a:moveTo>
                  <a:lnTo>
                    <a:pt x="1" y="213"/>
                  </a:lnTo>
                  <a:cubicBezTo>
                    <a:pt x="548" y="581"/>
                    <a:pt x="7757" y="5625"/>
                    <a:pt x="8281" y="6216"/>
                  </a:cubicBezTo>
                  <a:cubicBezTo>
                    <a:pt x="7835" y="5591"/>
                    <a:pt x="1240" y="0"/>
                    <a:pt x="124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>
                <a:buClr>
                  <a:srgbClr val="000000"/>
                </a:buClr>
              </a:pPr>
              <a:endParaRPr sz="1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28" name="Google Shape;128;p24"/>
            <p:cNvSpPr/>
            <p:nvPr/>
          </p:nvSpPr>
          <p:spPr>
            <a:xfrm>
              <a:off x="4524475" y="3164225"/>
              <a:ext cx="341225" cy="162100"/>
            </a:xfrm>
            <a:custGeom>
              <a:avLst/>
              <a:gdLst/>
              <a:ahLst/>
              <a:cxnLst/>
              <a:rect l="l" t="t" r="r" b="b"/>
              <a:pathLst>
                <a:path w="13649" h="6484" extrusionOk="0">
                  <a:moveTo>
                    <a:pt x="5357" y="0"/>
                  </a:moveTo>
                  <a:lnTo>
                    <a:pt x="0" y="927"/>
                  </a:lnTo>
                  <a:cubicBezTo>
                    <a:pt x="0" y="927"/>
                    <a:pt x="190" y="1016"/>
                    <a:pt x="514" y="1183"/>
                  </a:cubicBezTo>
                  <a:lnTo>
                    <a:pt x="1831" y="1831"/>
                  </a:lnTo>
                  <a:cubicBezTo>
                    <a:pt x="1976" y="1909"/>
                    <a:pt x="2121" y="1976"/>
                    <a:pt x="2277" y="2054"/>
                  </a:cubicBezTo>
                  <a:cubicBezTo>
                    <a:pt x="2288" y="2065"/>
                    <a:pt x="2299" y="2065"/>
                    <a:pt x="2299" y="2065"/>
                  </a:cubicBezTo>
                  <a:lnTo>
                    <a:pt x="2433" y="2132"/>
                  </a:lnTo>
                  <a:cubicBezTo>
                    <a:pt x="5614" y="3716"/>
                    <a:pt x="10825" y="6328"/>
                    <a:pt x="10970" y="6439"/>
                  </a:cubicBezTo>
                  <a:cubicBezTo>
                    <a:pt x="11019" y="6470"/>
                    <a:pt x="11168" y="6484"/>
                    <a:pt x="11372" y="6484"/>
                  </a:cubicBezTo>
                  <a:cubicBezTo>
                    <a:pt x="11682" y="6484"/>
                    <a:pt x="12118" y="6453"/>
                    <a:pt x="12521" y="6406"/>
                  </a:cubicBezTo>
                  <a:lnTo>
                    <a:pt x="12544" y="6406"/>
                  </a:lnTo>
                  <a:cubicBezTo>
                    <a:pt x="13091" y="6328"/>
                    <a:pt x="13593" y="6216"/>
                    <a:pt x="13649" y="6093"/>
                  </a:cubicBezTo>
                  <a:cubicBezTo>
                    <a:pt x="13649" y="6082"/>
                    <a:pt x="13649" y="6071"/>
                    <a:pt x="13649" y="6071"/>
                  </a:cubicBezTo>
                  <a:lnTo>
                    <a:pt x="13649" y="6060"/>
                  </a:lnTo>
                  <a:cubicBezTo>
                    <a:pt x="13649" y="6049"/>
                    <a:pt x="13649" y="6049"/>
                    <a:pt x="13649" y="6038"/>
                  </a:cubicBezTo>
                  <a:lnTo>
                    <a:pt x="13626" y="6015"/>
                  </a:lnTo>
                  <a:cubicBezTo>
                    <a:pt x="13437" y="5792"/>
                    <a:pt x="12376" y="4989"/>
                    <a:pt x="11071" y="4040"/>
                  </a:cubicBezTo>
                  <a:cubicBezTo>
                    <a:pt x="10870" y="3906"/>
                    <a:pt x="10680" y="3761"/>
                    <a:pt x="10479" y="3627"/>
                  </a:cubicBezTo>
                  <a:cubicBezTo>
                    <a:pt x="10401" y="3571"/>
                    <a:pt x="10323" y="3516"/>
                    <a:pt x="10256" y="3471"/>
                  </a:cubicBezTo>
                  <a:cubicBezTo>
                    <a:pt x="8102" y="1920"/>
                    <a:pt x="5669" y="212"/>
                    <a:pt x="5357" y="0"/>
                  </a:cubicBezTo>
                  <a:close/>
                </a:path>
              </a:pathLst>
            </a:custGeom>
            <a:solidFill>
              <a:srgbClr val="87B7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>
                <a:buClr>
                  <a:srgbClr val="000000"/>
                </a:buClr>
              </a:pPr>
              <a:endParaRPr sz="1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29" name="Google Shape;129;p24"/>
            <p:cNvSpPr/>
            <p:nvPr/>
          </p:nvSpPr>
          <p:spPr>
            <a:xfrm>
              <a:off x="4581950" y="3216125"/>
              <a:ext cx="283750" cy="110200"/>
            </a:xfrm>
            <a:custGeom>
              <a:avLst/>
              <a:gdLst/>
              <a:ahLst/>
              <a:cxnLst/>
              <a:rect l="l" t="t" r="r" b="b"/>
              <a:pathLst>
                <a:path w="11350" h="4408" extrusionOk="0">
                  <a:moveTo>
                    <a:pt x="0" y="0"/>
                  </a:moveTo>
                  <a:lnTo>
                    <a:pt x="0" y="0"/>
                  </a:lnTo>
                  <a:cubicBezTo>
                    <a:pt x="3181" y="1585"/>
                    <a:pt x="8515" y="4252"/>
                    <a:pt x="8671" y="4363"/>
                  </a:cubicBezTo>
                  <a:cubicBezTo>
                    <a:pt x="8720" y="4394"/>
                    <a:pt x="8869" y="4408"/>
                    <a:pt x="9073" y="4408"/>
                  </a:cubicBezTo>
                  <a:cubicBezTo>
                    <a:pt x="9383" y="4408"/>
                    <a:pt x="9819" y="4377"/>
                    <a:pt x="10222" y="4330"/>
                  </a:cubicBezTo>
                  <a:lnTo>
                    <a:pt x="10245" y="4330"/>
                  </a:lnTo>
                  <a:cubicBezTo>
                    <a:pt x="10792" y="4252"/>
                    <a:pt x="11294" y="4140"/>
                    <a:pt x="11350" y="4017"/>
                  </a:cubicBezTo>
                  <a:cubicBezTo>
                    <a:pt x="11350" y="4006"/>
                    <a:pt x="11350" y="3995"/>
                    <a:pt x="11350" y="3995"/>
                  </a:cubicBezTo>
                  <a:lnTo>
                    <a:pt x="11350" y="3984"/>
                  </a:lnTo>
                  <a:cubicBezTo>
                    <a:pt x="11350" y="3973"/>
                    <a:pt x="11350" y="3973"/>
                    <a:pt x="11350" y="3962"/>
                  </a:cubicBezTo>
                  <a:lnTo>
                    <a:pt x="11327" y="3939"/>
                  </a:lnTo>
                  <a:cubicBezTo>
                    <a:pt x="11138" y="3716"/>
                    <a:pt x="10077" y="2924"/>
                    <a:pt x="8761" y="1975"/>
                  </a:cubicBezTo>
                  <a:cubicBezTo>
                    <a:pt x="8497" y="2273"/>
                    <a:pt x="8035" y="2394"/>
                    <a:pt x="7457" y="2394"/>
                  </a:cubicBezTo>
                  <a:cubicBezTo>
                    <a:pt x="4997" y="2394"/>
                    <a:pt x="425" y="199"/>
                    <a:pt x="0" y="0"/>
                  </a:cubicBezTo>
                  <a:close/>
                </a:path>
              </a:pathLst>
            </a:custGeom>
            <a:solidFill>
              <a:srgbClr val="E4F1FA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>
                <a:buClr>
                  <a:srgbClr val="000000"/>
                </a:buClr>
              </a:pPr>
              <a:endParaRPr sz="1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30" name="Google Shape;130;p24"/>
            <p:cNvSpPr/>
            <p:nvPr/>
          </p:nvSpPr>
          <p:spPr>
            <a:xfrm>
              <a:off x="4537025" y="3194075"/>
              <a:ext cx="249175" cy="68450"/>
            </a:xfrm>
            <a:custGeom>
              <a:avLst/>
              <a:gdLst/>
              <a:ahLst/>
              <a:cxnLst/>
              <a:rect l="l" t="t" r="r" b="b"/>
              <a:pathLst>
                <a:path w="9967" h="2738" extrusionOk="0">
                  <a:moveTo>
                    <a:pt x="1" y="0"/>
                  </a:moveTo>
                  <a:lnTo>
                    <a:pt x="1317" y="648"/>
                  </a:lnTo>
                  <a:cubicBezTo>
                    <a:pt x="1697" y="804"/>
                    <a:pt x="2087" y="960"/>
                    <a:pt x="2478" y="1105"/>
                  </a:cubicBezTo>
                  <a:cubicBezTo>
                    <a:pt x="3561" y="1529"/>
                    <a:pt x="4676" y="1898"/>
                    <a:pt x="5804" y="2221"/>
                  </a:cubicBezTo>
                  <a:cubicBezTo>
                    <a:pt x="6373" y="2377"/>
                    <a:pt x="6942" y="2522"/>
                    <a:pt x="7533" y="2623"/>
                  </a:cubicBezTo>
                  <a:cubicBezTo>
                    <a:pt x="7678" y="2645"/>
                    <a:pt x="7823" y="2668"/>
                    <a:pt x="7969" y="2690"/>
                  </a:cubicBezTo>
                  <a:lnTo>
                    <a:pt x="8415" y="2734"/>
                  </a:lnTo>
                  <a:cubicBezTo>
                    <a:pt x="8464" y="2737"/>
                    <a:pt x="8512" y="2738"/>
                    <a:pt x="8561" y="2738"/>
                  </a:cubicBezTo>
                  <a:cubicBezTo>
                    <a:pt x="9046" y="2738"/>
                    <a:pt x="9520" y="2636"/>
                    <a:pt x="9966" y="2433"/>
                  </a:cubicBezTo>
                  <a:cubicBezTo>
                    <a:pt x="9888" y="2377"/>
                    <a:pt x="9821" y="2322"/>
                    <a:pt x="9743" y="2288"/>
                  </a:cubicBezTo>
                  <a:cubicBezTo>
                    <a:pt x="9587" y="2333"/>
                    <a:pt x="9430" y="2377"/>
                    <a:pt x="9274" y="2400"/>
                  </a:cubicBezTo>
                  <a:cubicBezTo>
                    <a:pt x="9091" y="2433"/>
                    <a:pt x="8906" y="2446"/>
                    <a:pt x="8722" y="2446"/>
                  </a:cubicBezTo>
                  <a:cubicBezTo>
                    <a:pt x="8344" y="2446"/>
                    <a:pt x="7964" y="2389"/>
                    <a:pt x="7589" y="2322"/>
                  </a:cubicBezTo>
                  <a:cubicBezTo>
                    <a:pt x="7020" y="2210"/>
                    <a:pt x="6451" y="2065"/>
                    <a:pt x="5893" y="1909"/>
                  </a:cubicBezTo>
                  <a:cubicBezTo>
                    <a:pt x="4777" y="1596"/>
                    <a:pt x="3672" y="1228"/>
                    <a:pt x="2556" y="871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rgbClr val="E4F1FA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>
                <a:buClr>
                  <a:srgbClr val="000000"/>
                </a:buClr>
              </a:pPr>
              <a:endParaRPr sz="1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31" name="Google Shape;131;p24"/>
            <p:cNvSpPr/>
            <p:nvPr/>
          </p:nvSpPr>
          <p:spPr>
            <a:xfrm>
              <a:off x="5428675" y="2899475"/>
              <a:ext cx="1200775" cy="584250"/>
            </a:xfrm>
            <a:custGeom>
              <a:avLst/>
              <a:gdLst/>
              <a:ahLst/>
              <a:cxnLst/>
              <a:rect l="l" t="t" r="r" b="b"/>
              <a:pathLst>
                <a:path w="48031" h="23370" extrusionOk="0">
                  <a:moveTo>
                    <a:pt x="15802" y="0"/>
                  </a:moveTo>
                  <a:lnTo>
                    <a:pt x="0" y="6249"/>
                  </a:lnTo>
                  <a:cubicBezTo>
                    <a:pt x="0" y="6249"/>
                    <a:pt x="42953" y="23156"/>
                    <a:pt x="43545" y="23323"/>
                  </a:cubicBezTo>
                  <a:cubicBezTo>
                    <a:pt x="43650" y="23354"/>
                    <a:pt x="43885" y="23369"/>
                    <a:pt x="44196" y="23369"/>
                  </a:cubicBezTo>
                  <a:cubicBezTo>
                    <a:pt x="45475" y="23369"/>
                    <a:pt x="48031" y="23105"/>
                    <a:pt x="48031" y="22531"/>
                  </a:cubicBezTo>
                  <a:cubicBezTo>
                    <a:pt x="46558" y="21437"/>
                    <a:pt x="41982" y="18223"/>
                    <a:pt x="36715" y="14541"/>
                  </a:cubicBezTo>
                  <a:cubicBezTo>
                    <a:pt x="36514" y="14396"/>
                    <a:pt x="36325" y="14262"/>
                    <a:pt x="36124" y="14117"/>
                  </a:cubicBezTo>
                  <a:cubicBezTo>
                    <a:pt x="35967" y="14016"/>
                    <a:pt x="35822" y="13916"/>
                    <a:pt x="35677" y="13804"/>
                  </a:cubicBezTo>
                  <a:cubicBezTo>
                    <a:pt x="28078" y="8504"/>
                    <a:pt x="19373" y="2466"/>
                    <a:pt x="16461" y="446"/>
                  </a:cubicBezTo>
                  <a:lnTo>
                    <a:pt x="16260" y="312"/>
                  </a:lnTo>
                  <a:cubicBezTo>
                    <a:pt x="16081" y="190"/>
                    <a:pt x="15925" y="78"/>
                    <a:pt x="15802" y="0"/>
                  </a:cubicBezTo>
                  <a:close/>
                </a:path>
              </a:pathLst>
            </a:custGeom>
            <a:solidFill>
              <a:srgbClr val="87B7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>
                <a:buClr>
                  <a:srgbClr val="000000"/>
                </a:buClr>
              </a:pPr>
              <a:endParaRPr sz="1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32" name="Google Shape;132;p24"/>
            <p:cNvSpPr/>
            <p:nvPr/>
          </p:nvSpPr>
          <p:spPr>
            <a:xfrm>
              <a:off x="5823725" y="2879650"/>
              <a:ext cx="805725" cy="583100"/>
            </a:xfrm>
            <a:custGeom>
              <a:avLst/>
              <a:gdLst/>
              <a:ahLst/>
              <a:cxnLst/>
              <a:rect l="l" t="t" r="r" b="b"/>
              <a:pathLst>
                <a:path w="32229" h="23324" extrusionOk="0">
                  <a:moveTo>
                    <a:pt x="1998" y="1"/>
                  </a:moveTo>
                  <a:lnTo>
                    <a:pt x="0" y="793"/>
                  </a:lnTo>
                  <a:cubicBezTo>
                    <a:pt x="3281" y="3070"/>
                    <a:pt x="28379" y="20445"/>
                    <a:pt x="32229" y="23324"/>
                  </a:cubicBezTo>
                  <a:cubicBezTo>
                    <a:pt x="32218" y="23235"/>
                    <a:pt x="32173" y="23168"/>
                    <a:pt x="32106" y="23112"/>
                  </a:cubicBezTo>
                  <a:cubicBezTo>
                    <a:pt x="31225" y="22230"/>
                    <a:pt x="1998" y="1"/>
                    <a:pt x="1998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>
                <a:buClr>
                  <a:srgbClr val="000000"/>
                </a:buClr>
              </a:pPr>
              <a:endParaRPr sz="1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33" name="Google Shape;133;p24"/>
            <p:cNvSpPr/>
            <p:nvPr/>
          </p:nvSpPr>
          <p:spPr>
            <a:xfrm>
              <a:off x="5428675" y="2899475"/>
              <a:ext cx="1200775" cy="584250"/>
            </a:xfrm>
            <a:custGeom>
              <a:avLst/>
              <a:gdLst/>
              <a:ahLst/>
              <a:cxnLst/>
              <a:rect l="l" t="t" r="r" b="b"/>
              <a:pathLst>
                <a:path w="48031" h="23370" extrusionOk="0">
                  <a:moveTo>
                    <a:pt x="15802" y="0"/>
                  </a:moveTo>
                  <a:lnTo>
                    <a:pt x="0" y="6249"/>
                  </a:lnTo>
                  <a:cubicBezTo>
                    <a:pt x="0" y="6249"/>
                    <a:pt x="42953" y="23156"/>
                    <a:pt x="43545" y="23323"/>
                  </a:cubicBezTo>
                  <a:cubicBezTo>
                    <a:pt x="43650" y="23354"/>
                    <a:pt x="43885" y="23369"/>
                    <a:pt x="44196" y="23369"/>
                  </a:cubicBezTo>
                  <a:cubicBezTo>
                    <a:pt x="45475" y="23369"/>
                    <a:pt x="48031" y="23105"/>
                    <a:pt x="48031" y="22531"/>
                  </a:cubicBezTo>
                  <a:cubicBezTo>
                    <a:pt x="46558" y="21437"/>
                    <a:pt x="41982" y="18223"/>
                    <a:pt x="36715" y="14541"/>
                  </a:cubicBezTo>
                  <a:cubicBezTo>
                    <a:pt x="35833" y="15408"/>
                    <a:pt x="34423" y="15847"/>
                    <a:pt x="32691" y="15847"/>
                  </a:cubicBezTo>
                  <a:cubicBezTo>
                    <a:pt x="29516" y="15847"/>
                    <a:pt x="25256" y="14370"/>
                    <a:pt x="21170" y="11338"/>
                  </a:cubicBezTo>
                  <a:cubicBezTo>
                    <a:pt x="11897" y="4464"/>
                    <a:pt x="15802" y="0"/>
                    <a:pt x="15802" y="0"/>
                  </a:cubicBezTo>
                  <a:close/>
                </a:path>
              </a:pathLst>
            </a:custGeom>
            <a:solidFill>
              <a:srgbClr val="E4F1FA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>
                <a:buClr>
                  <a:srgbClr val="000000"/>
                </a:buClr>
              </a:pPr>
              <a:endParaRPr sz="1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34" name="Google Shape;134;p24"/>
            <p:cNvSpPr/>
            <p:nvPr/>
          </p:nvSpPr>
          <p:spPr>
            <a:xfrm>
              <a:off x="5828175" y="2907275"/>
              <a:ext cx="503600" cy="367325"/>
            </a:xfrm>
            <a:custGeom>
              <a:avLst/>
              <a:gdLst/>
              <a:ahLst/>
              <a:cxnLst/>
              <a:rect l="l" t="t" r="r" b="b"/>
              <a:pathLst>
                <a:path w="20144" h="14693" extrusionOk="0">
                  <a:moveTo>
                    <a:pt x="280" y="0"/>
                  </a:moveTo>
                  <a:cubicBezTo>
                    <a:pt x="34" y="949"/>
                    <a:pt x="1" y="1942"/>
                    <a:pt x="179" y="2902"/>
                  </a:cubicBezTo>
                  <a:cubicBezTo>
                    <a:pt x="313" y="3549"/>
                    <a:pt x="514" y="4185"/>
                    <a:pt x="771" y="4799"/>
                  </a:cubicBezTo>
                  <a:cubicBezTo>
                    <a:pt x="1050" y="5402"/>
                    <a:pt x="1373" y="5971"/>
                    <a:pt x="1753" y="6518"/>
                  </a:cubicBezTo>
                  <a:cubicBezTo>
                    <a:pt x="2512" y="7600"/>
                    <a:pt x="3404" y="8571"/>
                    <a:pt x="4420" y="9419"/>
                  </a:cubicBezTo>
                  <a:cubicBezTo>
                    <a:pt x="5413" y="10256"/>
                    <a:pt x="6484" y="11004"/>
                    <a:pt x="7600" y="11673"/>
                  </a:cubicBezTo>
                  <a:cubicBezTo>
                    <a:pt x="9821" y="12979"/>
                    <a:pt x="12209" y="14128"/>
                    <a:pt x="14821" y="14541"/>
                  </a:cubicBezTo>
                  <a:cubicBezTo>
                    <a:pt x="15365" y="14643"/>
                    <a:pt x="15916" y="14693"/>
                    <a:pt x="16465" y="14693"/>
                  </a:cubicBezTo>
                  <a:cubicBezTo>
                    <a:pt x="17243" y="14693"/>
                    <a:pt x="18019" y="14592"/>
                    <a:pt x="18771" y="14396"/>
                  </a:cubicBezTo>
                  <a:cubicBezTo>
                    <a:pt x="19251" y="14251"/>
                    <a:pt x="19708" y="14061"/>
                    <a:pt x="20144" y="13816"/>
                  </a:cubicBezTo>
                  <a:cubicBezTo>
                    <a:pt x="19987" y="13704"/>
                    <a:pt x="19842" y="13604"/>
                    <a:pt x="19708" y="13503"/>
                  </a:cubicBezTo>
                  <a:cubicBezTo>
                    <a:pt x="19363" y="13626"/>
                    <a:pt x="19005" y="13704"/>
                    <a:pt x="18648" y="13760"/>
                  </a:cubicBezTo>
                  <a:cubicBezTo>
                    <a:pt x="18267" y="13817"/>
                    <a:pt x="17881" y="13846"/>
                    <a:pt x="17496" y="13846"/>
                  </a:cubicBezTo>
                  <a:cubicBezTo>
                    <a:pt x="17273" y="13846"/>
                    <a:pt x="17050" y="13836"/>
                    <a:pt x="16829" y="13816"/>
                  </a:cubicBezTo>
                  <a:cubicBezTo>
                    <a:pt x="16227" y="13771"/>
                    <a:pt x="15624" y="13671"/>
                    <a:pt x="15033" y="13526"/>
                  </a:cubicBezTo>
                  <a:cubicBezTo>
                    <a:pt x="13839" y="13224"/>
                    <a:pt x="12689" y="12812"/>
                    <a:pt x="11573" y="12287"/>
                  </a:cubicBezTo>
                  <a:cubicBezTo>
                    <a:pt x="10446" y="11763"/>
                    <a:pt x="9352" y="11182"/>
                    <a:pt x="8292" y="10535"/>
                  </a:cubicBezTo>
                  <a:cubicBezTo>
                    <a:pt x="7221" y="9899"/>
                    <a:pt x="6205" y="9207"/>
                    <a:pt x="5235" y="8437"/>
                  </a:cubicBezTo>
                  <a:cubicBezTo>
                    <a:pt x="4744" y="8058"/>
                    <a:pt x="4286" y="7656"/>
                    <a:pt x="3840" y="7232"/>
                  </a:cubicBezTo>
                  <a:cubicBezTo>
                    <a:pt x="3628" y="7020"/>
                    <a:pt x="3416" y="6797"/>
                    <a:pt x="3204" y="6585"/>
                  </a:cubicBezTo>
                  <a:cubicBezTo>
                    <a:pt x="2992" y="6361"/>
                    <a:pt x="2791" y="6127"/>
                    <a:pt x="2601" y="5893"/>
                  </a:cubicBezTo>
                  <a:cubicBezTo>
                    <a:pt x="1820" y="4955"/>
                    <a:pt x="1217" y="3895"/>
                    <a:pt x="827" y="2735"/>
                  </a:cubicBezTo>
                  <a:cubicBezTo>
                    <a:pt x="548" y="1898"/>
                    <a:pt x="436" y="1016"/>
                    <a:pt x="481" y="146"/>
                  </a:cubicBezTo>
                  <a:lnTo>
                    <a:pt x="280" y="0"/>
                  </a:lnTo>
                  <a:close/>
                </a:path>
              </a:pathLst>
            </a:custGeom>
            <a:solidFill>
              <a:srgbClr val="E4F1FA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>
                <a:buClr>
                  <a:srgbClr val="000000"/>
                </a:buClr>
              </a:pPr>
              <a:endParaRPr sz="1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35" name="Google Shape;135;p24"/>
            <p:cNvSpPr/>
            <p:nvPr/>
          </p:nvSpPr>
          <p:spPr>
            <a:xfrm>
              <a:off x="5666650" y="3132725"/>
              <a:ext cx="114675" cy="76825"/>
            </a:xfrm>
            <a:custGeom>
              <a:avLst/>
              <a:gdLst/>
              <a:ahLst/>
              <a:cxnLst/>
              <a:rect l="l" t="t" r="r" b="b"/>
              <a:pathLst>
                <a:path w="4587" h="3073" extrusionOk="0">
                  <a:moveTo>
                    <a:pt x="3442" y="1"/>
                  </a:moveTo>
                  <a:cubicBezTo>
                    <a:pt x="3039" y="1"/>
                    <a:pt x="2600" y="198"/>
                    <a:pt x="2355" y="312"/>
                  </a:cubicBezTo>
                  <a:cubicBezTo>
                    <a:pt x="391" y="1260"/>
                    <a:pt x="0" y="1796"/>
                    <a:pt x="34" y="2298"/>
                  </a:cubicBezTo>
                  <a:cubicBezTo>
                    <a:pt x="80" y="2865"/>
                    <a:pt x="388" y="3072"/>
                    <a:pt x="827" y="3072"/>
                  </a:cubicBezTo>
                  <a:cubicBezTo>
                    <a:pt x="1339" y="3072"/>
                    <a:pt x="2029" y="2790"/>
                    <a:pt x="2690" y="2466"/>
                  </a:cubicBezTo>
                  <a:cubicBezTo>
                    <a:pt x="3147" y="2242"/>
                    <a:pt x="4587" y="1606"/>
                    <a:pt x="4263" y="624"/>
                  </a:cubicBezTo>
                  <a:cubicBezTo>
                    <a:pt x="4113" y="148"/>
                    <a:pt x="3791" y="1"/>
                    <a:pt x="3442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>
                <a:buClr>
                  <a:srgbClr val="000000"/>
                </a:buClr>
              </a:pPr>
              <a:endParaRPr sz="1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36" name="Google Shape;136;p24"/>
            <p:cNvSpPr/>
            <p:nvPr/>
          </p:nvSpPr>
          <p:spPr>
            <a:xfrm>
              <a:off x="5915775" y="3234700"/>
              <a:ext cx="114975" cy="76850"/>
            </a:xfrm>
            <a:custGeom>
              <a:avLst/>
              <a:gdLst/>
              <a:ahLst/>
              <a:cxnLst/>
              <a:rect l="l" t="t" r="r" b="b"/>
              <a:pathLst>
                <a:path w="4599" h="3074" extrusionOk="0">
                  <a:moveTo>
                    <a:pt x="3442" y="1"/>
                  </a:moveTo>
                  <a:cubicBezTo>
                    <a:pt x="3039" y="1"/>
                    <a:pt x="2601" y="197"/>
                    <a:pt x="2356" y="317"/>
                  </a:cubicBezTo>
                  <a:cubicBezTo>
                    <a:pt x="391" y="1266"/>
                    <a:pt x="1" y="1801"/>
                    <a:pt x="34" y="2304"/>
                  </a:cubicBezTo>
                  <a:cubicBezTo>
                    <a:pt x="81" y="2868"/>
                    <a:pt x="386" y="3074"/>
                    <a:pt x="823" y="3074"/>
                  </a:cubicBezTo>
                  <a:cubicBezTo>
                    <a:pt x="1335" y="3074"/>
                    <a:pt x="2027" y="2790"/>
                    <a:pt x="2690" y="2471"/>
                  </a:cubicBezTo>
                  <a:cubicBezTo>
                    <a:pt x="3148" y="2248"/>
                    <a:pt x="4599" y="1600"/>
                    <a:pt x="4264" y="618"/>
                  </a:cubicBezTo>
                  <a:cubicBezTo>
                    <a:pt x="4114" y="148"/>
                    <a:pt x="3791" y="1"/>
                    <a:pt x="3442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>
                <a:buClr>
                  <a:srgbClr val="000000"/>
                </a:buClr>
              </a:pPr>
              <a:endParaRPr sz="1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37" name="Google Shape;137;p24"/>
            <p:cNvSpPr/>
            <p:nvPr/>
          </p:nvSpPr>
          <p:spPr>
            <a:xfrm>
              <a:off x="6164925" y="3336675"/>
              <a:ext cx="114950" cy="76800"/>
            </a:xfrm>
            <a:custGeom>
              <a:avLst/>
              <a:gdLst/>
              <a:ahLst/>
              <a:cxnLst/>
              <a:rect l="l" t="t" r="r" b="b"/>
              <a:pathLst>
                <a:path w="4598" h="3072" extrusionOk="0">
                  <a:moveTo>
                    <a:pt x="3442" y="0"/>
                  </a:moveTo>
                  <a:cubicBezTo>
                    <a:pt x="3038" y="0"/>
                    <a:pt x="2600" y="198"/>
                    <a:pt x="2355" y="311"/>
                  </a:cubicBezTo>
                  <a:cubicBezTo>
                    <a:pt x="391" y="1260"/>
                    <a:pt x="0" y="1796"/>
                    <a:pt x="34" y="2298"/>
                  </a:cubicBezTo>
                  <a:cubicBezTo>
                    <a:pt x="80" y="2864"/>
                    <a:pt x="388" y="3072"/>
                    <a:pt x="827" y="3072"/>
                  </a:cubicBezTo>
                  <a:cubicBezTo>
                    <a:pt x="1339" y="3072"/>
                    <a:pt x="2029" y="2790"/>
                    <a:pt x="2690" y="2465"/>
                  </a:cubicBezTo>
                  <a:cubicBezTo>
                    <a:pt x="3147" y="2242"/>
                    <a:pt x="4598" y="1606"/>
                    <a:pt x="4263" y="624"/>
                  </a:cubicBezTo>
                  <a:cubicBezTo>
                    <a:pt x="4113" y="148"/>
                    <a:pt x="3790" y="0"/>
                    <a:pt x="3442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>
                <a:buClr>
                  <a:srgbClr val="000000"/>
                </a:buClr>
              </a:pPr>
              <a:endParaRPr sz="1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38" name="Google Shape;138;p24"/>
            <p:cNvSpPr/>
            <p:nvPr/>
          </p:nvSpPr>
          <p:spPr>
            <a:xfrm>
              <a:off x="5754800" y="2935425"/>
              <a:ext cx="415450" cy="324925"/>
            </a:xfrm>
            <a:custGeom>
              <a:avLst/>
              <a:gdLst/>
              <a:ahLst/>
              <a:cxnLst/>
              <a:rect l="l" t="t" r="r" b="b"/>
              <a:pathLst>
                <a:path w="16618" h="12997" extrusionOk="0">
                  <a:moveTo>
                    <a:pt x="12728" y="0"/>
                  </a:moveTo>
                  <a:cubicBezTo>
                    <a:pt x="12691" y="0"/>
                    <a:pt x="12656" y="1"/>
                    <a:pt x="12622" y="2"/>
                  </a:cubicBezTo>
                  <a:cubicBezTo>
                    <a:pt x="11830" y="24"/>
                    <a:pt x="11071" y="113"/>
                    <a:pt x="9352" y="839"/>
                  </a:cubicBezTo>
                  <a:cubicBezTo>
                    <a:pt x="8304" y="1285"/>
                    <a:pt x="6897" y="1966"/>
                    <a:pt x="4900" y="3015"/>
                  </a:cubicBezTo>
                  <a:cubicBezTo>
                    <a:pt x="3248" y="3885"/>
                    <a:pt x="1" y="5447"/>
                    <a:pt x="269" y="8594"/>
                  </a:cubicBezTo>
                  <a:cubicBezTo>
                    <a:pt x="324" y="9108"/>
                    <a:pt x="447" y="9621"/>
                    <a:pt x="637" y="10101"/>
                  </a:cubicBezTo>
                  <a:cubicBezTo>
                    <a:pt x="1475" y="12227"/>
                    <a:pt x="2752" y="12996"/>
                    <a:pt x="4412" y="12996"/>
                  </a:cubicBezTo>
                  <a:cubicBezTo>
                    <a:pt x="6001" y="12996"/>
                    <a:pt x="7940" y="12291"/>
                    <a:pt x="10178" y="11395"/>
                  </a:cubicBezTo>
                  <a:cubicBezTo>
                    <a:pt x="11908" y="10715"/>
                    <a:pt x="14631" y="9945"/>
                    <a:pt x="15836" y="7802"/>
                  </a:cubicBezTo>
                  <a:cubicBezTo>
                    <a:pt x="16372" y="6853"/>
                    <a:pt x="16617" y="5637"/>
                    <a:pt x="16327" y="4052"/>
                  </a:cubicBezTo>
                  <a:cubicBezTo>
                    <a:pt x="15660" y="342"/>
                    <a:pt x="13698" y="0"/>
                    <a:pt x="12728" y="0"/>
                  </a:cubicBezTo>
                  <a:close/>
                </a:path>
              </a:pathLst>
            </a:custGeom>
            <a:solidFill>
              <a:srgbClr val="FFB28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>
                <a:buClr>
                  <a:srgbClr val="000000"/>
                </a:buClr>
              </a:pPr>
              <a:endParaRPr sz="1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39" name="Google Shape;139;p24"/>
            <p:cNvSpPr/>
            <p:nvPr/>
          </p:nvSpPr>
          <p:spPr>
            <a:xfrm>
              <a:off x="5761500" y="2935425"/>
              <a:ext cx="408750" cy="324925"/>
            </a:xfrm>
            <a:custGeom>
              <a:avLst/>
              <a:gdLst/>
              <a:ahLst/>
              <a:cxnLst/>
              <a:rect l="l" t="t" r="r" b="b"/>
              <a:pathLst>
                <a:path w="16350" h="12997" extrusionOk="0">
                  <a:moveTo>
                    <a:pt x="12457" y="0"/>
                  </a:moveTo>
                  <a:cubicBezTo>
                    <a:pt x="12421" y="0"/>
                    <a:pt x="12387" y="1"/>
                    <a:pt x="12354" y="2"/>
                  </a:cubicBezTo>
                  <a:cubicBezTo>
                    <a:pt x="11562" y="24"/>
                    <a:pt x="10803" y="124"/>
                    <a:pt x="9084" y="839"/>
                  </a:cubicBezTo>
                  <a:cubicBezTo>
                    <a:pt x="15423" y="4186"/>
                    <a:pt x="10212" y="9889"/>
                    <a:pt x="5837" y="10570"/>
                  </a:cubicBezTo>
                  <a:cubicBezTo>
                    <a:pt x="5353" y="10643"/>
                    <a:pt x="4905" y="10676"/>
                    <a:pt x="4490" y="10676"/>
                  </a:cubicBezTo>
                  <a:cubicBezTo>
                    <a:pt x="1384" y="10676"/>
                    <a:pt x="158" y="8840"/>
                    <a:pt x="1" y="8594"/>
                  </a:cubicBezTo>
                  <a:lnTo>
                    <a:pt x="1" y="8594"/>
                  </a:lnTo>
                  <a:cubicBezTo>
                    <a:pt x="56" y="9108"/>
                    <a:pt x="179" y="9621"/>
                    <a:pt x="369" y="10101"/>
                  </a:cubicBezTo>
                  <a:cubicBezTo>
                    <a:pt x="1207" y="12227"/>
                    <a:pt x="2484" y="12996"/>
                    <a:pt x="4144" y="12996"/>
                  </a:cubicBezTo>
                  <a:cubicBezTo>
                    <a:pt x="5733" y="12996"/>
                    <a:pt x="7672" y="12291"/>
                    <a:pt x="9910" y="11395"/>
                  </a:cubicBezTo>
                  <a:cubicBezTo>
                    <a:pt x="11640" y="10715"/>
                    <a:pt x="14363" y="9945"/>
                    <a:pt x="15568" y="7802"/>
                  </a:cubicBezTo>
                  <a:cubicBezTo>
                    <a:pt x="16104" y="6853"/>
                    <a:pt x="16349" y="5637"/>
                    <a:pt x="16059" y="4052"/>
                  </a:cubicBezTo>
                  <a:cubicBezTo>
                    <a:pt x="15392" y="349"/>
                    <a:pt x="13426" y="0"/>
                    <a:pt x="12457" y="0"/>
                  </a:cubicBezTo>
                  <a:close/>
                </a:path>
              </a:pathLst>
            </a:custGeom>
            <a:solidFill>
              <a:srgbClr val="F5A27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>
                <a:buClr>
                  <a:srgbClr val="000000"/>
                </a:buClr>
              </a:pPr>
              <a:endParaRPr sz="1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40" name="Google Shape;140;p24"/>
            <p:cNvSpPr/>
            <p:nvPr/>
          </p:nvSpPr>
          <p:spPr>
            <a:xfrm>
              <a:off x="5988875" y="2949950"/>
              <a:ext cx="163225" cy="211775"/>
            </a:xfrm>
            <a:custGeom>
              <a:avLst/>
              <a:gdLst/>
              <a:ahLst/>
              <a:cxnLst/>
              <a:rect l="l" t="t" r="r" b="b"/>
              <a:pathLst>
                <a:path w="6529" h="8471" extrusionOk="0">
                  <a:moveTo>
                    <a:pt x="3259" y="1"/>
                  </a:moveTo>
                  <a:cubicBezTo>
                    <a:pt x="1463" y="1"/>
                    <a:pt x="1" y="1898"/>
                    <a:pt x="1" y="4241"/>
                  </a:cubicBezTo>
                  <a:cubicBezTo>
                    <a:pt x="1" y="6574"/>
                    <a:pt x="1463" y="8471"/>
                    <a:pt x="3259" y="8471"/>
                  </a:cubicBezTo>
                  <a:cubicBezTo>
                    <a:pt x="5067" y="8471"/>
                    <a:pt x="6529" y="6574"/>
                    <a:pt x="6529" y="4241"/>
                  </a:cubicBezTo>
                  <a:cubicBezTo>
                    <a:pt x="6529" y="1898"/>
                    <a:pt x="5067" y="1"/>
                    <a:pt x="3259" y="1"/>
                  </a:cubicBezTo>
                  <a:close/>
                </a:path>
              </a:pathLst>
            </a:custGeom>
            <a:solidFill>
              <a:srgbClr val="E4F1FA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>
                <a:buClr>
                  <a:srgbClr val="000000"/>
                </a:buClr>
              </a:pPr>
              <a:endParaRPr sz="1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41" name="Google Shape;141;p24"/>
            <p:cNvSpPr/>
            <p:nvPr/>
          </p:nvSpPr>
          <p:spPr>
            <a:xfrm>
              <a:off x="5998375" y="2962525"/>
              <a:ext cx="144250" cy="186925"/>
            </a:xfrm>
            <a:custGeom>
              <a:avLst/>
              <a:gdLst/>
              <a:ahLst/>
              <a:cxnLst/>
              <a:rect l="l" t="t" r="r" b="b"/>
              <a:pathLst>
                <a:path w="5770" h="7477" extrusionOk="0">
                  <a:moveTo>
                    <a:pt x="2879" y="0"/>
                  </a:moveTo>
                  <a:cubicBezTo>
                    <a:pt x="1283" y="0"/>
                    <a:pt x="0" y="1674"/>
                    <a:pt x="0" y="3738"/>
                  </a:cubicBezTo>
                  <a:cubicBezTo>
                    <a:pt x="0" y="5803"/>
                    <a:pt x="1283" y="7477"/>
                    <a:pt x="2879" y="7477"/>
                  </a:cubicBezTo>
                  <a:cubicBezTo>
                    <a:pt x="4475" y="7477"/>
                    <a:pt x="5770" y="5803"/>
                    <a:pt x="5770" y="3738"/>
                  </a:cubicBezTo>
                  <a:cubicBezTo>
                    <a:pt x="5770" y="1674"/>
                    <a:pt x="4475" y="0"/>
                    <a:pt x="2879" y="0"/>
                  </a:cubicBezTo>
                  <a:close/>
                </a:path>
              </a:pathLst>
            </a:custGeom>
            <a:solidFill>
              <a:srgbClr val="1C4587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>
                <a:buClr>
                  <a:srgbClr val="000000"/>
                </a:buClr>
              </a:pPr>
              <a:endParaRPr sz="1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42" name="Google Shape;142;p24"/>
            <p:cNvSpPr/>
            <p:nvPr/>
          </p:nvSpPr>
          <p:spPr>
            <a:xfrm>
              <a:off x="3888100" y="2842550"/>
              <a:ext cx="553250" cy="207875"/>
            </a:xfrm>
            <a:custGeom>
              <a:avLst/>
              <a:gdLst/>
              <a:ahLst/>
              <a:cxnLst/>
              <a:rect l="l" t="t" r="r" b="b"/>
              <a:pathLst>
                <a:path w="22130" h="8315" extrusionOk="0">
                  <a:moveTo>
                    <a:pt x="1" y="0"/>
                  </a:moveTo>
                  <a:lnTo>
                    <a:pt x="1" y="0"/>
                  </a:lnTo>
                  <a:cubicBezTo>
                    <a:pt x="1306" y="436"/>
                    <a:pt x="8058" y="3315"/>
                    <a:pt x="13771" y="5770"/>
                  </a:cubicBezTo>
                  <a:cubicBezTo>
                    <a:pt x="16037" y="6741"/>
                    <a:pt x="18135" y="7645"/>
                    <a:pt x="19664" y="8314"/>
                  </a:cubicBezTo>
                  <a:lnTo>
                    <a:pt x="21371" y="7689"/>
                  </a:lnTo>
                  <a:lnTo>
                    <a:pt x="22130" y="7410"/>
                  </a:lnTo>
                  <a:cubicBezTo>
                    <a:pt x="22130" y="7410"/>
                    <a:pt x="21661" y="7265"/>
                    <a:pt x="20869" y="6986"/>
                  </a:cubicBezTo>
                  <a:cubicBezTo>
                    <a:pt x="20835" y="6975"/>
                    <a:pt x="20802" y="6964"/>
                    <a:pt x="20768" y="6953"/>
                  </a:cubicBezTo>
                  <a:cubicBezTo>
                    <a:pt x="20702" y="6931"/>
                    <a:pt x="20635" y="6908"/>
                    <a:pt x="20568" y="6886"/>
                  </a:cubicBezTo>
                  <a:cubicBezTo>
                    <a:pt x="20423" y="6841"/>
                    <a:pt x="20277" y="6785"/>
                    <a:pt x="20132" y="6741"/>
                  </a:cubicBezTo>
                  <a:lnTo>
                    <a:pt x="18436" y="6161"/>
                  </a:lnTo>
                  <a:lnTo>
                    <a:pt x="17889" y="5982"/>
                  </a:lnTo>
                  <a:cubicBezTo>
                    <a:pt x="16718" y="5580"/>
                    <a:pt x="15378" y="5134"/>
                    <a:pt x="13984" y="4665"/>
                  </a:cubicBezTo>
                  <a:cubicBezTo>
                    <a:pt x="13247" y="4408"/>
                    <a:pt x="12488" y="4163"/>
                    <a:pt x="11729" y="3895"/>
                  </a:cubicBezTo>
                  <a:lnTo>
                    <a:pt x="11160" y="3705"/>
                  </a:lnTo>
                  <a:cubicBezTo>
                    <a:pt x="9040" y="2991"/>
                    <a:pt x="6920" y="2277"/>
                    <a:pt x="5089" y="1663"/>
                  </a:cubicBezTo>
                  <a:lnTo>
                    <a:pt x="4632" y="1507"/>
                  </a:lnTo>
                  <a:lnTo>
                    <a:pt x="3929" y="1273"/>
                  </a:lnTo>
                  <a:cubicBezTo>
                    <a:pt x="3851" y="1250"/>
                    <a:pt x="3773" y="1228"/>
                    <a:pt x="3706" y="1206"/>
                  </a:cubicBezTo>
                  <a:cubicBezTo>
                    <a:pt x="3561" y="1150"/>
                    <a:pt x="3438" y="1116"/>
                    <a:pt x="3282" y="1061"/>
                  </a:cubicBezTo>
                  <a:cubicBezTo>
                    <a:pt x="3136" y="1016"/>
                    <a:pt x="2980" y="960"/>
                    <a:pt x="2835" y="916"/>
                  </a:cubicBezTo>
                  <a:lnTo>
                    <a:pt x="1541" y="480"/>
                  </a:lnTo>
                  <a:lnTo>
                    <a:pt x="1083" y="335"/>
                  </a:lnTo>
                  <a:cubicBezTo>
                    <a:pt x="916" y="291"/>
                    <a:pt x="771" y="235"/>
                    <a:pt x="637" y="190"/>
                  </a:cubicBezTo>
                  <a:lnTo>
                    <a:pt x="514" y="157"/>
                  </a:lnTo>
                  <a:lnTo>
                    <a:pt x="324" y="90"/>
                  </a:lnTo>
                  <a:lnTo>
                    <a:pt x="168" y="45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>
                <a:buClr>
                  <a:srgbClr val="000000"/>
                </a:buClr>
              </a:pPr>
              <a:endParaRPr sz="1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43" name="Google Shape;143;p24"/>
            <p:cNvSpPr/>
            <p:nvPr/>
          </p:nvSpPr>
          <p:spPr>
            <a:xfrm>
              <a:off x="3747225" y="2834300"/>
              <a:ext cx="632475" cy="257700"/>
            </a:xfrm>
            <a:custGeom>
              <a:avLst/>
              <a:gdLst/>
              <a:ahLst/>
              <a:cxnLst/>
              <a:rect l="l" t="t" r="r" b="b"/>
              <a:pathLst>
                <a:path w="25299" h="10308" extrusionOk="0">
                  <a:moveTo>
                    <a:pt x="2465" y="0"/>
                  </a:moveTo>
                  <a:cubicBezTo>
                    <a:pt x="1223" y="0"/>
                    <a:pt x="122" y="109"/>
                    <a:pt x="34" y="286"/>
                  </a:cubicBezTo>
                  <a:cubicBezTo>
                    <a:pt x="0" y="353"/>
                    <a:pt x="993" y="888"/>
                    <a:pt x="2567" y="1681"/>
                  </a:cubicBezTo>
                  <a:cubicBezTo>
                    <a:pt x="3091" y="1937"/>
                    <a:pt x="3683" y="2228"/>
                    <a:pt x="4319" y="2540"/>
                  </a:cubicBezTo>
                  <a:lnTo>
                    <a:pt x="4397" y="2574"/>
                  </a:lnTo>
                  <a:lnTo>
                    <a:pt x="4464" y="2607"/>
                  </a:lnTo>
                  <a:cubicBezTo>
                    <a:pt x="10546" y="5575"/>
                    <a:pt x="20734" y="10307"/>
                    <a:pt x="20734" y="10307"/>
                  </a:cubicBezTo>
                  <a:lnTo>
                    <a:pt x="25299" y="8644"/>
                  </a:lnTo>
                  <a:cubicBezTo>
                    <a:pt x="23770" y="7975"/>
                    <a:pt x="21672" y="7071"/>
                    <a:pt x="19406" y="6100"/>
                  </a:cubicBezTo>
                  <a:cubicBezTo>
                    <a:pt x="19261" y="6033"/>
                    <a:pt x="19105" y="5966"/>
                    <a:pt x="18960" y="5899"/>
                  </a:cubicBezTo>
                  <a:cubicBezTo>
                    <a:pt x="18915" y="5888"/>
                    <a:pt x="18871" y="5866"/>
                    <a:pt x="18826" y="5854"/>
                  </a:cubicBezTo>
                  <a:cubicBezTo>
                    <a:pt x="13246" y="3455"/>
                    <a:pt x="6897" y="755"/>
                    <a:pt x="5636" y="330"/>
                  </a:cubicBezTo>
                  <a:cubicBezTo>
                    <a:pt x="5613" y="308"/>
                    <a:pt x="5580" y="297"/>
                    <a:pt x="5546" y="297"/>
                  </a:cubicBezTo>
                  <a:lnTo>
                    <a:pt x="5502" y="286"/>
                  </a:lnTo>
                  <a:cubicBezTo>
                    <a:pt x="4787" y="86"/>
                    <a:pt x="3570" y="0"/>
                    <a:pt x="2465" y="0"/>
                  </a:cubicBezTo>
                  <a:close/>
                </a:path>
              </a:pathLst>
            </a:custGeom>
            <a:solidFill>
              <a:srgbClr val="87B7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>
                <a:buClr>
                  <a:srgbClr val="000000"/>
                </a:buClr>
              </a:pPr>
              <a:endParaRPr sz="1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44" name="Google Shape;144;p24"/>
            <p:cNvSpPr/>
            <p:nvPr/>
          </p:nvSpPr>
          <p:spPr>
            <a:xfrm>
              <a:off x="3858800" y="2899475"/>
              <a:ext cx="520900" cy="192525"/>
            </a:xfrm>
            <a:custGeom>
              <a:avLst/>
              <a:gdLst/>
              <a:ahLst/>
              <a:cxnLst/>
              <a:rect l="l" t="t" r="r" b="b"/>
              <a:pathLst>
                <a:path w="20836" h="7701" extrusionOk="0">
                  <a:moveTo>
                    <a:pt x="1" y="0"/>
                  </a:moveTo>
                  <a:cubicBezTo>
                    <a:pt x="6083" y="2968"/>
                    <a:pt x="16271" y="7700"/>
                    <a:pt x="16271" y="7700"/>
                  </a:cubicBezTo>
                  <a:lnTo>
                    <a:pt x="20836" y="6037"/>
                  </a:lnTo>
                  <a:cubicBezTo>
                    <a:pt x="19307" y="5368"/>
                    <a:pt x="17209" y="4464"/>
                    <a:pt x="14943" y="3493"/>
                  </a:cubicBezTo>
                  <a:cubicBezTo>
                    <a:pt x="14810" y="3850"/>
                    <a:pt x="14464" y="4196"/>
                    <a:pt x="13861" y="4341"/>
                  </a:cubicBezTo>
                  <a:cubicBezTo>
                    <a:pt x="13695" y="4382"/>
                    <a:pt x="13497" y="4402"/>
                    <a:pt x="13270" y="4402"/>
                  </a:cubicBezTo>
                  <a:cubicBezTo>
                    <a:pt x="10014" y="4402"/>
                    <a:pt x="940" y="396"/>
                    <a:pt x="1" y="0"/>
                  </a:cubicBezTo>
                  <a:close/>
                </a:path>
              </a:pathLst>
            </a:custGeom>
            <a:solidFill>
              <a:srgbClr val="E4F1FA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>
                <a:buClr>
                  <a:srgbClr val="000000"/>
                </a:buClr>
              </a:pPr>
              <a:endParaRPr sz="1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45" name="Google Shape;145;p24"/>
            <p:cNvSpPr/>
            <p:nvPr/>
          </p:nvSpPr>
          <p:spPr>
            <a:xfrm>
              <a:off x="3811375" y="2876300"/>
              <a:ext cx="409875" cy="121675"/>
            </a:xfrm>
            <a:custGeom>
              <a:avLst/>
              <a:gdLst/>
              <a:ahLst/>
              <a:cxnLst/>
              <a:rect l="l" t="t" r="r" b="b"/>
              <a:pathLst>
                <a:path w="16395" h="4867" extrusionOk="0">
                  <a:moveTo>
                    <a:pt x="1" y="1"/>
                  </a:moveTo>
                  <a:lnTo>
                    <a:pt x="1" y="1"/>
                  </a:lnTo>
                  <a:cubicBezTo>
                    <a:pt x="525" y="257"/>
                    <a:pt x="1106" y="548"/>
                    <a:pt x="1742" y="860"/>
                  </a:cubicBezTo>
                  <a:cubicBezTo>
                    <a:pt x="2043" y="983"/>
                    <a:pt x="2333" y="1094"/>
                    <a:pt x="2634" y="1206"/>
                  </a:cubicBezTo>
                  <a:cubicBezTo>
                    <a:pt x="4331" y="1876"/>
                    <a:pt x="6038" y="2478"/>
                    <a:pt x="7757" y="3070"/>
                  </a:cubicBezTo>
                  <a:cubicBezTo>
                    <a:pt x="9475" y="3639"/>
                    <a:pt x="11216" y="4197"/>
                    <a:pt x="12990" y="4598"/>
                  </a:cubicBezTo>
                  <a:cubicBezTo>
                    <a:pt x="13437" y="4699"/>
                    <a:pt x="13894" y="4777"/>
                    <a:pt x="14352" y="4833"/>
                  </a:cubicBezTo>
                  <a:cubicBezTo>
                    <a:pt x="14575" y="4855"/>
                    <a:pt x="14809" y="4866"/>
                    <a:pt x="15044" y="4866"/>
                  </a:cubicBezTo>
                  <a:cubicBezTo>
                    <a:pt x="15289" y="4866"/>
                    <a:pt x="15524" y="4811"/>
                    <a:pt x="15747" y="4710"/>
                  </a:cubicBezTo>
                  <a:cubicBezTo>
                    <a:pt x="15992" y="4610"/>
                    <a:pt x="16216" y="4442"/>
                    <a:pt x="16394" y="4219"/>
                  </a:cubicBezTo>
                  <a:cubicBezTo>
                    <a:pt x="16349" y="4208"/>
                    <a:pt x="16305" y="4186"/>
                    <a:pt x="16260" y="4174"/>
                  </a:cubicBezTo>
                  <a:cubicBezTo>
                    <a:pt x="16093" y="4342"/>
                    <a:pt x="15892" y="4476"/>
                    <a:pt x="15669" y="4554"/>
                  </a:cubicBezTo>
                  <a:cubicBezTo>
                    <a:pt x="15459" y="4647"/>
                    <a:pt x="15236" y="4680"/>
                    <a:pt x="15008" y="4680"/>
                  </a:cubicBezTo>
                  <a:cubicBezTo>
                    <a:pt x="14800" y="4680"/>
                    <a:pt x="14587" y="4653"/>
                    <a:pt x="14374" y="4621"/>
                  </a:cubicBezTo>
                  <a:cubicBezTo>
                    <a:pt x="13928" y="4543"/>
                    <a:pt x="13493" y="4442"/>
                    <a:pt x="13057" y="4342"/>
                  </a:cubicBezTo>
                  <a:cubicBezTo>
                    <a:pt x="11305" y="3907"/>
                    <a:pt x="9587" y="3326"/>
                    <a:pt x="7857" y="2757"/>
                  </a:cubicBezTo>
                  <a:cubicBezTo>
                    <a:pt x="6139" y="2199"/>
                    <a:pt x="4431" y="1574"/>
                    <a:pt x="2724" y="972"/>
                  </a:cubicBezTo>
                  <a:lnTo>
                    <a:pt x="1" y="1"/>
                  </a:lnTo>
                  <a:close/>
                </a:path>
              </a:pathLst>
            </a:custGeom>
            <a:solidFill>
              <a:srgbClr val="E4F1FA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>
                <a:buClr>
                  <a:srgbClr val="000000"/>
                </a:buClr>
              </a:pPr>
              <a:endParaRPr sz="1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46" name="Google Shape;146;p24"/>
            <p:cNvSpPr/>
            <p:nvPr/>
          </p:nvSpPr>
          <p:spPr>
            <a:xfrm>
              <a:off x="4396425" y="2379600"/>
              <a:ext cx="276775" cy="641250"/>
            </a:xfrm>
            <a:custGeom>
              <a:avLst/>
              <a:gdLst/>
              <a:ahLst/>
              <a:cxnLst/>
              <a:rect l="l" t="t" r="r" b="b"/>
              <a:pathLst>
                <a:path w="11071" h="25650" extrusionOk="0">
                  <a:moveTo>
                    <a:pt x="956" y="1"/>
                  </a:moveTo>
                  <a:cubicBezTo>
                    <a:pt x="505" y="1"/>
                    <a:pt x="306" y="796"/>
                    <a:pt x="279" y="2996"/>
                  </a:cubicBezTo>
                  <a:cubicBezTo>
                    <a:pt x="268" y="3844"/>
                    <a:pt x="235" y="5730"/>
                    <a:pt x="212" y="8073"/>
                  </a:cubicBezTo>
                  <a:lnTo>
                    <a:pt x="212" y="8631"/>
                  </a:lnTo>
                  <a:cubicBezTo>
                    <a:pt x="201" y="8854"/>
                    <a:pt x="201" y="9089"/>
                    <a:pt x="201" y="9323"/>
                  </a:cubicBezTo>
                  <a:cubicBezTo>
                    <a:pt x="112" y="16153"/>
                    <a:pt x="0" y="25649"/>
                    <a:pt x="0" y="25649"/>
                  </a:cubicBezTo>
                  <a:lnTo>
                    <a:pt x="11070" y="20326"/>
                  </a:lnTo>
                  <a:cubicBezTo>
                    <a:pt x="11070" y="20326"/>
                    <a:pt x="10725" y="18965"/>
                    <a:pt x="10211" y="17034"/>
                  </a:cubicBezTo>
                  <a:cubicBezTo>
                    <a:pt x="10155" y="16800"/>
                    <a:pt x="10077" y="16554"/>
                    <a:pt x="10010" y="16309"/>
                  </a:cubicBezTo>
                  <a:cubicBezTo>
                    <a:pt x="10010" y="16264"/>
                    <a:pt x="9999" y="16231"/>
                    <a:pt x="9988" y="16197"/>
                  </a:cubicBezTo>
                  <a:cubicBezTo>
                    <a:pt x="8839" y="11912"/>
                    <a:pt x="7075" y="5674"/>
                    <a:pt x="6272" y="4647"/>
                  </a:cubicBezTo>
                  <a:cubicBezTo>
                    <a:pt x="5301" y="3397"/>
                    <a:pt x="2065" y="585"/>
                    <a:pt x="1339" y="139"/>
                  </a:cubicBezTo>
                  <a:cubicBezTo>
                    <a:pt x="1195" y="50"/>
                    <a:pt x="1068" y="1"/>
                    <a:pt x="956" y="1"/>
                  </a:cubicBezTo>
                  <a:close/>
                </a:path>
              </a:pathLst>
            </a:custGeom>
            <a:solidFill>
              <a:srgbClr val="87B7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>
                <a:buClr>
                  <a:srgbClr val="000000"/>
                </a:buClr>
              </a:pPr>
              <a:endParaRPr sz="1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47" name="Google Shape;147;p24"/>
            <p:cNvSpPr/>
            <p:nvPr/>
          </p:nvSpPr>
          <p:spPr>
            <a:xfrm>
              <a:off x="4396425" y="2612675"/>
              <a:ext cx="276775" cy="408175"/>
            </a:xfrm>
            <a:custGeom>
              <a:avLst/>
              <a:gdLst/>
              <a:ahLst/>
              <a:cxnLst/>
              <a:rect l="l" t="t" r="r" b="b"/>
              <a:pathLst>
                <a:path w="11071" h="16327" extrusionOk="0">
                  <a:moveTo>
                    <a:pt x="201" y="0"/>
                  </a:moveTo>
                  <a:cubicBezTo>
                    <a:pt x="112" y="6830"/>
                    <a:pt x="0" y="16326"/>
                    <a:pt x="0" y="16326"/>
                  </a:cubicBezTo>
                  <a:lnTo>
                    <a:pt x="11070" y="11003"/>
                  </a:lnTo>
                  <a:cubicBezTo>
                    <a:pt x="11070" y="11003"/>
                    <a:pt x="10725" y="9642"/>
                    <a:pt x="10211" y="7711"/>
                  </a:cubicBezTo>
                  <a:cubicBezTo>
                    <a:pt x="9797" y="7783"/>
                    <a:pt x="9396" y="7817"/>
                    <a:pt x="9007" y="7817"/>
                  </a:cubicBezTo>
                  <a:cubicBezTo>
                    <a:pt x="4539" y="7817"/>
                    <a:pt x="1700" y="3347"/>
                    <a:pt x="201" y="0"/>
                  </a:cubicBezTo>
                  <a:close/>
                </a:path>
              </a:pathLst>
            </a:custGeom>
            <a:solidFill>
              <a:srgbClr val="E4F1FA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>
                <a:buClr>
                  <a:srgbClr val="000000"/>
                </a:buClr>
              </a:pPr>
              <a:endParaRPr sz="1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48" name="Google Shape;148;p24"/>
            <p:cNvSpPr/>
            <p:nvPr/>
          </p:nvSpPr>
          <p:spPr>
            <a:xfrm>
              <a:off x="4401725" y="2581425"/>
              <a:ext cx="245250" cy="207875"/>
            </a:xfrm>
            <a:custGeom>
              <a:avLst/>
              <a:gdLst/>
              <a:ahLst/>
              <a:cxnLst/>
              <a:rect l="l" t="t" r="r" b="b"/>
              <a:pathLst>
                <a:path w="9810" h="8315" extrusionOk="0">
                  <a:moveTo>
                    <a:pt x="0" y="0"/>
                  </a:moveTo>
                  <a:lnTo>
                    <a:pt x="0" y="558"/>
                  </a:lnTo>
                  <a:cubicBezTo>
                    <a:pt x="290" y="1183"/>
                    <a:pt x="625" y="1786"/>
                    <a:pt x="993" y="2377"/>
                  </a:cubicBezTo>
                  <a:cubicBezTo>
                    <a:pt x="1652" y="3493"/>
                    <a:pt x="2444" y="4531"/>
                    <a:pt x="3337" y="5468"/>
                  </a:cubicBezTo>
                  <a:cubicBezTo>
                    <a:pt x="3795" y="5937"/>
                    <a:pt x="4286" y="6372"/>
                    <a:pt x="4799" y="6774"/>
                  </a:cubicBezTo>
                  <a:cubicBezTo>
                    <a:pt x="5323" y="7165"/>
                    <a:pt x="5893" y="7499"/>
                    <a:pt x="6484" y="7778"/>
                  </a:cubicBezTo>
                  <a:cubicBezTo>
                    <a:pt x="7236" y="8134"/>
                    <a:pt x="8052" y="8314"/>
                    <a:pt x="8874" y="8314"/>
                  </a:cubicBezTo>
                  <a:cubicBezTo>
                    <a:pt x="9186" y="8314"/>
                    <a:pt x="9499" y="8288"/>
                    <a:pt x="9809" y="8236"/>
                  </a:cubicBezTo>
                  <a:cubicBezTo>
                    <a:pt x="9798" y="8202"/>
                    <a:pt x="9787" y="8158"/>
                    <a:pt x="9776" y="8124"/>
                  </a:cubicBezTo>
                  <a:cubicBezTo>
                    <a:pt x="8705" y="8113"/>
                    <a:pt x="7645" y="7834"/>
                    <a:pt x="6718" y="7298"/>
                  </a:cubicBezTo>
                  <a:cubicBezTo>
                    <a:pt x="5636" y="6685"/>
                    <a:pt x="4654" y="5915"/>
                    <a:pt x="3817" y="5000"/>
                  </a:cubicBezTo>
                  <a:cubicBezTo>
                    <a:pt x="3370" y="4553"/>
                    <a:pt x="2969" y="4073"/>
                    <a:pt x="2567" y="3594"/>
                  </a:cubicBezTo>
                  <a:cubicBezTo>
                    <a:pt x="2165" y="3103"/>
                    <a:pt x="1797" y="2600"/>
                    <a:pt x="1418" y="2087"/>
                  </a:cubicBezTo>
                  <a:cubicBezTo>
                    <a:pt x="927" y="1406"/>
                    <a:pt x="447" y="714"/>
                    <a:pt x="0" y="0"/>
                  </a:cubicBezTo>
                  <a:close/>
                </a:path>
              </a:pathLst>
            </a:custGeom>
            <a:solidFill>
              <a:srgbClr val="E4F1FA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>
                <a:buClr>
                  <a:srgbClr val="000000"/>
                </a:buClr>
              </a:pPr>
              <a:endParaRPr sz="1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49" name="Google Shape;149;p24"/>
            <p:cNvSpPr/>
            <p:nvPr/>
          </p:nvSpPr>
          <p:spPr>
            <a:xfrm>
              <a:off x="4174625" y="2238575"/>
              <a:ext cx="2467400" cy="994325"/>
            </a:xfrm>
            <a:custGeom>
              <a:avLst/>
              <a:gdLst/>
              <a:ahLst/>
              <a:cxnLst/>
              <a:rect l="l" t="t" r="r" b="b"/>
              <a:pathLst>
                <a:path w="98696" h="39773" extrusionOk="0">
                  <a:moveTo>
                    <a:pt x="83334" y="1"/>
                  </a:moveTo>
                  <a:cubicBezTo>
                    <a:pt x="81505" y="1"/>
                    <a:pt x="79637" y="224"/>
                    <a:pt x="77838" y="713"/>
                  </a:cubicBezTo>
                  <a:cubicBezTo>
                    <a:pt x="69982" y="2834"/>
                    <a:pt x="15825" y="26726"/>
                    <a:pt x="10334" y="29192"/>
                  </a:cubicBezTo>
                  <a:cubicBezTo>
                    <a:pt x="4833" y="31659"/>
                    <a:pt x="0" y="34248"/>
                    <a:pt x="1139" y="37093"/>
                  </a:cubicBezTo>
                  <a:cubicBezTo>
                    <a:pt x="1701" y="38482"/>
                    <a:pt x="4678" y="39772"/>
                    <a:pt x="16657" y="39772"/>
                  </a:cubicBezTo>
                  <a:cubicBezTo>
                    <a:pt x="16810" y="39772"/>
                    <a:pt x="16964" y="39772"/>
                    <a:pt x="17119" y="39772"/>
                  </a:cubicBezTo>
                  <a:cubicBezTo>
                    <a:pt x="28680" y="39738"/>
                    <a:pt x="49236" y="34794"/>
                    <a:pt x="53834" y="32886"/>
                  </a:cubicBezTo>
                  <a:cubicBezTo>
                    <a:pt x="88919" y="18345"/>
                    <a:pt x="98695" y="12710"/>
                    <a:pt x="96374" y="5981"/>
                  </a:cubicBezTo>
                  <a:cubicBezTo>
                    <a:pt x="95179" y="2524"/>
                    <a:pt x="89477" y="1"/>
                    <a:pt x="83334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>
                <a:buClr>
                  <a:srgbClr val="000000"/>
                </a:buClr>
              </a:pPr>
              <a:endParaRPr sz="1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50" name="Google Shape;150;p24"/>
            <p:cNvSpPr/>
            <p:nvPr/>
          </p:nvSpPr>
          <p:spPr>
            <a:xfrm>
              <a:off x="4188025" y="2238375"/>
              <a:ext cx="2454000" cy="994525"/>
            </a:xfrm>
            <a:custGeom>
              <a:avLst/>
              <a:gdLst/>
              <a:ahLst/>
              <a:cxnLst/>
              <a:rect l="l" t="t" r="r" b="b"/>
              <a:pathLst>
                <a:path w="98160" h="39781" extrusionOk="0">
                  <a:moveTo>
                    <a:pt x="82784" y="1"/>
                  </a:moveTo>
                  <a:cubicBezTo>
                    <a:pt x="81925" y="1"/>
                    <a:pt x="81057" y="50"/>
                    <a:pt x="80192" y="152"/>
                  </a:cubicBezTo>
                  <a:cubicBezTo>
                    <a:pt x="84745" y="721"/>
                    <a:pt x="88607" y="2775"/>
                    <a:pt x="89522" y="5431"/>
                  </a:cubicBezTo>
                  <a:cubicBezTo>
                    <a:pt x="91631" y="11535"/>
                    <a:pt x="79199" y="12629"/>
                    <a:pt x="47361" y="25830"/>
                  </a:cubicBezTo>
                  <a:cubicBezTo>
                    <a:pt x="43187" y="27560"/>
                    <a:pt x="28100" y="36063"/>
                    <a:pt x="17610" y="36097"/>
                  </a:cubicBezTo>
                  <a:cubicBezTo>
                    <a:pt x="17456" y="36097"/>
                    <a:pt x="17304" y="36098"/>
                    <a:pt x="17153" y="36098"/>
                  </a:cubicBezTo>
                  <a:cubicBezTo>
                    <a:pt x="6319" y="36098"/>
                    <a:pt x="3609" y="34919"/>
                    <a:pt x="3102" y="33664"/>
                  </a:cubicBezTo>
                  <a:cubicBezTo>
                    <a:pt x="2991" y="33396"/>
                    <a:pt x="2946" y="33106"/>
                    <a:pt x="2957" y="32827"/>
                  </a:cubicBezTo>
                  <a:lnTo>
                    <a:pt x="2957" y="32827"/>
                  </a:lnTo>
                  <a:cubicBezTo>
                    <a:pt x="1049" y="34189"/>
                    <a:pt x="0" y="35617"/>
                    <a:pt x="603" y="37101"/>
                  </a:cubicBezTo>
                  <a:cubicBezTo>
                    <a:pt x="1154" y="38490"/>
                    <a:pt x="4142" y="39780"/>
                    <a:pt x="16121" y="39780"/>
                  </a:cubicBezTo>
                  <a:cubicBezTo>
                    <a:pt x="16274" y="39780"/>
                    <a:pt x="16428" y="39780"/>
                    <a:pt x="16583" y="39780"/>
                  </a:cubicBezTo>
                  <a:cubicBezTo>
                    <a:pt x="28144" y="39735"/>
                    <a:pt x="48700" y="34802"/>
                    <a:pt x="53309" y="32894"/>
                  </a:cubicBezTo>
                  <a:cubicBezTo>
                    <a:pt x="88383" y="18353"/>
                    <a:pt x="98159" y="12718"/>
                    <a:pt x="95838" y="5989"/>
                  </a:cubicBezTo>
                  <a:cubicBezTo>
                    <a:pt x="94643" y="2522"/>
                    <a:pt x="88937" y="1"/>
                    <a:pt x="82784" y="1"/>
                  </a:cubicBezTo>
                  <a:close/>
                </a:path>
              </a:pathLst>
            </a:custGeom>
            <a:solidFill>
              <a:srgbClr val="87B7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>
                <a:buClr>
                  <a:srgbClr val="000000"/>
                </a:buClr>
              </a:pPr>
              <a:endParaRPr sz="1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51" name="Google Shape;151;p24"/>
            <p:cNvSpPr/>
            <p:nvPr/>
          </p:nvSpPr>
          <p:spPr>
            <a:xfrm>
              <a:off x="4632175" y="2917600"/>
              <a:ext cx="31250" cy="59175"/>
            </a:xfrm>
            <a:custGeom>
              <a:avLst/>
              <a:gdLst/>
              <a:ahLst/>
              <a:cxnLst/>
              <a:rect l="l" t="t" r="r" b="b"/>
              <a:pathLst>
                <a:path w="1250" h="2367" extrusionOk="0">
                  <a:moveTo>
                    <a:pt x="1250" y="0"/>
                  </a:moveTo>
                  <a:lnTo>
                    <a:pt x="0" y="536"/>
                  </a:lnTo>
                  <a:lnTo>
                    <a:pt x="0" y="2366"/>
                  </a:lnTo>
                  <a:lnTo>
                    <a:pt x="1250" y="1831"/>
                  </a:lnTo>
                  <a:lnTo>
                    <a:pt x="1250" y="0"/>
                  </a:lnTo>
                  <a:close/>
                </a:path>
              </a:pathLst>
            </a:custGeom>
            <a:solidFill>
              <a:srgbClr val="4A6CB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>
                <a:buClr>
                  <a:srgbClr val="000000"/>
                </a:buClr>
              </a:pPr>
              <a:endParaRPr sz="1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52" name="Google Shape;152;p24"/>
            <p:cNvSpPr/>
            <p:nvPr/>
          </p:nvSpPr>
          <p:spPr>
            <a:xfrm>
              <a:off x="4689075" y="2891925"/>
              <a:ext cx="33225" cy="60300"/>
            </a:xfrm>
            <a:custGeom>
              <a:avLst/>
              <a:gdLst/>
              <a:ahLst/>
              <a:cxnLst/>
              <a:rect l="l" t="t" r="r" b="b"/>
              <a:pathLst>
                <a:path w="1329" h="2412" extrusionOk="0">
                  <a:moveTo>
                    <a:pt x="1329" y="1"/>
                  </a:moveTo>
                  <a:lnTo>
                    <a:pt x="1" y="581"/>
                  </a:lnTo>
                  <a:lnTo>
                    <a:pt x="1" y="2411"/>
                  </a:lnTo>
                  <a:lnTo>
                    <a:pt x="1329" y="1831"/>
                  </a:lnTo>
                  <a:lnTo>
                    <a:pt x="1329" y="1"/>
                  </a:lnTo>
                  <a:close/>
                </a:path>
              </a:pathLst>
            </a:custGeom>
            <a:solidFill>
              <a:srgbClr val="4A6CB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>
                <a:buClr>
                  <a:srgbClr val="000000"/>
                </a:buClr>
              </a:pPr>
              <a:endParaRPr sz="1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53" name="Google Shape;153;p24"/>
            <p:cNvSpPr/>
            <p:nvPr/>
          </p:nvSpPr>
          <p:spPr>
            <a:xfrm>
              <a:off x="4747950" y="2866550"/>
              <a:ext cx="33225" cy="60275"/>
            </a:xfrm>
            <a:custGeom>
              <a:avLst/>
              <a:gdLst/>
              <a:ahLst/>
              <a:cxnLst/>
              <a:rect l="l" t="t" r="r" b="b"/>
              <a:pathLst>
                <a:path w="1329" h="2411" extrusionOk="0">
                  <a:moveTo>
                    <a:pt x="1328" y="0"/>
                  </a:moveTo>
                  <a:lnTo>
                    <a:pt x="0" y="580"/>
                  </a:lnTo>
                  <a:lnTo>
                    <a:pt x="0" y="2411"/>
                  </a:lnTo>
                  <a:lnTo>
                    <a:pt x="1328" y="1830"/>
                  </a:lnTo>
                  <a:lnTo>
                    <a:pt x="1328" y="0"/>
                  </a:lnTo>
                  <a:close/>
                </a:path>
              </a:pathLst>
            </a:custGeom>
            <a:solidFill>
              <a:srgbClr val="4A6CB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>
                <a:buClr>
                  <a:srgbClr val="000000"/>
                </a:buClr>
              </a:pPr>
              <a:endParaRPr sz="1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54" name="Google Shape;154;p24"/>
            <p:cNvSpPr/>
            <p:nvPr/>
          </p:nvSpPr>
          <p:spPr>
            <a:xfrm>
              <a:off x="4806800" y="2841150"/>
              <a:ext cx="33225" cy="60000"/>
            </a:xfrm>
            <a:custGeom>
              <a:avLst/>
              <a:gdLst/>
              <a:ahLst/>
              <a:cxnLst/>
              <a:rect l="l" t="t" r="r" b="b"/>
              <a:pathLst>
                <a:path w="1329" h="2400" extrusionOk="0">
                  <a:moveTo>
                    <a:pt x="1329" y="1"/>
                  </a:moveTo>
                  <a:lnTo>
                    <a:pt x="1" y="570"/>
                  </a:lnTo>
                  <a:lnTo>
                    <a:pt x="1" y="2400"/>
                  </a:lnTo>
                  <a:lnTo>
                    <a:pt x="1329" y="1831"/>
                  </a:lnTo>
                  <a:lnTo>
                    <a:pt x="1329" y="1"/>
                  </a:lnTo>
                  <a:close/>
                </a:path>
              </a:pathLst>
            </a:custGeom>
            <a:solidFill>
              <a:srgbClr val="4A6CB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>
                <a:buClr>
                  <a:srgbClr val="000000"/>
                </a:buClr>
              </a:pPr>
              <a:endParaRPr sz="1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55" name="Google Shape;155;p24"/>
            <p:cNvSpPr/>
            <p:nvPr/>
          </p:nvSpPr>
          <p:spPr>
            <a:xfrm>
              <a:off x="4865675" y="2815500"/>
              <a:ext cx="33225" cy="60275"/>
            </a:xfrm>
            <a:custGeom>
              <a:avLst/>
              <a:gdLst/>
              <a:ahLst/>
              <a:cxnLst/>
              <a:rect l="l" t="t" r="r" b="b"/>
              <a:pathLst>
                <a:path w="1329" h="2411" extrusionOk="0">
                  <a:moveTo>
                    <a:pt x="1329" y="0"/>
                  </a:moveTo>
                  <a:lnTo>
                    <a:pt x="1" y="580"/>
                  </a:lnTo>
                  <a:lnTo>
                    <a:pt x="1" y="2410"/>
                  </a:lnTo>
                  <a:lnTo>
                    <a:pt x="1329" y="1830"/>
                  </a:lnTo>
                  <a:lnTo>
                    <a:pt x="1329" y="0"/>
                  </a:lnTo>
                  <a:close/>
                </a:path>
              </a:pathLst>
            </a:custGeom>
            <a:solidFill>
              <a:srgbClr val="4A6CB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>
                <a:buClr>
                  <a:srgbClr val="000000"/>
                </a:buClr>
              </a:pPr>
              <a:endParaRPr sz="1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56" name="Google Shape;156;p24"/>
            <p:cNvSpPr/>
            <p:nvPr/>
          </p:nvSpPr>
          <p:spPr>
            <a:xfrm>
              <a:off x="4924550" y="2790100"/>
              <a:ext cx="33225" cy="60275"/>
            </a:xfrm>
            <a:custGeom>
              <a:avLst/>
              <a:gdLst/>
              <a:ahLst/>
              <a:cxnLst/>
              <a:rect l="l" t="t" r="r" b="b"/>
              <a:pathLst>
                <a:path w="1329" h="2411" extrusionOk="0">
                  <a:moveTo>
                    <a:pt x="1328" y="0"/>
                  </a:moveTo>
                  <a:lnTo>
                    <a:pt x="0" y="581"/>
                  </a:lnTo>
                  <a:lnTo>
                    <a:pt x="0" y="2411"/>
                  </a:lnTo>
                  <a:lnTo>
                    <a:pt x="1328" y="1831"/>
                  </a:lnTo>
                  <a:lnTo>
                    <a:pt x="1328" y="0"/>
                  </a:lnTo>
                  <a:close/>
                </a:path>
              </a:pathLst>
            </a:custGeom>
            <a:solidFill>
              <a:srgbClr val="4A6CB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>
                <a:buClr>
                  <a:srgbClr val="000000"/>
                </a:buClr>
              </a:pPr>
              <a:endParaRPr sz="1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57" name="Google Shape;157;p24"/>
            <p:cNvSpPr/>
            <p:nvPr/>
          </p:nvSpPr>
          <p:spPr>
            <a:xfrm>
              <a:off x="4983400" y="2764700"/>
              <a:ext cx="33225" cy="60025"/>
            </a:xfrm>
            <a:custGeom>
              <a:avLst/>
              <a:gdLst/>
              <a:ahLst/>
              <a:cxnLst/>
              <a:rect l="l" t="t" r="r" b="b"/>
              <a:pathLst>
                <a:path w="1329" h="2401" extrusionOk="0">
                  <a:moveTo>
                    <a:pt x="1329" y="1"/>
                  </a:moveTo>
                  <a:lnTo>
                    <a:pt x="1" y="570"/>
                  </a:lnTo>
                  <a:lnTo>
                    <a:pt x="1" y="2400"/>
                  </a:lnTo>
                  <a:lnTo>
                    <a:pt x="1329" y="1831"/>
                  </a:lnTo>
                  <a:lnTo>
                    <a:pt x="1329" y="1"/>
                  </a:lnTo>
                  <a:close/>
                </a:path>
              </a:pathLst>
            </a:custGeom>
            <a:solidFill>
              <a:srgbClr val="4A6CB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>
                <a:buClr>
                  <a:srgbClr val="000000"/>
                </a:buClr>
              </a:pPr>
              <a:endParaRPr sz="1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58" name="Google Shape;158;p24"/>
            <p:cNvSpPr/>
            <p:nvPr/>
          </p:nvSpPr>
          <p:spPr>
            <a:xfrm>
              <a:off x="5042275" y="2739050"/>
              <a:ext cx="33225" cy="60275"/>
            </a:xfrm>
            <a:custGeom>
              <a:avLst/>
              <a:gdLst/>
              <a:ahLst/>
              <a:cxnLst/>
              <a:rect l="l" t="t" r="r" b="b"/>
              <a:pathLst>
                <a:path w="1329" h="2411" extrusionOk="0">
                  <a:moveTo>
                    <a:pt x="1328" y="0"/>
                  </a:moveTo>
                  <a:lnTo>
                    <a:pt x="0" y="581"/>
                  </a:lnTo>
                  <a:lnTo>
                    <a:pt x="0" y="2411"/>
                  </a:lnTo>
                  <a:lnTo>
                    <a:pt x="1328" y="1830"/>
                  </a:lnTo>
                  <a:lnTo>
                    <a:pt x="1328" y="0"/>
                  </a:lnTo>
                  <a:close/>
                </a:path>
              </a:pathLst>
            </a:custGeom>
            <a:solidFill>
              <a:srgbClr val="4A6CB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>
                <a:buClr>
                  <a:srgbClr val="000000"/>
                </a:buClr>
              </a:pPr>
              <a:endParaRPr sz="1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59" name="Google Shape;159;p24"/>
            <p:cNvSpPr/>
            <p:nvPr/>
          </p:nvSpPr>
          <p:spPr>
            <a:xfrm>
              <a:off x="5101150" y="2713650"/>
              <a:ext cx="33225" cy="60300"/>
            </a:xfrm>
            <a:custGeom>
              <a:avLst/>
              <a:gdLst/>
              <a:ahLst/>
              <a:cxnLst/>
              <a:rect l="l" t="t" r="r" b="b"/>
              <a:pathLst>
                <a:path w="1329" h="2412" extrusionOk="0">
                  <a:moveTo>
                    <a:pt x="1328" y="1"/>
                  </a:moveTo>
                  <a:lnTo>
                    <a:pt x="0" y="581"/>
                  </a:lnTo>
                  <a:lnTo>
                    <a:pt x="0" y="2411"/>
                  </a:lnTo>
                  <a:lnTo>
                    <a:pt x="1328" y="1831"/>
                  </a:lnTo>
                  <a:lnTo>
                    <a:pt x="1328" y="1"/>
                  </a:lnTo>
                  <a:close/>
                </a:path>
              </a:pathLst>
            </a:custGeom>
            <a:solidFill>
              <a:srgbClr val="4A6CB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>
                <a:buClr>
                  <a:srgbClr val="000000"/>
                </a:buClr>
              </a:pPr>
              <a:endParaRPr sz="1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60" name="Google Shape;160;p24"/>
            <p:cNvSpPr/>
            <p:nvPr/>
          </p:nvSpPr>
          <p:spPr>
            <a:xfrm>
              <a:off x="5160000" y="2688275"/>
              <a:ext cx="33225" cy="60000"/>
            </a:xfrm>
            <a:custGeom>
              <a:avLst/>
              <a:gdLst/>
              <a:ahLst/>
              <a:cxnLst/>
              <a:rect l="l" t="t" r="r" b="b"/>
              <a:pathLst>
                <a:path w="1329" h="2400" extrusionOk="0">
                  <a:moveTo>
                    <a:pt x="1329" y="0"/>
                  </a:moveTo>
                  <a:lnTo>
                    <a:pt x="1" y="569"/>
                  </a:lnTo>
                  <a:lnTo>
                    <a:pt x="1" y="2400"/>
                  </a:lnTo>
                  <a:lnTo>
                    <a:pt x="1329" y="1830"/>
                  </a:lnTo>
                  <a:lnTo>
                    <a:pt x="1329" y="0"/>
                  </a:lnTo>
                  <a:close/>
                </a:path>
              </a:pathLst>
            </a:custGeom>
            <a:solidFill>
              <a:srgbClr val="4A6CB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>
                <a:buClr>
                  <a:srgbClr val="000000"/>
                </a:buClr>
              </a:pPr>
              <a:endParaRPr sz="1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61" name="Google Shape;161;p24"/>
            <p:cNvSpPr/>
            <p:nvPr/>
          </p:nvSpPr>
          <p:spPr>
            <a:xfrm>
              <a:off x="5218875" y="2662600"/>
              <a:ext cx="33225" cy="60300"/>
            </a:xfrm>
            <a:custGeom>
              <a:avLst/>
              <a:gdLst/>
              <a:ahLst/>
              <a:cxnLst/>
              <a:rect l="l" t="t" r="r" b="b"/>
              <a:pathLst>
                <a:path w="1329" h="2412" extrusionOk="0">
                  <a:moveTo>
                    <a:pt x="1328" y="1"/>
                  </a:moveTo>
                  <a:lnTo>
                    <a:pt x="0" y="581"/>
                  </a:lnTo>
                  <a:lnTo>
                    <a:pt x="0" y="2411"/>
                  </a:lnTo>
                  <a:lnTo>
                    <a:pt x="1328" y="1831"/>
                  </a:lnTo>
                  <a:lnTo>
                    <a:pt x="1328" y="1"/>
                  </a:lnTo>
                  <a:close/>
                </a:path>
              </a:pathLst>
            </a:custGeom>
            <a:solidFill>
              <a:srgbClr val="4A6CB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>
                <a:buClr>
                  <a:srgbClr val="000000"/>
                </a:buClr>
              </a:pPr>
              <a:endParaRPr sz="1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62" name="Google Shape;162;p24"/>
            <p:cNvSpPr/>
            <p:nvPr/>
          </p:nvSpPr>
          <p:spPr>
            <a:xfrm>
              <a:off x="5277750" y="2637225"/>
              <a:ext cx="33225" cy="60000"/>
            </a:xfrm>
            <a:custGeom>
              <a:avLst/>
              <a:gdLst/>
              <a:ahLst/>
              <a:cxnLst/>
              <a:rect l="l" t="t" r="r" b="b"/>
              <a:pathLst>
                <a:path w="1329" h="2400" extrusionOk="0">
                  <a:moveTo>
                    <a:pt x="1328" y="0"/>
                  </a:moveTo>
                  <a:lnTo>
                    <a:pt x="0" y="569"/>
                  </a:lnTo>
                  <a:lnTo>
                    <a:pt x="0" y="2399"/>
                  </a:lnTo>
                  <a:lnTo>
                    <a:pt x="1328" y="1830"/>
                  </a:lnTo>
                  <a:lnTo>
                    <a:pt x="1328" y="0"/>
                  </a:lnTo>
                  <a:close/>
                </a:path>
              </a:pathLst>
            </a:custGeom>
            <a:solidFill>
              <a:srgbClr val="4A6CB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>
                <a:buClr>
                  <a:srgbClr val="000000"/>
                </a:buClr>
              </a:pPr>
              <a:endParaRPr sz="1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63" name="Google Shape;163;p24"/>
            <p:cNvSpPr/>
            <p:nvPr/>
          </p:nvSpPr>
          <p:spPr>
            <a:xfrm>
              <a:off x="5336600" y="2611825"/>
              <a:ext cx="33225" cy="60000"/>
            </a:xfrm>
            <a:custGeom>
              <a:avLst/>
              <a:gdLst/>
              <a:ahLst/>
              <a:cxnLst/>
              <a:rect l="l" t="t" r="r" b="b"/>
              <a:pathLst>
                <a:path w="1329" h="2400" extrusionOk="0">
                  <a:moveTo>
                    <a:pt x="1329" y="1"/>
                  </a:moveTo>
                  <a:lnTo>
                    <a:pt x="1" y="570"/>
                  </a:lnTo>
                  <a:lnTo>
                    <a:pt x="1" y="2400"/>
                  </a:lnTo>
                  <a:lnTo>
                    <a:pt x="1329" y="1831"/>
                  </a:lnTo>
                  <a:lnTo>
                    <a:pt x="1329" y="1"/>
                  </a:lnTo>
                  <a:close/>
                </a:path>
              </a:pathLst>
            </a:custGeom>
            <a:solidFill>
              <a:srgbClr val="4A6CB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>
                <a:buClr>
                  <a:srgbClr val="000000"/>
                </a:buClr>
              </a:pPr>
              <a:endParaRPr sz="1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64" name="Google Shape;164;p24"/>
            <p:cNvSpPr/>
            <p:nvPr/>
          </p:nvSpPr>
          <p:spPr>
            <a:xfrm>
              <a:off x="5395475" y="2586150"/>
              <a:ext cx="33225" cy="60300"/>
            </a:xfrm>
            <a:custGeom>
              <a:avLst/>
              <a:gdLst/>
              <a:ahLst/>
              <a:cxnLst/>
              <a:rect l="l" t="t" r="r" b="b"/>
              <a:pathLst>
                <a:path w="1329" h="2412" extrusionOk="0">
                  <a:moveTo>
                    <a:pt x="1328" y="1"/>
                  </a:moveTo>
                  <a:lnTo>
                    <a:pt x="0" y="581"/>
                  </a:lnTo>
                  <a:lnTo>
                    <a:pt x="0" y="2411"/>
                  </a:lnTo>
                  <a:lnTo>
                    <a:pt x="1328" y="1831"/>
                  </a:lnTo>
                  <a:lnTo>
                    <a:pt x="1328" y="1"/>
                  </a:lnTo>
                  <a:close/>
                </a:path>
              </a:pathLst>
            </a:custGeom>
            <a:solidFill>
              <a:srgbClr val="4A6CB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>
                <a:buClr>
                  <a:srgbClr val="000000"/>
                </a:buClr>
              </a:pPr>
              <a:endParaRPr sz="1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65" name="Google Shape;165;p24"/>
            <p:cNvSpPr/>
            <p:nvPr/>
          </p:nvSpPr>
          <p:spPr>
            <a:xfrm>
              <a:off x="5454350" y="2560775"/>
              <a:ext cx="33225" cy="60000"/>
            </a:xfrm>
            <a:custGeom>
              <a:avLst/>
              <a:gdLst/>
              <a:ahLst/>
              <a:cxnLst/>
              <a:rect l="l" t="t" r="r" b="b"/>
              <a:pathLst>
                <a:path w="1329" h="2400" extrusionOk="0">
                  <a:moveTo>
                    <a:pt x="1328" y="0"/>
                  </a:moveTo>
                  <a:lnTo>
                    <a:pt x="0" y="570"/>
                  </a:lnTo>
                  <a:lnTo>
                    <a:pt x="0" y="2400"/>
                  </a:lnTo>
                  <a:lnTo>
                    <a:pt x="1328" y="1831"/>
                  </a:lnTo>
                  <a:lnTo>
                    <a:pt x="1328" y="0"/>
                  </a:lnTo>
                  <a:close/>
                </a:path>
              </a:pathLst>
            </a:custGeom>
            <a:solidFill>
              <a:srgbClr val="4A6CB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>
                <a:buClr>
                  <a:srgbClr val="000000"/>
                </a:buClr>
              </a:pPr>
              <a:endParaRPr sz="1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66" name="Google Shape;166;p24"/>
            <p:cNvSpPr/>
            <p:nvPr/>
          </p:nvSpPr>
          <p:spPr>
            <a:xfrm>
              <a:off x="5513200" y="2535375"/>
              <a:ext cx="33225" cy="60025"/>
            </a:xfrm>
            <a:custGeom>
              <a:avLst/>
              <a:gdLst/>
              <a:ahLst/>
              <a:cxnLst/>
              <a:rect l="l" t="t" r="r" b="b"/>
              <a:pathLst>
                <a:path w="1329" h="2401" extrusionOk="0">
                  <a:moveTo>
                    <a:pt x="1329" y="1"/>
                  </a:moveTo>
                  <a:lnTo>
                    <a:pt x="1" y="570"/>
                  </a:lnTo>
                  <a:lnTo>
                    <a:pt x="1" y="2400"/>
                  </a:lnTo>
                  <a:lnTo>
                    <a:pt x="1329" y="1831"/>
                  </a:lnTo>
                  <a:lnTo>
                    <a:pt x="1329" y="1"/>
                  </a:lnTo>
                  <a:close/>
                </a:path>
              </a:pathLst>
            </a:custGeom>
            <a:solidFill>
              <a:srgbClr val="4A6CB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>
                <a:buClr>
                  <a:srgbClr val="000000"/>
                </a:buClr>
              </a:pPr>
              <a:endParaRPr sz="1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67" name="Google Shape;167;p24"/>
            <p:cNvSpPr/>
            <p:nvPr/>
          </p:nvSpPr>
          <p:spPr>
            <a:xfrm>
              <a:off x="5572075" y="2509725"/>
              <a:ext cx="33225" cy="60275"/>
            </a:xfrm>
            <a:custGeom>
              <a:avLst/>
              <a:gdLst/>
              <a:ahLst/>
              <a:cxnLst/>
              <a:rect l="l" t="t" r="r" b="b"/>
              <a:pathLst>
                <a:path w="1329" h="2411" extrusionOk="0">
                  <a:moveTo>
                    <a:pt x="1328" y="0"/>
                  </a:moveTo>
                  <a:lnTo>
                    <a:pt x="0" y="581"/>
                  </a:lnTo>
                  <a:lnTo>
                    <a:pt x="0" y="2411"/>
                  </a:lnTo>
                  <a:lnTo>
                    <a:pt x="1328" y="1830"/>
                  </a:lnTo>
                  <a:lnTo>
                    <a:pt x="1328" y="0"/>
                  </a:lnTo>
                  <a:close/>
                </a:path>
              </a:pathLst>
            </a:custGeom>
            <a:solidFill>
              <a:srgbClr val="4A6CB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>
                <a:buClr>
                  <a:srgbClr val="000000"/>
                </a:buClr>
              </a:pPr>
              <a:endParaRPr sz="1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68" name="Google Shape;168;p24"/>
            <p:cNvSpPr/>
            <p:nvPr/>
          </p:nvSpPr>
          <p:spPr>
            <a:xfrm>
              <a:off x="5630950" y="2484325"/>
              <a:ext cx="33200" cy="60000"/>
            </a:xfrm>
            <a:custGeom>
              <a:avLst/>
              <a:gdLst/>
              <a:ahLst/>
              <a:cxnLst/>
              <a:rect l="l" t="t" r="r" b="b"/>
              <a:pathLst>
                <a:path w="1328" h="2400" extrusionOk="0">
                  <a:moveTo>
                    <a:pt x="1328" y="1"/>
                  </a:moveTo>
                  <a:lnTo>
                    <a:pt x="0" y="570"/>
                  </a:lnTo>
                  <a:lnTo>
                    <a:pt x="0" y="2400"/>
                  </a:lnTo>
                  <a:lnTo>
                    <a:pt x="1328" y="1831"/>
                  </a:lnTo>
                  <a:lnTo>
                    <a:pt x="1328" y="1"/>
                  </a:lnTo>
                  <a:close/>
                </a:path>
              </a:pathLst>
            </a:custGeom>
            <a:solidFill>
              <a:srgbClr val="4A6CB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>
                <a:buClr>
                  <a:srgbClr val="000000"/>
                </a:buClr>
              </a:pPr>
              <a:endParaRPr sz="1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69" name="Google Shape;169;p24"/>
            <p:cNvSpPr/>
            <p:nvPr/>
          </p:nvSpPr>
          <p:spPr>
            <a:xfrm>
              <a:off x="5689800" y="2458950"/>
              <a:ext cx="33225" cy="60000"/>
            </a:xfrm>
            <a:custGeom>
              <a:avLst/>
              <a:gdLst/>
              <a:ahLst/>
              <a:cxnLst/>
              <a:rect l="l" t="t" r="r" b="b"/>
              <a:pathLst>
                <a:path w="1329" h="2400" extrusionOk="0">
                  <a:moveTo>
                    <a:pt x="1329" y="0"/>
                  </a:moveTo>
                  <a:lnTo>
                    <a:pt x="1" y="569"/>
                  </a:lnTo>
                  <a:lnTo>
                    <a:pt x="1" y="2399"/>
                  </a:lnTo>
                  <a:lnTo>
                    <a:pt x="1329" y="1830"/>
                  </a:lnTo>
                  <a:lnTo>
                    <a:pt x="1329" y="0"/>
                  </a:lnTo>
                  <a:close/>
                </a:path>
              </a:pathLst>
            </a:custGeom>
            <a:solidFill>
              <a:srgbClr val="4A6CB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>
                <a:buClr>
                  <a:srgbClr val="000000"/>
                </a:buClr>
              </a:pPr>
              <a:endParaRPr sz="1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70" name="Google Shape;170;p24"/>
            <p:cNvSpPr/>
            <p:nvPr/>
          </p:nvSpPr>
          <p:spPr>
            <a:xfrm>
              <a:off x="5748675" y="2433275"/>
              <a:ext cx="33225" cy="60275"/>
            </a:xfrm>
            <a:custGeom>
              <a:avLst/>
              <a:gdLst/>
              <a:ahLst/>
              <a:cxnLst/>
              <a:rect l="l" t="t" r="r" b="b"/>
              <a:pathLst>
                <a:path w="1329" h="2411" extrusionOk="0">
                  <a:moveTo>
                    <a:pt x="1328" y="1"/>
                  </a:moveTo>
                  <a:lnTo>
                    <a:pt x="0" y="581"/>
                  </a:lnTo>
                  <a:lnTo>
                    <a:pt x="0" y="2411"/>
                  </a:lnTo>
                  <a:lnTo>
                    <a:pt x="1328" y="1831"/>
                  </a:lnTo>
                  <a:lnTo>
                    <a:pt x="1328" y="1"/>
                  </a:lnTo>
                  <a:close/>
                </a:path>
              </a:pathLst>
            </a:custGeom>
            <a:solidFill>
              <a:srgbClr val="4A6CB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>
                <a:buClr>
                  <a:srgbClr val="000000"/>
                </a:buClr>
              </a:pPr>
              <a:endParaRPr sz="1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71" name="Google Shape;171;p24"/>
            <p:cNvSpPr/>
            <p:nvPr/>
          </p:nvSpPr>
          <p:spPr>
            <a:xfrm>
              <a:off x="5807525" y="2407900"/>
              <a:ext cx="33225" cy="60000"/>
            </a:xfrm>
            <a:custGeom>
              <a:avLst/>
              <a:gdLst/>
              <a:ahLst/>
              <a:cxnLst/>
              <a:rect l="l" t="t" r="r" b="b"/>
              <a:pathLst>
                <a:path w="1329" h="2400" extrusionOk="0">
                  <a:moveTo>
                    <a:pt x="1329" y="0"/>
                  </a:moveTo>
                  <a:lnTo>
                    <a:pt x="1" y="569"/>
                  </a:lnTo>
                  <a:lnTo>
                    <a:pt x="1" y="2399"/>
                  </a:lnTo>
                  <a:lnTo>
                    <a:pt x="1329" y="1830"/>
                  </a:lnTo>
                  <a:lnTo>
                    <a:pt x="1329" y="0"/>
                  </a:lnTo>
                  <a:close/>
                </a:path>
              </a:pathLst>
            </a:custGeom>
            <a:solidFill>
              <a:srgbClr val="4A6CB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>
                <a:buClr>
                  <a:srgbClr val="000000"/>
                </a:buClr>
              </a:pPr>
              <a:endParaRPr sz="1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72" name="Google Shape;172;p24"/>
            <p:cNvSpPr/>
            <p:nvPr/>
          </p:nvSpPr>
          <p:spPr>
            <a:xfrm>
              <a:off x="5866400" y="2382500"/>
              <a:ext cx="33225" cy="60000"/>
            </a:xfrm>
            <a:custGeom>
              <a:avLst/>
              <a:gdLst/>
              <a:ahLst/>
              <a:cxnLst/>
              <a:rect l="l" t="t" r="r" b="b"/>
              <a:pathLst>
                <a:path w="1329" h="2400" extrusionOk="0">
                  <a:moveTo>
                    <a:pt x="1329" y="0"/>
                  </a:moveTo>
                  <a:lnTo>
                    <a:pt x="1" y="570"/>
                  </a:lnTo>
                  <a:lnTo>
                    <a:pt x="1" y="2400"/>
                  </a:lnTo>
                  <a:lnTo>
                    <a:pt x="1329" y="1831"/>
                  </a:lnTo>
                  <a:lnTo>
                    <a:pt x="1329" y="0"/>
                  </a:lnTo>
                  <a:close/>
                </a:path>
              </a:pathLst>
            </a:custGeom>
            <a:solidFill>
              <a:srgbClr val="4A6CB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>
                <a:buClr>
                  <a:srgbClr val="000000"/>
                </a:buClr>
              </a:pPr>
              <a:endParaRPr sz="1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73" name="Google Shape;173;p24"/>
            <p:cNvSpPr/>
            <p:nvPr/>
          </p:nvSpPr>
          <p:spPr>
            <a:xfrm>
              <a:off x="5925275" y="2356825"/>
              <a:ext cx="33225" cy="60300"/>
            </a:xfrm>
            <a:custGeom>
              <a:avLst/>
              <a:gdLst/>
              <a:ahLst/>
              <a:cxnLst/>
              <a:rect l="l" t="t" r="r" b="b"/>
              <a:pathLst>
                <a:path w="1329" h="2412" extrusionOk="0">
                  <a:moveTo>
                    <a:pt x="1328" y="1"/>
                  </a:moveTo>
                  <a:lnTo>
                    <a:pt x="0" y="581"/>
                  </a:lnTo>
                  <a:lnTo>
                    <a:pt x="0" y="2411"/>
                  </a:lnTo>
                  <a:lnTo>
                    <a:pt x="1328" y="1831"/>
                  </a:lnTo>
                  <a:lnTo>
                    <a:pt x="1328" y="1"/>
                  </a:lnTo>
                  <a:close/>
                </a:path>
              </a:pathLst>
            </a:custGeom>
            <a:solidFill>
              <a:srgbClr val="4A6CB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>
                <a:buClr>
                  <a:srgbClr val="000000"/>
                </a:buClr>
              </a:pPr>
              <a:endParaRPr sz="1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74" name="Google Shape;174;p24"/>
            <p:cNvSpPr/>
            <p:nvPr/>
          </p:nvSpPr>
          <p:spPr>
            <a:xfrm>
              <a:off x="5984125" y="2331450"/>
              <a:ext cx="33225" cy="60000"/>
            </a:xfrm>
            <a:custGeom>
              <a:avLst/>
              <a:gdLst/>
              <a:ahLst/>
              <a:cxnLst/>
              <a:rect l="l" t="t" r="r" b="b"/>
              <a:pathLst>
                <a:path w="1329" h="2400" extrusionOk="0">
                  <a:moveTo>
                    <a:pt x="1329" y="0"/>
                  </a:moveTo>
                  <a:lnTo>
                    <a:pt x="1" y="569"/>
                  </a:lnTo>
                  <a:lnTo>
                    <a:pt x="1" y="2400"/>
                  </a:lnTo>
                  <a:lnTo>
                    <a:pt x="1329" y="1830"/>
                  </a:lnTo>
                  <a:lnTo>
                    <a:pt x="1329" y="0"/>
                  </a:lnTo>
                  <a:close/>
                </a:path>
              </a:pathLst>
            </a:custGeom>
            <a:solidFill>
              <a:srgbClr val="4A6CB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>
                <a:buClr>
                  <a:srgbClr val="000000"/>
                </a:buClr>
              </a:pPr>
              <a:endParaRPr sz="1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75" name="Google Shape;175;p24"/>
            <p:cNvSpPr/>
            <p:nvPr/>
          </p:nvSpPr>
          <p:spPr>
            <a:xfrm>
              <a:off x="6043000" y="2306050"/>
              <a:ext cx="33225" cy="60025"/>
            </a:xfrm>
            <a:custGeom>
              <a:avLst/>
              <a:gdLst/>
              <a:ahLst/>
              <a:cxnLst/>
              <a:rect l="l" t="t" r="r" b="b"/>
              <a:pathLst>
                <a:path w="1329" h="2401" extrusionOk="0">
                  <a:moveTo>
                    <a:pt x="1329" y="1"/>
                  </a:moveTo>
                  <a:lnTo>
                    <a:pt x="1" y="570"/>
                  </a:lnTo>
                  <a:lnTo>
                    <a:pt x="1" y="2400"/>
                  </a:lnTo>
                  <a:lnTo>
                    <a:pt x="1329" y="1831"/>
                  </a:lnTo>
                  <a:lnTo>
                    <a:pt x="1329" y="1"/>
                  </a:lnTo>
                  <a:close/>
                </a:path>
              </a:pathLst>
            </a:custGeom>
            <a:solidFill>
              <a:srgbClr val="4A6CB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>
                <a:buClr>
                  <a:srgbClr val="000000"/>
                </a:buClr>
              </a:pPr>
              <a:endParaRPr sz="1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76" name="Google Shape;176;p24"/>
            <p:cNvSpPr/>
            <p:nvPr/>
          </p:nvSpPr>
          <p:spPr>
            <a:xfrm>
              <a:off x="6230200" y="2258350"/>
              <a:ext cx="61675" cy="30425"/>
            </a:xfrm>
            <a:custGeom>
              <a:avLst/>
              <a:gdLst/>
              <a:ahLst/>
              <a:cxnLst/>
              <a:rect l="l" t="t" r="r" b="b"/>
              <a:pathLst>
                <a:path w="2467" h="1217" extrusionOk="0">
                  <a:moveTo>
                    <a:pt x="2467" y="1"/>
                  </a:moveTo>
                  <a:cubicBezTo>
                    <a:pt x="1574" y="213"/>
                    <a:pt x="726" y="603"/>
                    <a:pt x="1" y="1150"/>
                  </a:cubicBezTo>
                  <a:cubicBezTo>
                    <a:pt x="860" y="1172"/>
                    <a:pt x="1675" y="1195"/>
                    <a:pt x="2467" y="1217"/>
                  </a:cubicBezTo>
                  <a:lnTo>
                    <a:pt x="2467" y="1"/>
                  </a:lnTo>
                  <a:close/>
                </a:path>
              </a:pathLst>
            </a:custGeom>
            <a:solidFill>
              <a:srgbClr val="4A6CB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>
                <a:buClr>
                  <a:srgbClr val="000000"/>
                </a:buClr>
              </a:pPr>
              <a:endParaRPr sz="1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77" name="Google Shape;177;p24"/>
            <p:cNvSpPr/>
            <p:nvPr/>
          </p:nvSpPr>
          <p:spPr>
            <a:xfrm>
              <a:off x="6317525" y="2250900"/>
              <a:ext cx="46625" cy="42350"/>
            </a:xfrm>
            <a:custGeom>
              <a:avLst/>
              <a:gdLst/>
              <a:ahLst/>
              <a:cxnLst/>
              <a:rect l="l" t="t" r="r" b="b"/>
              <a:pathLst>
                <a:path w="1865" h="1694" extrusionOk="0">
                  <a:moveTo>
                    <a:pt x="1422" y="0"/>
                  </a:moveTo>
                  <a:cubicBezTo>
                    <a:pt x="945" y="0"/>
                    <a:pt x="469" y="29"/>
                    <a:pt x="1" y="98"/>
                  </a:cubicBezTo>
                  <a:lnTo>
                    <a:pt x="1" y="1571"/>
                  </a:lnTo>
                  <a:cubicBezTo>
                    <a:pt x="625" y="1604"/>
                    <a:pt x="1250" y="1638"/>
                    <a:pt x="1864" y="1693"/>
                  </a:cubicBezTo>
                  <a:lnTo>
                    <a:pt x="1864" y="8"/>
                  </a:lnTo>
                  <a:cubicBezTo>
                    <a:pt x="1717" y="3"/>
                    <a:pt x="1569" y="0"/>
                    <a:pt x="1422" y="0"/>
                  </a:cubicBezTo>
                  <a:close/>
                </a:path>
              </a:pathLst>
            </a:custGeom>
            <a:solidFill>
              <a:srgbClr val="4A6CB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>
                <a:buClr>
                  <a:srgbClr val="000000"/>
                </a:buClr>
              </a:pPr>
              <a:endParaRPr sz="1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78" name="Google Shape;178;p24"/>
            <p:cNvSpPr/>
            <p:nvPr/>
          </p:nvSpPr>
          <p:spPr>
            <a:xfrm>
              <a:off x="6389775" y="2253875"/>
              <a:ext cx="122500" cy="56675"/>
            </a:xfrm>
            <a:custGeom>
              <a:avLst/>
              <a:gdLst/>
              <a:ahLst/>
              <a:cxnLst/>
              <a:rect l="l" t="t" r="r" b="b"/>
              <a:pathLst>
                <a:path w="4900" h="2267" extrusionOk="0">
                  <a:moveTo>
                    <a:pt x="1" y="1"/>
                  </a:moveTo>
                  <a:lnTo>
                    <a:pt x="1" y="1675"/>
                  </a:lnTo>
                  <a:cubicBezTo>
                    <a:pt x="659" y="1742"/>
                    <a:pt x="1329" y="1820"/>
                    <a:pt x="2010" y="1920"/>
                  </a:cubicBezTo>
                  <a:cubicBezTo>
                    <a:pt x="2478" y="1965"/>
                    <a:pt x="2936" y="2054"/>
                    <a:pt x="3416" y="2110"/>
                  </a:cubicBezTo>
                  <a:cubicBezTo>
                    <a:pt x="3896" y="2166"/>
                    <a:pt x="4375" y="2255"/>
                    <a:pt x="4900" y="2266"/>
                  </a:cubicBezTo>
                  <a:cubicBezTo>
                    <a:pt x="4710" y="2099"/>
                    <a:pt x="4520" y="1932"/>
                    <a:pt x="4320" y="1775"/>
                  </a:cubicBezTo>
                  <a:cubicBezTo>
                    <a:pt x="4130" y="1619"/>
                    <a:pt x="3918" y="1474"/>
                    <a:pt x="3706" y="1340"/>
                  </a:cubicBezTo>
                  <a:cubicBezTo>
                    <a:pt x="3271" y="1072"/>
                    <a:pt x="2824" y="838"/>
                    <a:pt x="2356" y="648"/>
                  </a:cubicBezTo>
                  <a:cubicBezTo>
                    <a:pt x="1597" y="336"/>
                    <a:pt x="804" y="113"/>
                    <a:pt x="1" y="1"/>
                  </a:cubicBezTo>
                  <a:close/>
                </a:path>
              </a:pathLst>
            </a:custGeom>
            <a:solidFill>
              <a:srgbClr val="4A6CB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>
                <a:buClr>
                  <a:srgbClr val="000000"/>
                </a:buClr>
              </a:pPr>
              <a:endParaRPr sz="1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79" name="Google Shape;179;p24"/>
            <p:cNvSpPr/>
            <p:nvPr/>
          </p:nvSpPr>
          <p:spPr>
            <a:xfrm>
              <a:off x="3578975" y="2053400"/>
              <a:ext cx="1875400" cy="817625"/>
            </a:xfrm>
            <a:custGeom>
              <a:avLst/>
              <a:gdLst/>
              <a:ahLst/>
              <a:cxnLst/>
              <a:rect l="l" t="t" r="r" b="b"/>
              <a:pathLst>
                <a:path w="75016" h="32705" extrusionOk="0">
                  <a:moveTo>
                    <a:pt x="3195" y="0"/>
                  </a:moveTo>
                  <a:cubicBezTo>
                    <a:pt x="1646" y="0"/>
                    <a:pt x="270" y="88"/>
                    <a:pt x="113" y="298"/>
                  </a:cubicBezTo>
                  <a:cubicBezTo>
                    <a:pt x="1" y="454"/>
                    <a:pt x="7255" y="4482"/>
                    <a:pt x="16751" y="9672"/>
                  </a:cubicBezTo>
                  <a:lnTo>
                    <a:pt x="16796" y="9694"/>
                  </a:lnTo>
                  <a:cubicBezTo>
                    <a:pt x="34595" y="19414"/>
                    <a:pt x="59403" y="32705"/>
                    <a:pt x="59403" y="32705"/>
                  </a:cubicBezTo>
                  <a:lnTo>
                    <a:pt x="75015" y="25194"/>
                  </a:lnTo>
                  <a:cubicBezTo>
                    <a:pt x="75015" y="25194"/>
                    <a:pt x="66824" y="22159"/>
                    <a:pt x="56156" y="18197"/>
                  </a:cubicBezTo>
                  <a:cubicBezTo>
                    <a:pt x="36504" y="10910"/>
                    <a:pt x="8438" y="510"/>
                    <a:pt x="7634" y="298"/>
                  </a:cubicBezTo>
                  <a:cubicBezTo>
                    <a:pt x="7455" y="253"/>
                    <a:pt x="7277" y="220"/>
                    <a:pt x="7087" y="197"/>
                  </a:cubicBezTo>
                  <a:cubicBezTo>
                    <a:pt x="6185" y="74"/>
                    <a:pt x="4617" y="0"/>
                    <a:pt x="3195" y="0"/>
                  </a:cubicBezTo>
                  <a:close/>
                </a:path>
              </a:pathLst>
            </a:custGeom>
            <a:solidFill>
              <a:srgbClr val="87B7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>
                <a:buClr>
                  <a:srgbClr val="000000"/>
                </a:buClr>
              </a:pPr>
              <a:endParaRPr sz="1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80" name="Google Shape;180;p24"/>
            <p:cNvSpPr/>
            <p:nvPr/>
          </p:nvSpPr>
          <p:spPr>
            <a:xfrm>
              <a:off x="3998850" y="2295725"/>
              <a:ext cx="1455525" cy="575300"/>
            </a:xfrm>
            <a:custGeom>
              <a:avLst/>
              <a:gdLst/>
              <a:ahLst/>
              <a:cxnLst/>
              <a:rect l="l" t="t" r="r" b="b"/>
              <a:pathLst>
                <a:path w="58221" h="23012" extrusionOk="0">
                  <a:moveTo>
                    <a:pt x="1" y="1"/>
                  </a:moveTo>
                  <a:cubicBezTo>
                    <a:pt x="17800" y="9721"/>
                    <a:pt x="42608" y="23012"/>
                    <a:pt x="42608" y="23012"/>
                  </a:cubicBezTo>
                  <a:lnTo>
                    <a:pt x="58220" y="15501"/>
                  </a:lnTo>
                  <a:cubicBezTo>
                    <a:pt x="58220" y="15501"/>
                    <a:pt x="50029" y="12466"/>
                    <a:pt x="39349" y="8504"/>
                  </a:cubicBezTo>
                  <a:lnTo>
                    <a:pt x="39349" y="8504"/>
                  </a:lnTo>
                  <a:cubicBezTo>
                    <a:pt x="39461" y="11105"/>
                    <a:pt x="39048" y="13459"/>
                    <a:pt x="37475" y="14363"/>
                  </a:cubicBezTo>
                  <a:cubicBezTo>
                    <a:pt x="37184" y="14532"/>
                    <a:pt x="36757" y="14611"/>
                    <a:pt x="36215" y="14611"/>
                  </a:cubicBezTo>
                  <a:cubicBezTo>
                    <a:pt x="29001" y="14611"/>
                    <a:pt x="1298" y="644"/>
                    <a:pt x="1" y="1"/>
                  </a:cubicBezTo>
                  <a:close/>
                </a:path>
              </a:pathLst>
            </a:custGeom>
            <a:solidFill>
              <a:srgbClr val="E4F1FA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>
                <a:buClr>
                  <a:srgbClr val="000000"/>
                </a:buClr>
              </a:pPr>
              <a:endParaRPr sz="1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81" name="Google Shape;181;p24"/>
            <p:cNvSpPr/>
            <p:nvPr/>
          </p:nvSpPr>
          <p:spPr>
            <a:xfrm>
              <a:off x="3921300" y="2253325"/>
              <a:ext cx="1051250" cy="374150"/>
            </a:xfrm>
            <a:custGeom>
              <a:avLst/>
              <a:gdLst/>
              <a:ahLst/>
              <a:cxnLst/>
              <a:rect l="l" t="t" r="r" b="b"/>
              <a:pathLst>
                <a:path w="42050" h="14966" extrusionOk="0">
                  <a:moveTo>
                    <a:pt x="1" y="1"/>
                  </a:moveTo>
                  <a:lnTo>
                    <a:pt x="5402" y="2947"/>
                  </a:lnTo>
                  <a:lnTo>
                    <a:pt x="5413" y="2958"/>
                  </a:lnTo>
                  <a:cubicBezTo>
                    <a:pt x="6094" y="3259"/>
                    <a:pt x="6774" y="3561"/>
                    <a:pt x="7455" y="3862"/>
                  </a:cubicBezTo>
                  <a:cubicBezTo>
                    <a:pt x="12187" y="5938"/>
                    <a:pt x="16952" y="7935"/>
                    <a:pt x="21773" y="9821"/>
                  </a:cubicBezTo>
                  <a:cubicBezTo>
                    <a:pt x="24183" y="10758"/>
                    <a:pt x="26605" y="11662"/>
                    <a:pt x="29049" y="12522"/>
                  </a:cubicBezTo>
                  <a:cubicBezTo>
                    <a:pt x="30276" y="12946"/>
                    <a:pt x="31504" y="13347"/>
                    <a:pt x="32754" y="13727"/>
                  </a:cubicBezTo>
                  <a:cubicBezTo>
                    <a:pt x="33992" y="14106"/>
                    <a:pt x="35242" y="14463"/>
                    <a:pt x="36537" y="14720"/>
                  </a:cubicBezTo>
                  <a:cubicBezTo>
                    <a:pt x="37195" y="14876"/>
                    <a:pt x="37865" y="14954"/>
                    <a:pt x="38534" y="14966"/>
                  </a:cubicBezTo>
                  <a:cubicBezTo>
                    <a:pt x="38724" y="14966"/>
                    <a:pt x="38914" y="14943"/>
                    <a:pt x="39092" y="14899"/>
                  </a:cubicBezTo>
                  <a:cubicBezTo>
                    <a:pt x="39282" y="14843"/>
                    <a:pt x="39461" y="14765"/>
                    <a:pt x="39617" y="14675"/>
                  </a:cubicBezTo>
                  <a:cubicBezTo>
                    <a:pt x="39929" y="14497"/>
                    <a:pt x="40219" y="14285"/>
                    <a:pt x="40476" y="14028"/>
                  </a:cubicBezTo>
                  <a:cubicBezTo>
                    <a:pt x="40956" y="13537"/>
                    <a:pt x="41324" y="12934"/>
                    <a:pt x="41559" y="12287"/>
                  </a:cubicBezTo>
                  <a:cubicBezTo>
                    <a:pt x="41782" y="11651"/>
                    <a:pt x="41938" y="11004"/>
                    <a:pt x="42016" y="10334"/>
                  </a:cubicBezTo>
                  <a:cubicBezTo>
                    <a:pt x="42027" y="10245"/>
                    <a:pt x="42038" y="10145"/>
                    <a:pt x="42050" y="10055"/>
                  </a:cubicBezTo>
                  <a:lnTo>
                    <a:pt x="41570" y="9877"/>
                  </a:lnTo>
                  <a:cubicBezTo>
                    <a:pt x="41547" y="10011"/>
                    <a:pt x="41536" y="10133"/>
                    <a:pt x="41514" y="10256"/>
                  </a:cubicBezTo>
                  <a:cubicBezTo>
                    <a:pt x="41291" y="11484"/>
                    <a:pt x="40867" y="12734"/>
                    <a:pt x="39996" y="13537"/>
                  </a:cubicBezTo>
                  <a:cubicBezTo>
                    <a:pt x="39784" y="13738"/>
                    <a:pt x="39539" y="13905"/>
                    <a:pt x="39282" y="14028"/>
                  </a:cubicBezTo>
                  <a:cubicBezTo>
                    <a:pt x="39170" y="14095"/>
                    <a:pt x="39048" y="14151"/>
                    <a:pt x="38925" y="14184"/>
                  </a:cubicBezTo>
                  <a:cubicBezTo>
                    <a:pt x="38827" y="14201"/>
                    <a:pt x="38729" y="14211"/>
                    <a:pt x="38631" y="14211"/>
                  </a:cubicBezTo>
                  <a:cubicBezTo>
                    <a:pt x="38595" y="14211"/>
                    <a:pt x="38559" y="14210"/>
                    <a:pt x="38523" y="14207"/>
                  </a:cubicBezTo>
                  <a:cubicBezTo>
                    <a:pt x="37909" y="14173"/>
                    <a:pt x="37296" y="14084"/>
                    <a:pt x="36693" y="13928"/>
                  </a:cubicBezTo>
                  <a:cubicBezTo>
                    <a:pt x="34227" y="13336"/>
                    <a:pt x="31783" y="12488"/>
                    <a:pt x="29361" y="11618"/>
                  </a:cubicBezTo>
                  <a:cubicBezTo>
                    <a:pt x="26951" y="10747"/>
                    <a:pt x="24529" y="9821"/>
                    <a:pt x="22130" y="8895"/>
                  </a:cubicBezTo>
                  <a:cubicBezTo>
                    <a:pt x="17320" y="7020"/>
                    <a:pt x="12533" y="5078"/>
                    <a:pt x="7745" y="3148"/>
                  </a:cubicBezTo>
                  <a:cubicBezTo>
                    <a:pt x="5167" y="2087"/>
                    <a:pt x="2590" y="1038"/>
                    <a:pt x="1" y="1"/>
                  </a:cubicBezTo>
                  <a:close/>
                </a:path>
              </a:pathLst>
            </a:custGeom>
            <a:solidFill>
              <a:srgbClr val="E4F1FA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>
                <a:buClr>
                  <a:srgbClr val="000000"/>
                </a:buClr>
              </a:pPr>
              <a:endParaRPr sz="1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82" name="Google Shape;182;p24"/>
            <p:cNvSpPr/>
            <p:nvPr/>
          </p:nvSpPr>
          <p:spPr>
            <a:xfrm>
              <a:off x="3755875" y="2058325"/>
              <a:ext cx="1755400" cy="655075"/>
            </a:xfrm>
            <a:custGeom>
              <a:avLst/>
              <a:gdLst/>
              <a:ahLst/>
              <a:cxnLst/>
              <a:rect l="l" t="t" r="r" b="b"/>
              <a:pathLst>
                <a:path w="70216" h="26203" extrusionOk="0">
                  <a:moveTo>
                    <a:pt x="0" y="0"/>
                  </a:moveTo>
                  <a:lnTo>
                    <a:pt x="45" y="11"/>
                  </a:lnTo>
                  <a:cubicBezTo>
                    <a:pt x="67" y="23"/>
                    <a:pt x="101" y="34"/>
                    <a:pt x="145" y="45"/>
                  </a:cubicBezTo>
                  <a:cubicBezTo>
                    <a:pt x="179" y="56"/>
                    <a:pt x="223" y="78"/>
                    <a:pt x="268" y="101"/>
                  </a:cubicBezTo>
                  <a:cubicBezTo>
                    <a:pt x="4397" y="1730"/>
                    <a:pt x="53722" y="21237"/>
                    <a:pt x="65584" y="26203"/>
                  </a:cubicBezTo>
                  <a:lnTo>
                    <a:pt x="70216" y="23971"/>
                  </a:lnTo>
                  <a:cubicBezTo>
                    <a:pt x="70216" y="23971"/>
                    <a:pt x="1786" y="435"/>
                    <a:pt x="547" y="101"/>
                  </a:cubicBezTo>
                  <a:cubicBezTo>
                    <a:pt x="368" y="56"/>
                    <a:pt x="190" y="23"/>
                    <a:pt x="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>
                <a:buClr>
                  <a:srgbClr val="000000"/>
                </a:buClr>
              </a:pPr>
              <a:endParaRPr sz="1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83" name="Google Shape;183;p24"/>
            <p:cNvSpPr/>
            <p:nvPr/>
          </p:nvSpPr>
          <p:spPr>
            <a:xfrm>
              <a:off x="4591700" y="2589400"/>
              <a:ext cx="143425" cy="96075"/>
            </a:xfrm>
            <a:custGeom>
              <a:avLst/>
              <a:gdLst/>
              <a:ahLst/>
              <a:cxnLst/>
              <a:rect l="l" t="t" r="r" b="b"/>
              <a:pathLst>
                <a:path w="5737" h="3843" extrusionOk="0">
                  <a:moveTo>
                    <a:pt x="4302" y="0"/>
                  </a:moveTo>
                  <a:cubicBezTo>
                    <a:pt x="3797" y="0"/>
                    <a:pt x="3252" y="246"/>
                    <a:pt x="2947" y="395"/>
                  </a:cubicBezTo>
                  <a:cubicBezTo>
                    <a:pt x="492" y="1578"/>
                    <a:pt x="1" y="2248"/>
                    <a:pt x="46" y="2873"/>
                  </a:cubicBezTo>
                  <a:cubicBezTo>
                    <a:pt x="102" y="3583"/>
                    <a:pt x="486" y="3842"/>
                    <a:pt x="1033" y="3842"/>
                  </a:cubicBezTo>
                  <a:cubicBezTo>
                    <a:pt x="1673" y="3842"/>
                    <a:pt x="2536" y="3488"/>
                    <a:pt x="3360" y="3085"/>
                  </a:cubicBezTo>
                  <a:cubicBezTo>
                    <a:pt x="3929" y="2806"/>
                    <a:pt x="5737" y="2002"/>
                    <a:pt x="5335" y="775"/>
                  </a:cubicBezTo>
                  <a:cubicBezTo>
                    <a:pt x="5144" y="184"/>
                    <a:pt x="4738" y="0"/>
                    <a:pt x="4302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>
                <a:buClr>
                  <a:srgbClr val="000000"/>
                </a:buClr>
              </a:pPr>
              <a:endParaRPr sz="1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84" name="Google Shape;184;p24"/>
            <p:cNvSpPr/>
            <p:nvPr/>
          </p:nvSpPr>
          <p:spPr>
            <a:xfrm>
              <a:off x="4261675" y="2422550"/>
              <a:ext cx="143150" cy="95975"/>
            </a:xfrm>
            <a:custGeom>
              <a:avLst/>
              <a:gdLst/>
              <a:ahLst/>
              <a:cxnLst/>
              <a:rect l="l" t="t" r="r" b="b"/>
              <a:pathLst>
                <a:path w="5726" h="3839" extrusionOk="0">
                  <a:moveTo>
                    <a:pt x="4300" y="1"/>
                  </a:moveTo>
                  <a:cubicBezTo>
                    <a:pt x="3794" y="1"/>
                    <a:pt x="3246" y="247"/>
                    <a:pt x="2935" y="396"/>
                  </a:cubicBezTo>
                  <a:cubicBezTo>
                    <a:pt x="480" y="1579"/>
                    <a:pt x="0" y="2249"/>
                    <a:pt x="45" y="2873"/>
                  </a:cubicBezTo>
                  <a:cubicBezTo>
                    <a:pt x="101" y="3581"/>
                    <a:pt x="481" y="3839"/>
                    <a:pt x="1023" y="3839"/>
                  </a:cubicBezTo>
                  <a:cubicBezTo>
                    <a:pt x="1660" y="3839"/>
                    <a:pt x="2522" y="3483"/>
                    <a:pt x="3348" y="3085"/>
                  </a:cubicBezTo>
                  <a:cubicBezTo>
                    <a:pt x="3928" y="2806"/>
                    <a:pt x="5725" y="2003"/>
                    <a:pt x="5334" y="775"/>
                  </a:cubicBezTo>
                  <a:cubicBezTo>
                    <a:pt x="5143" y="185"/>
                    <a:pt x="4737" y="1"/>
                    <a:pt x="4300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>
                <a:buClr>
                  <a:srgbClr val="000000"/>
                </a:buClr>
              </a:pPr>
              <a:endParaRPr sz="1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85" name="Google Shape;185;p24"/>
            <p:cNvSpPr/>
            <p:nvPr/>
          </p:nvSpPr>
          <p:spPr>
            <a:xfrm>
              <a:off x="3936100" y="2259075"/>
              <a:ext cx="133650" cy="89475"/>
            </a:xfrm>
            <a:custGeom>
              <a:avLst/>
              <a:gdLst/>
              <a:ahLst/>
              <a:cxnLst/>
              <a:rect l="l" t="t" r="r" b="b"/>
              <a:pathLst>
                <a:path w="5346" h="3579" extrusionOk="0">
                  <a:moveTo>
                    <a:pt x="4000" y="1"/>
                  </a:moveTo>
                  <a:cubicBezTo>
                    <a:pt x="3530" y="1"/>
                    <a:pt x="3021" y="230"/>
                    <a:pt x="2734" y="373"/>
                  </a:cubicBezTo>
                  <a:cubicBezTo>
                    <a:pt x="446" y="1467"/>
                    <a:pt x="0" y="2092"/>
                    <a:pt x="45" y="2683"/>
                  </a:cubicBezTo>
                  <a:cubicBezTo>
                    <a:pt x="96" y="3339"/>
                    <a:pt x="449" y="3579"/>
                    <a:pt x="953" y="3579"/>
                  </a:cubicBezTo>
                  <a:cubicBezTo>
                    <a:pt x="1548" y="3579"/>
                    <a:pt x="2352" y="3247"/>
                    <a:pt x="3125" y="2873"/>
                  </a:cubicBezTo>
                  <a:cubicBezTo>
                    <a:pt x="3660" y="2616"/>
                    <a:pt x="5345" y="1869"/>
                    <a:pt x="4966" y="730"/>
                  </a:cubicBezTo>
                  <a:cubicBezTo>
                    <a:pt x="4789" y="175"/>
                    <a:pt x="4410" y="1"/>
                    <a:pt x="4000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>
                <a:buClr>
                  <a:srgbClr val="000000"/>
                </a:buClr>
              </a:pPr>
              <a:endParaRPr sz="1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86" name="Google Shape;186;p24"/>
            <p:cNvSpPr/>
            <p:nvPr/>
          </p:nvSpPr>
          <p:spPr>
            <a:xfrm>
              <a:off x="4772500" y="2433775"/>
              <a:ext cx="415150" cy="324825"/>
            </a:xfrm>
            <a:custGeom>
              <a:avLst/>
              <a:gdLst/>
              <a:ahLst/>
              <a:cxnLst/>
              <a:rect l="l" t="t" r="r" b="b"/>
              <a:pathLst>
                <a:path w="16606" h="12993" extrusionOk="0">
                  <a:moveTo>
                    <a:pt x="12752" y="0"/>
                  </a:moveTo>
                  <a:cubicBezTo>
                    <a:pt x="12702" y="0"/>
                    <a:pt x="12655" y="1"/>
                    <a:pt x="12610" y="3"/>
                  </a:cubicBezTo>
                  <a:cubicBezTo>
                    <a:pt x="11829" y="25"/>
                    <a:pt x="11059" y="114"/>
                    <a:pt x="9352" y="840"/>
                  </a:cubicBezTo>
                  <a:cubicBezTo>
                    <a:pt x="8303" y="1275"/>
                    <a:pt x="6886" y="1956"/>
                    <a:pt x="4899" y="3005"/>
                  </a:cubicBezTo>
                  <a:cubicBezTo>
                    <a:pt x="3248" y="3875"/>
                    <a:pt x="0" y="5449"/>
                    <a:pt x="268" y="8584"/>
                  </a:cubicBezTo>
                  <a:cubicBezTo>
                    <a:pt x="313" y="9098"/>
                    <a:pt x="435" y="9611"/>
                    <a:pt x="636" y="10091"/>
                  </a:cubicBezTo>
                  <a:cubicBezTo>
                    <a:pt x="1476" y="12221"/>
                    <a:pt x="2757" y="12992"/>
                    <a:pt x="4420" y="12992"/>
                  </a:cubicBezTo>
                  <a:cubicBezTo>
                    <a:pt x="6008" y="12992"/>
                    <a:pt x="7944" y="12290"/>
                    <a:pt x="10178" y="11397"/>
                  </a:cubicBezTo>
                  <a:cubicBezTo>
                    <a:pt x="11907" y="10705"/>
                    <a:pt x="14630" y="9935"/>
                    <a:pt x="15836" y="7803"/>
                  </a:cubicBezTo>
                  <a:cubicBezTo>
                    <a:pt x="16371" y="6855"/>
                    <a:pt x="16606" y="5638"/>
                    <a:pt x="16315" y="4043"/>
                  </a:cubicBezTo>
                  <a:cubicBezTo>
                    <a:pt x="15667" y="388"/>
                    <a:pt x="13735" y="0"/>
                    <a:pt x="12752" y="0"/>
                  </a:cubicBezTo>
                  <a:close/>
                </a:path>
              </a:pathLst>
            </a:custGeom>
            <a:solidFill>
              <a:srgbClr val="FFB28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>
                <a:buClr>
                  <a:srgbClr val="000000"/>
                </a:buClr>
              </a:pPr>
              <a:endParaRPr sz="1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87" name="Google Shape;187;p24"/>
            <p:cNvSpPr/>
            <p:nvPr/>
          </p:nvSpPr>
          <p:spPr>
            <a:xfrm>
              <a:off x="4779200" y="2433775"/>
              <a:ext cx="408450" cy="324825"/>
            </a:xfrm>
            <a:custGeom>
              <a:avLst/>
              <a:gdLst/>
              <a:ahLst/>
              <a:cxnLst/>
              <a:rect l="l" t="t" r="r" b="b"/>
              <a:pathLst>
                <a:path w="16338" h="12993" extrusionOk="0">
                  <a:moveTo>
                    <a:pt x="12495" y="0"/>
                  </a:moveTo>
                  <a:cubicBezTo>
                    <a:pt x="12445" y="0"/>
                    <a:pt x="12398" y="1"/>
                    <a:pt x="12354" y="3"/>
                  </a:cubicBezTo>
                  <a:cubicBezTo>
                    <a:pt x="11561" y="25"/>
                    <a:pt x="10802" y="114"/>
                    <a:pt x="9084" y="840"/>
                  </a:cubicBezTo>
                  <a:cubicBezTo>
                    <a:pt x="15423" y="4176"/>
                    <a:pt x="10211" y="9890"/>
                    <a:pt x="5837" y="10560"/>
                  </a:cubicBezTo>
                  <a:cubicBezTo>
                    <a:pt x="5345" y="10636"/>
                    <a:pt x="4891" y="10670"/>
                    <a:pt x="4471" y="10670"/>
                  </a:cubicBezTo>
                  <a:cubicBezTo>
                    <a:pt x="1378" y="10670"/>
                    <a:pt x="157" y="8840"/>
                    <a:pt x="0" y="8584"/>
                  </a:cubicBezTo>
                  <a:lnTo>
                    <a:pt x="0" y="8584"/>
                  </a:lnTo>
                  <a:cubicBezTo>
                    <a:pt x="45" y="9098"/>
                    <a:pt x="167" y="9611"/>
                    <a:pt x="368" y="10091"/>
                  </a:cubicBezTo>
                  <a:cubicBezTo>
                    <a:pt x="1208" y="12221"/>
                    <a:pt x="2489" y="12992"/>
                    <a:pt x="4152" y="12992"/>
                  </a:cubicBezTo>
                  <a:cubicBezTo>
                    <a:pt x="5740" y="12992"/>
                    <a:pt x="7676" y="12290"/>
                    <a:pt x="9910" y="11397"/>
                  </a:cubicBezTo>
                  <a:cubicBezTo>
                    <a:pt x="11639" y="10705"/>
                    <a:pt x="14362" y="9935"/>
                    <a:pt x="15568" y="7803"/>
                  </a:cubicBezTo>
                  <a:cubicBezTo>
                    <a:pt x="16103" y="6855"/>
                    <a:pt x="16338" y="5638"/>
                    <a:pt x="16059" y="4043"/>
                  </a:cubicBezTo>
                  <a:cubicBezTo>
                    <a:pt x="15400" y="388"/>
                    <a:pt x="13477" y="0"/>
                    <a:pt x="12495" y="0"/>
                  </a:cubicBezTo>
                  <a:close/>
                </a:path>
              </a:pathLst>
            </a:custGeom>
            <a:solidFill>
              <a:srgbClr val="F5A27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>
                <a:buClr>
                  <a:srgbClr val="000000"/>
                </a:buClr>
              </a:pPr>
              <a:endParaRPr sz="1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88" name="Google Shape;188;p24"/>
            <p:cNvSpPr/>
            <p:nvPr/>
          </p:nvSpPr>
          <p:spPr>
            <a:xfrm>
              <a:off x="5006275" y="2448350"/>
              <a:ext cx="163250" cy="211775"/>
            </a:xfrm>
            <a:custGeom>
              <a:avLst/>
              <a:gdLst/>
              <a:ahLst/>
              <a:cxnLst/>
              <a:rect l="l" t="t" r="r" b="b"/>
              <a:pathLst>
                <a:path w="6530" h="8471" extrusionOk="0">
                  <a:moveTo>
                    <a:pt x="3271" y="0"/>
                  </a:moveTo>
                  <a:cubicBezTo>
                    <a:pt x="1463" y="0"/>
                    <a:pt x="1" y="1897"/>
                    <a:pt x="1" y="4241"/>
                  </a:cubicBezTo>
                  <a:cubicBezTo>
                    <a:pt x="1" y="6573"/>
                    <a:pt x="1463" y="8470"/>
                    <a:pt x="3271" y="8470"/>
                  </a:cubicBezTo>
                  <a:cubicBezTo>
                    <a:pt x="5067" y="8470"/>
                    <a:pt x="6529" y="6573"/>
                    <a:pt x="6529" y="4241"/>
                  </a:cubicBezTo>
                  <a:cubicBezTo>
                    <a:pt x="6529" y="1897"/>
                    <a:pt x="5067" y="0"/>
                    <a:pt x="3271" y="0"/>
                  </a:cubicBezTo>
                  <a:close/>
                </a:path>
              </a:pathLst>
            </a:custGeom>
            <a:solidFill>
              <a:srgbClr val="E4F1FA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>
                <a:buClr>
                  <a:srgbClr val="000000"/>
                </a:buClr>
              </a:pPr>
              <a:endParaRPr sz="1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89" name="Google Shape;189;p24"/>
            <p:cNvSpPr/>
            <p:nvPr/>
          </p:nvSpPr>
          <p:spPr>
            <a:xfrm>
              <a:off x="5015775" y="2460625"/>
              <a:ext cx="144250" cy="187225"/>
            </a:xfrm>
            <a:custGeom>
              <a:avLst/>
              <a:gdLst/>
              <a:ahLst/>
              <a:cxnLst/>
              <a:rect l="l" t="t" r="r" b="b"/>
              <a:pathLst>
                <a:path w="5770" h="7489" extrusionOk="0">
                  <a:moveTo>
                    <a:pt x="2891" y="0"/>
                  </a:moveTo>
                  <a:cubicBezTo>
                    <a:pt x="1295" y="0"/>
                    <a:pt x="0" y="1674"/>
                    <a:pt x="0" y="3750"/>
                  </a:cubicBezTo>
                  <a:cubicBezTo>
                    <a:pt x="0" y="5814"/>
                    <a:pt x="1295" y="7488"/>
                    <a:pt x="2891" y="7488"/>
                  </a:cubicBezTo>
                  <a:cubicBezTo>
                    <a:pt x="4486" y="7488"/>
                    <a:pt x="5770" y="5814"/>
                    <a:pt x="5770" y="3750"/>
                  </a:cubicBezTo>
                  <a:cubicBezTo>
                    <a:pt x="5770" y="1674"/>
                    <a:pt x="4486" y="0"/>
                    <a:pt x="2891" y="0"/>
                  </a:cubicBezTo>
                  <a:close/>
                </a:path>
              </a:pathLst>
            </a:custGeom>
            <a:solidFill>
              <a:srgbClr val="1C4587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>
                <a:buClr>
                  <a:srgbClr val="000000"/>
                </a:buClr>
              </a:pPr>
              <a:endParaRPr sz="1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</p:grpSp>
      <p:sp>
        <p:nvSpPr>
          <p:cNvPr id="190" name="Google Shape;190;p24"/>
          <p:cNvSpPr txBox="1">
            <a:spLocks noGrp="1"/>
          </p:cNvSpPr>
          <p:nvPr>
            <p:ph type="subTitle" idx="1"/>
          </p:nvPr>
        </p:nvSpPr>
        <p:spPr>
          <a:xfrm>
            <a:off x="73734" y="3157349"/>
            <a:ext cx="4251474" cy="792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indent="0"/>
            <a:r>
              <a:rPr lang="en-US" sz="2400" b="1" dirty="0">
                <a:solidFill>
                  <a:schemeClr val="bg2">
                    <a:lumMod val="50000"/>
                  </a:schemeClr>
                </a:solidFill>
              </a:rPr>
              <a:t>Mohamad Doughan </a:t>
            </a:r>
          </a:p>
          <a:p>
            <a:pPr marL="0" indent="0"/>
            <a:r>
              <a:rPr lang="en-US" dirty="0"/>
              <a:t>Data Analytics Bootcamp</a:t>
            </a:r>
            <a:br>
              <a:rPr lang="en-US" dirty="0"/>
            </a:br>
            <a:r>
              <a:rPr lang="en-US" dirty="0"/>
              <a:t>March 2020</a:t>
            </a:r>
            <a:endParaRPr dirty="0"/>
          </a:p>
        </p:txBody>
      </p:sp>
      <p:sp>
        <p:nvSpPr>
          <p:cNvPr id="191" name="Google Shape;191;p24"/>
          <p:cNvSpPr txBox="1">
            <a:spLocks noGrp="1"/>
          </p:cNvSpPr>
          <p:nvPr>
            <p:ph type="ctrTitle"/>
          </p:nvPr>
        </p:nvSpPr>
        <p:spPr>
          <a:xfrm>
            <a:off x="73734" y="306804"/>
            <a:ext cx="4517400" cy="1696364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r>
              <a:rPr lang="en" sz="4800" b="1" dirty="0">
                <a:solidFill>
                  <a:schemeClr val="bg2">
                    <a:lumMod val="50000"/>
                  </a:schemeClr>
                </a:solidFill>
              </a:rPr>
              <a:t>AVIATION CONSULTING</a:t>
            </a:r>
            <a:endParaRPr sz="4800" b="1" dirty="0">
              <a:solidFill>
                <a:schemeClr val="bg2">
                  <a:lumMod val="50000"/>
                </a:schemeClr>
              </a:solidFill>
            </a:endParaRPr>
          </a:p>
        </p:txBody>
      </p:sp>
      <p:pic>
        <p:nvPicPr>
          <p:cNvPr id="2" name="Picture 1" descr="Ironhack_Paris_Logo.png"/>
          <p:cNvPicPr>
            <a:picLocks noChangeAspect="1"/>
          </p:cNvPicPr>
          <p:nvPr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46405" y="303638"/>
            <a:ext cx="938390" cy="93839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AA16B7AC-F676-4F67-8813-4F8F68AAD7D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595846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606"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="" xmlns:a16="http://schemas.microsoft.com/office/drawing/2014/main" id="{AA16B7AC-F676-4F67-8813-4F8F68AAD7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="" xmlns:a16="http://schemas.microsoft.com/office/drawing/2014/main" id="{260A3D96-399B-450E-B597-24C3AA9AE05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US" sz="240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="" xmlns:a16="http://schemas.microsoft.com/office/drawing/2014/main" id="{48D13E25-DCE9-4BCE-806B-429683B77FA6}"/>
              </a:ext>
            </a:extLst>
          </p:cNvPr>
          <p:cNvSpPr txBox="1"/>
          <p:nvPr/>
        </p:nvSpPr>
        <p:spPr>
          <a:xfrm>
            <a:off x="244474" y="1628140"/>
            <a:ext cx="6840220" cy="249299"/>
          </a:xfrm>
          <a:prstGeom prst="rect">
            <a:avLst/>
          </a:prstGeom>
          <a:noFill/>
          <a:ln w="6350" cap="flat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A5FFFF"/>
                </a:solidFill>
              </a14:hiddenFill>
            </a:ext>
          </a:extLst>
        </p:spPr>
        <p:txBody>
          <a:bodyPr vert="horz" wrap="square" lIns="365760" tIns="0" rIns="0" bIns="0" rtlCol="0" anchor="t" anchorCtr="0">
            <a:sp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2"/>
              </a:buClr>
            </a:pP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Data Exploration &amp; Analysis</a:t>
            </a:r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7956AB31-F718-491D-AAC7-99EB166076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4507" y="493495"/>
            <a:ext cx="7604094" cy="338554"/>
          </a:xfrm>
        </p:spPr>
        <p:txBody>
          <a:bodyPr/>
          <a:lstStyle/>
          <a:p>
            <a:r>
              <a:rPr lang="en-US" b="1" dirty="0"/>
              <a:t>Framework</a:t>
            </a:r>
          </a:p>
        </p:txBody>
      </p:sp>
      <p:sp>
        <p:nvSpPr>
          <p:cNvPr id="5" name="Oval 4">
            <a:extLst>
              <a:ext uri="{FF2B5EF4-FFF2-40B4-BE49-F238E27FC236}">
                <a16:creationId xmlns="" xmlns:a16="http://schemas.microsoft.com/office/drawing/2014/main" id="{3D60A96E-A8F3-4D57-873D-4053E79B24CA}"/>
              </a:ext>
            </a:extLst>
          </p:cNvPr>
          <p:cNvSpPr/>
          <p:nvPr/>
        </p:nvSpPr>
        <p:spPr>
          <a:xfrm>
            <a:off x="246380" y="1600200"/>
            <a:ext cx="279400" cy="279400"/>
          </a:xfrm>
          <a:prstGeom prst="ellipse">
            <a:avLst/>
          </a:prstGeom>
          <a:solidFill>
            <a:schemeClr val="accent1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1600" b="1" dirty="0">
                <a:solidFill>
                  <a:schemeClr val="bg1"/>
                </a:solidFill>
                <a:latin typeface="Arial" panose="020B0604020202020204" pitchFamily="34" charset="0"/>
                <a:cs typeface="Arial" pitchFamily="34" charset="0"/>
              </a:rPr>
              <a:t>3</a:t>
            </a:r>
          </a:p>
        </p:txBody>
      </p:sp>
      <p:pic>
        <p:nvPicPr>
          <p:cNvPr id="49" name="Picture 48" descr="img0.png">
            <a:extLst>
              <a:ext uri="{FF2B5EF4-FFF2-40B4-BE49-F238E27FC236}">
                <a16:creationId xmlns="" xmlns:a16="http://schemas.microsoft.com/office/drawing/2014/main" id="{64AC400F-B866-468F-863B-46BFED3AD6D0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863" r="5927" b="17867"/>
          <a:stretch/>
        </p:blipFill>
        <p:spPr>
          <a:xfrm>
            <a:off x="246379" y="2457449"/>
            <a:ext cx="8646795" cy="4284663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="" xmlns:a16="http://schemas.microsoft.com/office/drawing/2014/main" id="{07A45C63-15AE-440D-BBB4-2BDB5498DE00}"/>
              </a:ext>
            </a:extLst>
          </p:cNvPr>
          <p:cNvSpPr/>
          <p:nvPr/>
        </p:nvSpPr>
        <p:spPr>
          <a:xfrm>
            <a:off x="245364" y="2059305"/>
            <a:ext cx="5316199" cy="221599"/>
          </a:xfrm>
          <a:prstGeom prst="rect">
            <a:avLst/>
          </a:prstGeom>
          <a:noFill/>
          <a:ln w="6350" cap="flat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576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600" dirty="0">
                <a:solidFill>
                  <a:schemeClr val="tx1"/>
                </a:solidFill>
                <a:latin typeface="Arial" panose="020B0604020202020204" pitchFamily="34" charset="0"/>
                <a:cs typeface="Arial" pitchFamily="34" charset="0"/>
              </a:rPr>
              <a:t>Distribution Plots for the Nominal Categorical Features</a:t>
            </a:r>
          </a:p>
        </p:txBody>
      </p:sp>
      <p:grpSp>
        <p:nvGrpSpPr>
          <p:cNvPr id="53" name="Group 52">
            <a:extLst>
              <a:ext uri="{FF2B5EF4-FFF2-40B4-BE49-F238E27FC236}">
                <a16:creationId xmlns="" xmlns:a16="http://schemas.microsoft.com/office/drawing/2014/main" id="{283E95DF-F756-412E-BDA4-D6738A70DB9A}"/>
              </a:ext>
            </a:extLst>
          </p:cNvPr>
          <p:cNvGrpSpPr/>
          <p:nvPr/>
        </p:nvGrpSpPr>
        <p:grpSpPr>
          <a:xfrm>
            <a:off x="7877395" y="1225848"/>
            <a:ext cx="937795" cy="385342"/>
            <a:chOff x="7877395" y="1225848"/>
            <a:chExt cx="937795" cy="385342"/>
          </a:xfrm>
        </p:grpSpPr>
        <p:sp>
          <p:nvSpPr>
            <p:cNvPr id="54" name="Isosceles Triangle 53">
              <a:extLst>
                <a:ext uri="{FF2B5EF4-FFF2-40B4-BE49-F238E27FC236}">
                  <a16:creationId xmlns="" xmlns:a16="http://schemas.microsoft.com/office/drawing/2014/main" id="{CF1304E7-54B6-4E5E-8FAA-37BAB8074E54}"/>
                </a:ext>
              </a:extLst>
            </p:cNvPr>
            <p:cNvSpPr>
              <a:spLocks noChangeAspect="1"/>
            </p:cNvSpPr>
            <p:nvPr/>
          </p:nvSpPr>
          <p:spPr bwMode="gray">
            <a:xfrm rot="9927096">
              <a:off x="8132907" y="1349645"/>
              <a:ext cx="73611" cy="63458"/>
            </a:xfrm>
            <a:prstGeom prst="triangle">
              <a:avLst/>
            </a:prstGeom>
            <a:solidFill>
              <a:schemeClr val="bg2"/>
            </a:solidFill>
            <a:ln w="9525">
              <a:solidFill>
                <a:srgbClr val="007F7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050" dirty="0">
                <a:solidFill>
                  <a:schemeClr val="tx1"/>
                </a:solidFill>
              </a:endParaRPr>
            </a:p>
          </p:txBody>
        </p:sp>
        <p:sp>
          <p:nvSpPr>
            <p:cNvPr id="55" name="Oval 54">
              <a:extLst>
                <a:ext uri="{FF2B5EF4-FFF2-40B4-BE49-F238E27FC236}">
                  <a16:creationId xmlns="" xmlns:a16="http://schemas.microsoft.com/office/drawing/2014/main" id="{102F395C-150D-4401-A0A9-1D7798EAFD3E}"/>
                </a:ext>
              </a:extLst>
            </p:cNvPr>
            <p:cNvSpPr/>
            <p:nvPr/>
          </p:nvSpPr>
          <p:spPr>
            <a:xfrm>
              <a:off x="8002635" y="1243852"/>
              <a:ext cx="50253" cy="50252"/>
            </a:xfrm>
            <a:prstGeom prst="ellipse">
              <a:avLst/>
            </a:prstGeom>
            <a:solidFill>
              <a:schemeClr val="bg2"/>
            </a:solidFill>
            <a:ln w="12700" cap="flat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 b="1" dirty="0">
                <a:solidFill>
                  <a:schemeClr val="bg1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56" name="Oval 55">
              <a:extLst>
                <a:ext uri="{FF2B5EF4-FFF2-40B4-BE49-F238E27FC236}">
                  <a16:creationId xmlns="" xmlns:a16="http://schemas.microsoft.com/office/drawing/2014/main" id="{B6A1A0DB-B4ED-4E33-A393-873185760AC2}"/>
                </a:ext>
              </a:extLst>
            </p:cNvPr>
            <p:cNvSpPr/>
            <p:nvPr/>
          </p:nvSpPr>
          <p:spPr>
            <a:xfrm>
              <a:off x="8530035" y="1349312"/>
              <a:ext cx="212364" cy="212364"/>
            </a:xfrm>
            <a:prstGeom prst="ellipse">
              <a:avLst/>
            </a:prstGeom>
            <a:solidFill>
              <a:schemeClr val="accent5"/>
            </a:solidFill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ot="0" spcFirstLastPara="0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57" name="Arc 56">
              <a:extLst>
                <a:ext uri="{FF2B5EF4-FFF2-40B4-BE49-F238E27FC236}">
                  <a16:creationId xmlns="" xmlns:a16="http://schemas.microsoft.com/office/drawing/2014/main" id="{9B1E55D3-4E1B-4746-A7FB-BBA63E0A016A}"/>
                </a:ext>
              </a:extLst>
            </p:cNvPr>
            <p:cNvSpPr/>
            <p:nvPr/>
          </p:nvSpPr>
          <p:spPr bwMode="gray">
            <a:xfrm>
              <a:off x="8486575" y="1267966"/>
              <a:ext cx="283644" cy="247796"/>
            </a:xfrm>
            <a:prstGeom prst="arc">
              <a:avLst>
                <a:gd name="adj1" fmla="val 11178900"/>
                <a:gd name="adj2" fmla="val 21075396"/>
              </a:avLst>
            </a:prstGeom>
            <a:ln w="19050" cap="flat">
              <a:solidFill>
                <a:schemeClr val="accent5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100" dirty="0"/>
            </a:p>
          </p:txBody>
        </p:sp>
        <p:sp>
          <p:nvSpPr>
            <p:cNvPr id="58" name="Isosceles Triangle 57">
              <a:extLst>
                <a:ext uri="{FF2B5EF4-FFF2-40B4-BE49-F238E27FC236}">
                  <a16:creationId xmlns="" xmlns:a16="http://schemas.microsoft.com/office/drawing/2014/main" id="{4FDC1F28-1BEC-442F-BBE6-775FD042460D}"/>
                </a:ext>
              </a:extLst>
            </p:cNvPr>
            <p:cNvSpPr>
              <a:spLocks noChangeAspect="1"/>
            </p:cNvSpPr>
            <p:nvPr/>
          </p:nvSpPr>
          <p:spPr bwMode="gray">
            <a:xfrm rot="9927096">
              <a:off x="8734789" y="1347929"/>
              <a:ext cx="73611" cy="63458"/>
            </a:xfrm>
            <a:prstGeom prst="triangle">
              <a:avLst/>
            </a:prstGeom>
            <a:solidFill>
              <a:schemeClr val="accent5"/>
            </a:solidFill>
            <a:ln w="952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050" dirty="0">
                <a:solidFill>
                  <a:schemeClr val="tx1"/>
                </a:solidFill>
              </a:endParaRPr>
            </a:p>
          </p:txBody>
        </p:sp>
        <p:sp>
          <p:nvSpPr>
            <p:cNvPr id="59" name="Oval 58">
              <a:extLst>
                <a:ext uri="{FF2B5EF4-FFF2-40B4-BE49-F238E27FC236}">
                  <a16:creationId xmlns="" xmlns:a16="http://schemas.microsoft.com/office/drawing/2014/main" id="{E416A540-6948-4750-B457-73B3B46D3B0C}"/>
                </a:ext>
              </a:extLst>
            </p:cNvPr>
            <p:cNvSpPr/>
            <p:nvPr/>
          </p:nvSpPr>
          <p:spPr>
            <a:xfrm>
              <a:off x="8611091" y="1243852"/>
              <a:ext cx="50253" cy="50252"/>
            </a:xfrm>
            <a:prstGeom prst="ellipse">
              <a:avLst/>
            </a:prstGeom>
            <a:solidFill>
              <a:schemeClr val="accent5"/>
            </a:solidFill>
            <a:ln w="12700" cap="flat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 b="1" dirty="0">
                <a:solidFill>
                  <a:schemeClr val="bg1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60" name="Rectangle 59">
              <a:extLst>
                <a:ext uri="{FF2B5EF4-FFF2-40B4-BE49-F238E27FC236}">
                  <a16:creationId xmlns="" xmlns:a16="http://schemas.microsoft.com/office/drawing/2014/main" id="{DEF2026B-2FE9-4339-B18A-317FD0F29149}"/>
                </a:ext>
              </a:extLst>
            </p:cNvPr>
            <p:cNvSpPr/>
            <p:nvPr/>
          </p:nvSpPr>
          <p:spPr>
            <a:xfrm>
              <a:off x="8486575" y="1225848"/>
              <a:ext cx="328615" cy="385342"/>
            </a:xfrm>
            <a:prstGeom prst="rect">
              <a:avLst/>
            </a:prstGeom>
            <a:solidFill>
              <a:schemeClr val="bg1">
                <a:alpha val="80000"/>
              </a:schemeClr>
            </a:solidFill>
            <a:ln w="6350" cap="flat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900"/>
                </a:spcBef>
              </a:pPr>
              <a:endParaRPr lang="en-US" sz="140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61" name="Oval 60">
              <a:extLst>
                <a:ext uri="{FF2B5EF4-FFF2-40B4-BE49-F238E27FC236}">
                  <a16:creationId xmlns="" xmlns:a16="http://schemas.microsoft.com/office/drawing/2014/main" id="{0A67158A-ADDF-403B-95A3-E66EAA007CCD}"/>
                </a:ext>
              </a:extLst>
            </p:cNvPr>
            <p:cNvSpPr/>
            <p:nvPr/>
          </p:nvSpPr>
          <p:spPr>
            <a:xfrm>
              <a:off x="7921579" y="1349312"/>
              <a:ext cx="212364" cy="212364"/>
            </a:xfrm>
            <a:prstGeom prst="ellipse">
              <a:avLst/>
            </a:prstGeom>
            <a:solidFill>
              <a:schemeClr val="bg2"/>
            </a:solidFill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ot="0" spcFirstLastPara="0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62" name="Arc 61">
              <a:extLst>
                <a:ext uri="{FF2B5EF4-FFF2-40B4-BE49-F238E27FC236}">
                  <a16:creationId xmlns="" xmlns:a16="http://schemas.microsoft.com/office/drawing/2014/main" id="{8B3DB62E-4731-4615-A849-0243BC9E6160}"/>
                </a:ext>
              </a:extLst>
            </p:cNvPr>
            <p:cNvSpPr/>
            <p:nvPr/>
          </p:nvSpPr>
          <p:spPr bwMode="gray">
            <a:xfrm>
              <a:off x="7883769" y="1267966"/>
              <a:ext cx="283644" cy="247796"/>
            </a:xfrm>
            <a:prstGeom prst="arc">
              <a:avLst>
                <a:gd name="adj1" fmla="val 11178900"/>
                <a:gd name="adj2" fmla="val 21075396"/>
              </a:avLst>
            </a:prstGeom>
            <a:ln w="19050" cap="flat">
              <a:solidFill>
                <a:schemeClr val="bg2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100" dirty="0"/>
            </a:p>
          </p:txBody>
        </p:sp>
        <p:sp>
          <p:nvSpPr>
            <p:cNvPr id="63" name="Rectangle 62">
              <a:extLst>
                <a:ext uri="{FF2B5EF4-FFF2-40B4-BE49-F238E27FC236}">
                  <a16:creationId xmlns="" xmlns:a16="http://schemas.microsoft.com/office/drawing/2014/main" id="{089002D9-EEF8-4F14-BAEC-0E48A217A6DE}"/>
                </a:ext>
              </a:extLst>
            </p:cNvPr>
            <p:cNvSpPr/>
            <p:nvPr/>
          </p:nvSpPr>
          <p:spPr>
            <a:xfrm>
              <a:off x="7877395" y="1225848"/>
              <a:ext cx="328615" cy="385342"/>
            </a:xfrm>
            <a:prstGeom prst="rect">
              <a:avLst/>
            </a:prstGeom>
            <a:solidFill>
              <a:schemeClr val="bg1">
                <a:alpha val="80000"/>
              </a:schemeClr>
            </a:solidFill>
            <a:ln w="6350" cap="flat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900"/>
                </a:spcBef>
              </a:pPr>
              <a:endParaRPr lang="en-US" sz="140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64" name="Oval 63">
              <a:extLst>
                <a:ext uri="{FF2B5EF4-FFF2-40B4-BE49-F238E27FC236}">
                  <a16:creationId xmlns="" xmlns:a16="http://schemas.microsoft.com/office/drawing/2014/main" id="{C21E4447-C7C0-4B63-93E9-4B580C0B370E}"/>
                </a:ext>
              </a:extLst>
            </p:cNvPr>
            <p:cNvSpPr/>
            <p:nvPr/>
          </p:nvSpPr>
          <p:spPr>
            <a:xfrm>
              <a:off x="8225098" y="1244357"/>
              <a:ext cx="212364" cy="212364"/>
            </a:xfrm>
            <a:prstGeom prst="ellipse">
              <a:avLst/>
            </a:prstGeom>
            <a:solidFill>
              <a:schemeClr val="accent1"/>
            </a:solidFill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ot="0" spcFirstLastPara="0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65" name="Arc 64">
              <a:extLst>
                <a:ext uri="{FF2B5EF4-FFF2-40B4-BE49-F238E27FC236}">
                  <a16:creationId xmlns="" xmlns:a16="http://schemas.microsoft.com/office/drawing/2014/main" id="{4AE914DF-BB05-4816-BAC2-4460B51E8D7F}"/>
                </a:ext>
              </a:extLst>
            </p:cNvPr>
            <p:cNvSpPr/>
            <p:nvPr/>
          </p:nvSpPr>
          <p:spPr bwMode="gray">
            <a:xfrm flipV="1">
              <a:off x="8184095" y="1313981"/>
              <a:ext cx="283644" cy="247373"/>
            </a:xfrm>
            <a:prstGeom prst="arc">
              <a:avLst>
                <a:gd name="adj1" fmla="val 11178900"/>
                <a:gd name="adj2" fmla="val 21075396"/>
              </a:avLst>
            </a:prstGeom>
            <a:ln w="19050" cap="flat">
              <a:solidFill>
                <a:schemeClr val="accent1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100" dirty="0"/>
            </a:p>
          </p:txBody>
        </p:sp>
        <p:sp>
          <p:nvSpPr>
            <p:cNvPr id="66" name="Isosceles Triangle 65">
              <a:extLst>
                <a:ext uri="{FF2B5EF4-FFF2-40B4-BE49-F238E27FC236}">
                  <a16:creationId xmlns="" xmlns:a16="http://schemas.microsoft.com/office/drawing/2014/main" id="{0AB8FA4F-157A-4449-B4F1-D2DBA8A48F5E}"/>
                </a:ext>
              </a:extLst>
            </p:cNvPr>
            <p:cNvSpPr>
              <a:spLocks noChangeAspect="1"/>
            </p:cNvSpPr>
            <p:nvPr/>
          </p:nvSpPr>
          <p:spPr bwMode="gray">
            <a:xfrm rot="11672904" flipV="1">
              <a:off x="8432310" y="1418179"/>
              <a:ext cx="73611" cy="63349"/>
            </a:xfrm>
            <a:prstGeom prst="triangle">
              <a:avLst/>
            </a:prstGeom>
            <a:solidFill>
              <a:schemeClr val="accent1"/>
            </a:solidFill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050" dirty="0">
                <a:solidFill>
                  <a:schemeClr val="tx1"/>
                </a:solidFill>
              </a:endParaRPr>
            </a:p>
          </p:txBody>
        </p:sp>
        <p:sp>
          <p:nvSpPr>
            <p:cNvPr id="67" name="Oval 66">
              <a:extLst>
                <a:ext uri="{FF2B5EF4-FFF2-40B4-BE49-F238E27FC236}">
                  <a16:creationId xmlns="" xmlns:a16="http://schemas.microsoft.com/office/drawing/2014/main" id="{88F6A86E-D58C-495D-A720-A79272EE113A}"/>
                </a:ext>
              </a:extLst>
            </p:cNvPr>
            <p:cNvSpPr/>
            <p:nvPr/>
          </p:nvSpPr>
          <p:spPr>
            <a:xfrm>
              <a:off x="8306154" y="1537095"/>
              <a:ext cx="50253" cy="50252"/>
            </a:xfrm>
            <a:prstGeom prst="ellipse">
              <a:avLst/>
            </a:prstGeom>
            <a:solidFill>
              <a:schemeClr val="accent1"/>
            </a:solidFill>
            <a:ln w="12700" cap="flat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 b="1" dirty="0">
                <a:solidFill>
                  <a:schemeClr val="bg1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4143101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AA16B7AC-F676-4F67-8813-4F8F68AAD7D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630"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="" xmlns:a16="http://schemas.microsoft.com/office/drawing/2014/main" id="{AA16B7AC-F676-4F67-8813-4F8F68AAD7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="" xmlns:a16="http://schemas.microsoft.com/office/drawing/2014/main" id="{260A3D96-399B-450E-B597-24C3AA9AE05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US" sz="240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="" xmlns:a16="http://schemas.microsoft.com/office/drawing/2014/main" id="{48D13E25-DCE9-4BCE-806B-429683B77FA6}"/>
              </a:ext>
            </a:extLst>
          </p:cNvPr>
          <p:cNvSpPr txBox="1"/>
          <p:nvPr/>
        </p:nvSpPr>
        <p:spPr>
          <a:xfrm>
            <a:off x="244474" y="1628140"/>
            <a:ext cx="6840220" cy="249299"/>
          </a:xfrm>
          <a:prstGeom prst="rect">
            <a:avLst/>
          </a:prstGeom>
          <a:noFill/>
          <a:ln w="6350" cap="flat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A5FFFF"/>
                </a:solidFill>
              </a14:hiddenFill>
            </a:ext>
          </a:extLst>
        </p:spPr>
        <p:txBody>
          <a:bodyPr vert="horz" wrap="square" lIns="365760" tIns="0" rIns="0" bIns="0" rtlCol="0" anchor="t" anchorCtr="0">
            <a:sp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2"/>
              </a:buClr>
            </a:pP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Data Exploration &amp; Analysis</a:t>
            </a:r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7956AB31-F718-491D-AAC7-99EB166076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4507" y="493495"/>
            <a:ext cx="7604094" cy="338554"/>
          </a:xfrm>
        </p:spPr>
        <p:txBody>
          <a:bodyPr/>
          <a:lstStyle/>
          <a:p>
            <a:r>
              <a:rPr lang="en-US" b="1" dirty="0"/>
              <a:t>Framework</a:t>
            </a:r>
          </a:p>
        </p:txBody>
      </p:sp>
      <p:sp>
        <p:nvSpPr>
          <p:cNvPr id="5" name="Oval 4">
            <a:extLst>
              <a:ext uri="{FF2B5EF4-FFF2-40B4-BE49-F238E27FC236}">
                <a16:creationId xmlns="" xmlns:a16="http://schemas.microsoft.com/office/drawing/2014/main" id="{3D60A96E-A8F3-4D57-873D-4053E79B24CA}"/>
              </a:ext>
            </a:extLst>
          </p:cNvPr>
          <p:cNvSpPr/>
          <p:nvPr/>
        </p:nvSpPr>
        <p:spPr>
          <a:xfrm>
            <a:off x="246380" y="1600200"/>
            <a:ext cx="279400" cy="279400"/>
          </a:xfrm>
          <a:prstGeom prst="ellipse">
            <a:avLst/>
          </a:prstGeom>
          <a:solidFill>
            <a:schemeClr val="accent1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1600" b="1" dirty="0">
                <a:solidFill>
                  <a:schemeClr val="bg1"/>
                </a:solidFill>
                <a:latin typeface="Arial" panose="020B0604020202020204" pitchFamily="34" charset="0"/>
                <a:cs typeface="Arial" pitchFamily="34" charset="0"/>
              </a:rPr>
              <a:t>3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="" xmlns:a16="http://schemas.microsoft.com/office/drawing/2014/main" id="{07A45C63-15AE-440D-BBB4-2BDB5498DE00}"/>
              </a:ext>
            </a:extLst>
          </p:cNvPr>
          <p:cNvSpPr/>
          <p:nvPr/>
        </p:nvSpPr>
        <p:spPr>
          <a:xfrm>
            <a:off x="245364" y="2059305"/>
            <a:ext cx="5316199" cy="221599"/>
          </a:xfrm>
          <a:prstGeom prst="rect">
            <a:avLst/>
          </a:prstGeom>
          <a:noFill/>
          <a:ln w="6350" cap="flat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576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600" dirty="0">
                <a:solidFill>
                  <a:schemeClr val="tx1"/>
                </a:solidFill>
                <a:latin typeface="Arial" panose="020B0604020202020204" pitchFamily="34" charset="0"/>
                <a:cs typeface="Arial" pitchFamily="34" charset="0"/>
              </a:rPr>
              <a:t>Distribution Plots for the Nominal Categorical Features</a:t>
            </a:r>
          </a:p>
        </p:txBody>
      </p:sp>
      <p:pic>
        <p:nvPicPr>
          <p:cNvPr id="12" name="Picture 11" descr="img1.png">
            <a:extLst>
              <a:ext uri="{FF2B5EF4-FFF2-40B4-BE49-F238E27FC236}">
                <a16:creationId xmlns="" xmlns:a16="http://schemas.microsoft.com/office/drawing/2014/main" id="{BC32A385-8252-4B78-8098-A30F785DEAD4}"/>
              </a:ext>
            </a:extLst>
          </p:cNvPr>
          <p:cNvPicPr preferRelativeResize="0">
            <a:picLocks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735" t="-1" r="6862" b="14841"/>
          <a:stretch/>
        </p:blipFill>
        <p:spPr>
          <a:xfrm>
            <a:off x="241300" y="2451100"/>
            <a:ext cx="8646795" cy="4284663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="" xmlns:a16="http://schemas.microsoft.com/office/drawing/2014/main" id="{82277A1D-253F-4AAF-8287-BD708EBE0312}"/>
              </a:ext>
            </a:extLst>
          </p:cNvPr>
          <p:cNvGrpSpPr/>
          <p:nvPr/>
        </p:nvGrpSpPr>
        <p:grpSpPr>
          <a:xfrm>
            <a:off x="7877395" y="1225848"/>
            <a:ext cx="937795" cy="385342"/>
            <a:chOff x="7877395" y="1225848"/>
            <a:chExt cx="937795" cy="385342"/>
          </a:xfrm>
        </p:grpSpPr>
        <p:sp>
          <p:nvSpPr>
            <p:cNvPr id="15" name="Isosceles Triangle 14">
              <a:extLst>
                <a:ext uri="{FF2B5EF4-FFF2-40B4-BE49-F238E27FC236}">
                  <a16:creationId xmlns="" xmlns:a16="http://schemas.microsoft.com/office/drawing/2014/main" id="{42F71876-F168-4751-B391-0C2566EC1694}"/>
                </a:ext>
              </a:extLst>
            </p:cNvPr>
            <p:cNvSpPr>
              <a:spLocks noChangeAspect="1"/>
            </p:cNvSpPr>
            <p:nvPr/>
          </p:nvSpPr>
          <p:spPr bwMode="gray">
            <a:xfrm rot="9927096">
              <a:off x="8132907" y="1349645"/>
              <a:ext cx="73611" cy="63458"/>
            </a:xfrm>
            <a:prstGeom prst="triangle">
              <a:avLst/>
            </a:prstGeom>
            <a:solidFill>
              <a:schemeClr val="bg2"/>
            </a:solidFill>
            <a:ln w="9525">
              <a:solidFill>
                <a:srgbClr val="007F7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050" dirty="0">
                <a:solidFill>
                  <a:schemeClr val="tx1"/>
                </a:solidFill>
              </a:endParaRPr>
            </a:p>
          </p:txBody>
        </p:sp>
        <p:sp>
          <p:nvSpPr>
            <p:cNvPr id="16" name="Oval 15">
              <a:extLst>
                <a:ext uri="{FF2B5EF4-FFF2-40B4-BE49-F238E27FC236}">
                  <a16:creationId xmlns="" xmlns:a16="http://schemas.microsoft.com/office/drawing/2014/main" id="{77BC8DD0-A942-4DAB-9019-A07EA9574890}"/>
                </a:ext>
              </a:extLst>
            </p:cNvPr>
            <p:cNvSpPr/>
            <p:nvPr/>
          </p:nvSpPr>
          <p:spPr>
            <a:xfrm>
              <a:off x="8002635" y="1243852"/>
              <a:ext cx="50253" cy="50252"/>
            </a:xfrm>
            <a:prstGeom prst="ellipse">
              <a:avLst/>
            </a:prstGeom>
            <a:solidFill>
              <a:schemeClr val="bg2"/>
            </a:solidFill>
            <a:ln w="12700" cap="flat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 b="1" dirty="0">
                <a:solidFill>
                  <a:schemeClr val="bg1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17" name="Oval 16">
              <a:extLst>
                <a:ext uri="{FF2B5EF4-FFF2-40B4-BE49-F238E27FC236}">
                  <a16:creationId xmlns="" xmlns:a16="http://schemas.microsoft.com/office/drawing/2014/main" id="{A9274CD4-17B9-49CA-B549-C7A979BE5FF1}"/>
                </a:ext>
              </a:extLst>
            </p:cNvPr>
            <p:cNvSpPr/>
            <p:nvPr/>
          </p:nvSpPr>
          <p:spPr>
            <a:xfrm>
              <a:off x="8530035" y="1349312"/>
              <a:ext cx="212364" cy="212364"/>
            </a:xfrm>
            <a:prstGeom prst="ellipse">
              <a:avLst/>
            </a:prstGeom>
            <a:solidFill>
              <a:schemeClr val="accent5"/>
            </a:solidFill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ot="0" spcFirstLastPara="0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18" name="Arc 17">
              <a:extLst>
                <a:ext uri="{FF2B5EF4-FFF2-40B4-BE49-F238E27FC236}">
                  <a16:creationId xmlns="" xmlns:a16="http://schemas.microsoft.com/office/drawing/2014/main" id="{A18685AA-3D88-46B4-B4F6-6C29D134437F}"/>
                </a:ext>
              </a:extLst>
            </p:cNvPr>
            <p:cNvSpPr/>
            <p:nvPr/>
          </p:nvSpPr>
          <p:spPr bwMode="gray">
            <a:xfrm>
              <a:off x="8486575" y="1267966"/>
              <a:ext cx="283644" cy="247796"/>
            </a:xfrm>
            <a:prstGeom prst="arc">
              <a:avLst>
                <a:gd name="adj1" fmla="val 11178900"/>
                <a:gd name="adj2" fmla="val 21075396"/>
              </a:avLst>
            </a:prstGeom>
            <a:ln w="19050" cap="flat">
              <a:solidFill>
                <a:schemeClr val="accent5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100" dirty="0"/>
            </a:p>
          </p:txBody>
        </p:sp>
        <p:sp>
          <p:nvSpPr>
            <p:cNvPr id="19" name="Isosceles Triangle 18">
              <a:extLst>
                <a:ext uri="{FF2B5EF4-FFF2-40B4-BE49-F238E27FC236}">
                  <a16:creationId xmlns="" xmlns:a16="http://schemas.microsoft.com/office/drawing/2014/main" id="{CAA9B345-4CEC-4532-84EC-61F646ED48E4}"/>
                </a:ext>
              </a:extLst>
            </p:cNvPr>
            <p:cNvSpPr>
              <a:spLocks noChangeAspect="1"/>
            </p:cNvSpPr>
            <p:nvPr/>
          </p:nvSpPr>
          <p:spPr bwMode="gray">
            <a:xfrm rot="9927096">
              <a:off x="8734789" y="1347929"/>
              <a:ext cx="73611" cy="63458"/>
            </a:xfrm>
            <a:prstGeom prst="triangle">
              <a:avLst/>
            </a:prstGeom>
            <a:solidFill>
              <a:schemeClr val="accent5"/>
            </a:solidFill>
            <a:ln w="952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050" dirty="0">
                <a:solidFill>
                  <a:schemeClr val="tx1"/>
                </a:solidFill>
              </a:endParaRPr>
            </a:p>
          </p:txBody>
        </p:sp>
        <p:sp>
          <p:nvSpPr>
            <p:cNvPr id="20" name="Oval 19">
              <a:extLst>
                <a:ext uri="{FF2B5EF4-FFF2-40B4-BE49-F238E27FC236}">
                  <a16:creationId xmlns="" xmlns:a16="http://schemas.microsoft.com/office/drawing/2014/main" id="{9D6DAB89-2FCE-481E-B38A-965B80174643}"/>
                </a:ext>
              </a:extLst>
            </p:cNvPr>
            <p:cNvSpPr/>
            <p:nvPr/>
          </p:nvSpPr>
          <p:spPr>
            <a:xfrm>
              <a:off x="8611091" y="1243852"/>
              <a:ext cx="50253" cy="50252"/>
            </a:xfrm>
            <a:prstGeom prst="ellipse">
              <a:avLst/>
            </a:prstGeom>
            <a:solidFill>
              <a:schemeClr val="accent5"/>
            </a:solidFill>
            <a:ln w="12700" cap="flat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 b="1" dirty="0">
                <a:solidFill>
                  <a:schemeClr val="bg1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21" name="Rectangle 20">
              <a:extLst>
                <a:ext uri="{FF2B5EF4-FFF2-40B4-BE49-F238E27FC236}">
                  <a16:creationId xmlns="" xmlns:a16="http://schemas.microsoft.com/office/drawing/2014/main" id="{532327F9-96B1-419E-A174-73A010020923}"/>
                </a:ext>
              </a:extLst>
            </p:cNvPr>
            <p:cNvSpPr/>
            <p:nvPr/>
          </p:nvSpPr>
          <p:spPr>
            <a:xfrm>
              <a:off x="8486575" y="1225848"/>
              <a:ext cx="328615" cy="385342"/>
            </a:xfrm>
            <a:prstGeom prst="rect">
              <a:avLst/>
            </a:prstGeom>
            <a:solidFill>
              <a:schemeClr val="bg1">
                <a:alpha val="80000"/>
              </a:schemeClr>
            </a:solidFill>
            <a:ln w="6350" cap="flat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900"/>
                </a:spcBef>
              </a:pPr>
              <a:endParaRPr lang="en-US" sz="140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2" name="Oval 21">
              <a:extLst>
                <a:ext uri="{FF2B5EF4-FFF2-40B4-BE49-F238E27FC236}">
                  <a16:creationId xmlns="" xmlns:a16="http://schemas.microsoft.com/office/drawing/2014/main" id="{2DC06956-975B-4C87-BE96-EC5507F3B189}"/>
                </a:ext>
              </a:extLst>
            </p:cNvPr>
            <p:cNvSpPr/>
            <p:nvPr/>
          </p:nvSpPr>
          <p:spPr>
            <a:xfrm>
              <a:off x="7921579" y="1349312"/>
              <a:ext cx="212364" cy="212364"/>
            </a:xfrm>
            <a:prstGeom prst="ellipse">
              <a:avLst/>
            </a:prstGeom>
            <a:solidFill>
              <a:schemeClr val="bg2"/>
            </a:solidFill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ot="0" spcFirstLastPara="0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23" name="Arc 22">
              <a:extLst>
                <a:ext uri="{FF2B5EF4-FFF2-40B4-BE49-F238E27FC236}">
                  <a16:creationId xmlns="" xmlns:a16="http://schemas.microsoft.com/office/drawing/2014/main" id="{0634CA26-CE07-4F27-8DFD-1C0F3B99F6CB}"/>
                </a:ext>
              </a:extLst>
            </p:cNvPr>
            <p:cNvSpPr/>
            <p:nvPr/>
          </p:nvSpPr>
          <p:spPr bwMode="gray">
            <a:xfrm>
              <a:off x="7883769" y="1267966"/>
              <a:ext cx="283644" cy="247796"/>
            </a:xfrm>
            <a:prstGeom prst="arc">
              <a:avLst>
                <a:gd name="adj1" fmla="val 11178900"/>
                <a:gd name="adj2" fmla="val 21075396"/>
              </a:avLst>
            </a:prstGeom>
            <a:ln w="19050" cap="flat">
              <a:solidFill>
                <a:schemeClr val="bg2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100" dirty="0"/>
            </a:p>
          </p:txBody>
        </p:sp>
        <p:sp>
          <p:nvSpPr>
            <p:cNvPr id="24" name="Rectangle 23">
              <a:extLst>
                <a:ext uri="{FF2B5EF4-FFF2-40B4-BE49-F238E27FC236}">
                  <a16:creationId xmlns="" xmlns:a16="http://schemas.microsoft.com/office/drawing/2014/main" id="{4C4A855B-0C9A-4F1D-996D-42EE6A5BB102}"/>
                </a:ext>
              </a:extLst>
            </p:cNvPr>
            <p:cNvSpPr/>
            <p:nvPr/>
          </p:nvSpPr>
          <p:spPr>
            <a:xfrm>
              <a:off x="7877395" y="1225848"/>
              <a:ext cx="328615" cy="385342"/>
            </a:xfrm>
            <a:prstGeom prst="rect">
              <a:avLst/>
            </a:prstGeom>
            <a:solidFill>
              <a:schemeClr val="bg1">
                <a:alpha val="80000"/>
              </a:schemeClr>
            </a:solidFill>
            <a:ln w="6350" cap="flat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900"/>
                </a:spcBef>
              </a:pPr>
              <a:endParaRPr lang="en-US" sz="140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5" name="Oval 24">
              <a:extLst>
                <a:ext uri="{FF2B5EF4-FFF2-40B4-BE49-F238E27FC236}">
                  <a16:creationId xmlns="" xmlns:a16="http://schemas.microsoft.com/office/drawing/2014/main" id="{AC2F75A8-14C9-4509-A389-A2D907795F67}"/>
                </a:ext>
              </a:extLst>
            </p:cNvPr>
            <p:cNvSpPr/>
            <p:nvPr/>
          </p:nvSpPr>
          <p:spPr>
            <a:xfrm>
              <a:off x="8225098" y="1244357"/>
              <a:ext cx="212364" cy="212364"/>
            </a:xfrm>
            <a:prstGeom prst="ellipse">
              <a:avLst/>
            </a:prstGeom>
            <a:solidFill>
              <a:schemeClr val="accent1"/>
            </a:solidFill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ot="0" spcFirstLastPara="0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26" name="Arc 25">
              <a:extLst>
                <a:ext uri="{FF2B5EF4-FFF2-40B4-BE49-F238E27FC236}">
                  <a16:creationId xmlns="" xmlns:a16="http://schemas.microsoft.com/office/drawing/2014/main" id="{9EC92968-3B00-435E-A362-6FBDD46B1D20}"/>
                </a:ext>
              </a:extLst>
            </p:cNvPr>
            <p:cNvSpPr/>
            <p:nvPr/>
          </p:nvSpPr>
          <p:spPr bwMode="gray">
            <a:xfrm flipV="1">
              <a:off x="8184095" y="1313981"/>
              <a:ext cx="283644" cy="247373"/>
            </a:xfrm>
            <a:prstGeom prst="arc">
              <a:avLst>
                <a:gd name="adj1" fmla="val 11178900"/>
                <a:gd name="adj2" fmla="val 21075396"/>
              </a:avLst>
            </a:prstGeom>
            <a:ln w="19050" cap="flat">
              <a:solidFill>
                <a:schemeClr val="accent1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100" dirty="0"/>
            </a:p>
          </p:txBody>
        </p:sp>
        <p:sp>
          <p:nvSpPr>
            <p:cNvPr id="27" name="Isosceles Triangle 26">
              <a:extLst>
                <a:ext uri="{FF2B5EF4-FFF2-40B4-BE49-F238E27FC236}">
                  <a16:creationId xmlns="" xmlns:a16="http://schemas.microsoft.com/office/drawing/2014/main" id="{A9C230EC-5CD2-435D-8022-BC70B7A2D9E1}"/>
                </a:ext>
              </a:extLst>
            </p:cNvPr>
            <p:cNvSpPr>
              <a:spLocks noChangeAspect="1"/>
            </p:cNvSpPr>
            <p:nvPr/>
          </p:nvSpPr>
          <p:spPr bwMode="gray">
            <a:xfrm rot="11672904" flipV="1">
              <a:off x="8432310" y="1418179"/>
              <a:ext cx="73611" cy="63349"/>
            </a:xfrm>
            <a:prstGeom prst="triangle">
              <a:avLst/>
            </a:prstGeom>
            <a:solidFill>
              <a:schemeClr val="accent1"/>
            </a:solidFill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050" dirty="0">
                <a:solidFill>
                  <a:schemeClr val="tx1"/>
                </a:solidFill>
              </a:endParaRPr>
            </a:p>
          </p:txBody>
        </p:sp>
        <p:sp>
          <p:nvSpPr>
            <p:cNvPr id="28" name="Oval 27">
              <a:extLst>
                <a:ext uri="{FF2B5EF4-FFF2-40B4-BE49-F238E27FC236}">
                  <a16:creationId xmlns="" xmlns:a16="http://schemas.microsoft.com/office/drawing/2014/main" id="{D4BBC231-A829-47AF-A3C1-3A1B4717F33C}"/>
                </a:ext>
              </a:extLst>
            </p:cNvPr>
            <p:cNvSpPr/>
            <p:nvPr/>
          </p:nvSpPr>
          <p:spPr>
            <a:xfrm>
              <a:off x="8306154" y="1537095"/>
              <a:ext cx="50253" cy="50252"/>
            </a:xfrm>
            <a:prstGeom prst="ellipse">
              <a:avLst/>
            </a:prstGeom>
            <a:solidFill>
              <a:schemeClr val="accent1"/>
            </a:solidFill>
            <a:ln w="12700" cap="flat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 b="1" dirty="0">
                <a:solidFill>
                  <a:schemeClr val="bg1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5539216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AA16B7AC-F676-4F67-8813-4F8F68AAD7D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654"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="" xmlns:a16="http://schemas.microsoft.com/office/drawing/2014/main" id="{AA16B7AC-F676-4F67-8813-4F8F68AAD7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="" xmlns:a16="http://schemas.microsoft.com/office/drawing/2014/main" id="{260A3D96-399B-450E-B597-24C3AA9AE05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US" sz="240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="" xmlns:a16="http://schemas.microsoft.com/office/drawing/2014/main" id="{48D13E25-DCE9-4BCE-806B-429683B77FA6}"/>
              </a:ext>
            </a:extLst>
          </p:cNvPr>
          <p:cNvSpPr txBox="1"/>
          <p:nvPr/>
        </p:nvSpPr>
        <p:spPr>
          <a:xfrm>
            <a:off x="244474" y="1628140"/>
            <a:ext cx="6840220" cy="249299"/>
          </a:xfrm>
          <a:prstGeom prst="rect">
            <a:avLst/>
          </a:prstGeom>
          <a:noFill/>
          <a:ln w="6350" cap="flat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A5FFFF"/>
                </a:solidFill>
              </a14:hiddenFill>
            </a:ext>
          </a:extLst>
        </p:spPr>
        <p:txBody>
          <a:bodyPr vert="horz" wrap="square" lIns="365760" tIns="0" rIns="0" bIns="0" rtlCol="0" anchor="t" anchorCtr="0">
            <a:sp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2"/>
              </a:buClr>
            </a:pP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Data Exploration &amp; Analysis</a:t>
            </a:r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7956AB31-F718-491D-AAC7-99EB166076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4507" y="493495"/>
            <a:ext cx="7604094" cy="338554"/>
          </a:xfrm>
        </p:spPr>
        <p:txBody>
          <a:bodyPr/>
          <a:lstStyle/>
          <a:p>
            <a:r>
              <a:rPr lang="en-US" b="1" dirty="0"/>
              <a:t>Framework</a:t>
            </a:r>
          </a:p>
        </p:txBody>
      </p:sp>
      <p:sp>
        <p:nvSpPr>
          <p:cNvPr id="5" name="Oval 4">
            <a:extLst>
              <a:ext uri="{FF2B5EF4-FFF2-40B4-BE49-F238E27FC236}">
                <a16:creationId xmlns="" xmlns:a16="http://schemas.microsoft.com/office/drawing/2014/main" id="{3D60A96E-A8F3-4D57-873D-4053E79B24CA}"/>
              </a:ext>
            </a:extLst>
          </p:cNvPr>
          <p:cNvSpPr/>
          <p:nvPr/>
        </p:nvSpPr>
        <p:spPr>
          <a:xfrm>
            <a:off x="246380" y="1600200"/>
            <a:ext cx="279400" cy="279400"/>
          </a:xfrm>
          <a:prstGeom prst="ellipse">
            <a:avLst/>
          </a:prstGeom>
          <a:solidFill>
            <a:schemeClr val="accent1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1600" b="1" dirty="0">
                <a:solidFill>
                  <a:schemeClr val="bg1"/>
                </a:solidFill>
                <a:latin typeface="Arial" panose="020B0604020202020204" pitchFamily="34" charset="0"/>
                <a:cs typeface="Arial" pitchFamily="34" charset="0"/>
              </a:rPr>
              <a:t>3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="" xmlns:a16="http://schemas.microsoft.com/office/drawing/2014/main" id="{07A45C63-15AE-440D-BBB4-2BDB5498DE00}"/>
              </a:ext>
            </a:extLst>
          </p:cNvPr>
          <p:cNvSpPr/>
          <p:nvPr/>
        </p:nvSpPr>
        <p:spPr>
          <a:xfrm>
            <a:off x="245364" y="2059305"/>
            <a:ext cx="5316199" cy="221599"/>
          </a:xfrm>
          <a:prstGeom prst="rect">
            <a:avLst/>
          </a:prstGeom>
          <a:noFill/>
          <a:ln w="6350" cap="flat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576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600" dirty="0">
                <a:solidFill>
                  <a:schemeClr val="tx1"/>
                </a:solidFill>
                <a:latin typeface="Arial" panose="020B0604020202020204" pitchFamily="34" charset="0"/>
                <a:cs typeface="Arial" pitchFamily="34" charset="0"/>
              </a:rPr>
              <a:t>Distribution Plots for the Nominal Categorical Features</a:t>
            </a:r>
          </a:p>
        </p:txBody>
      </p:sp>
      <p:pic>
        <p:nvPicPr>
          <p:cNvPr id="9" name="Picture 8" descr="img2.png">
            <a:extLst>
              <a:ext uri="{FF2B5EF4-FFF2-40B4-BE49-F238E27FC236}">
                <a16:creationId xmlns="" xmlns:a16="http://schemas.microsoft.com/office/drawing/2014/main" id="{F6996E0C-688B-4536-BE26-D379F94C980B}"/>
              </a:ext>
            </a:extLst>
          </p:cNvPr>
          <p:cNvPicPr preferRelativeResize="0">
            <a:picLocks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86" r="4312" b="18125"/>
          <a:stretch/>
        </p:blipFill>
        <p:spPr>
          <a:xfrm>
            <a:off x="241300" y="2463800"/>
            <a:ext cx="8651875" cy="4275394"/>
          </a:xfrm>
          <a:prstGeom prst="rect">
            <a:avLst/>
          </a:prstGeom>
        </p:spPr>
      </p:pic>
      <p:grpSp>
        <p:nvGrpSpPr>
          <p:cNvPr id="11" name="Group 10">
            <a:extLst>
              <a:ext uri="{FF2B5EF4-FFF2-40B4-BE49-F238E27FC236}">
                <a16:creationId xmlns="" xmlns:a16="http://schemas.microsoft.com/office/drawing/2014/main" id="{17C8CC53-8070-470F-BF10-5D9CC82F7859}"/>
              </a:ext>
            </a:extLst>
          </p:cNvPr>
          <p:cNvGrpSpPr/>
          <p:nvPr/>
        </p:nvGrpSpPr>
        <p:grpSpPr>
          <a:xfrm>
            <a:off x="7877395" y="1225848"/>
            <a:ext cx="937795" cy="385342"/>
            <a:chOff x="7877395" y="1225848"/>
            <a:chExt cx="937795" cy="385342"/>
          </a:xfrm>
        </p:grpSpPr>
        <p:sp>
          <p:nvSpPr>
            <p:cNvPr id="12" name="Isosceles Triangle 11">
              <a:extLst>
                <a:ext uri="{FF2B5EF4-FFF2-40B4-BE49-F238E27FC236}">
                  <a16:creationId xmlns="" xmlns:a16="http://schemas.microsoft.com/office/drawing/2014/main" id="{CE679234-5B7A-4257-A165-C05B1251CBF0}"/>
                </a:ext>
              </a:extLst>
            </p:cNvPr>
            <p:cNvSpPr>
              <a:spLocks noChangeAspect="1"/>
            </p:cNvSpPr>
            <p:nvPr/>
          </p:nvSpPr>
          <p:spPr bwMode="gray">
            <a:xfrm rot="9927096">
              <a:off x="8132907" y="1349645"/>
              <a:ext cx="73611" cy="63458"/>
            </a:xfrm>
            <a:prstGeom prst="triangle">
              <a:avLst/>
            </a:prstGeom>
            <a:solidFill>
              <a:schemeClr val="bg2"/>
            </a:solidFill>
            <a:ln w="9525">
              <a:solidFill>
                <a:srgbClr val="007F7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050" dirty="0">
                <a:solidFill>
                  <a:schemeClr val="tx1"/>
                </a:solidFill>
              </a:endParaRPr>
            </a:p>
          </p:txBody>
        </p:sp>
        <p:sp>
          <p:nvSpPr>
            <p:cNvPr id="13" name="Oval 12">
              <a:extLst>
                <a:ext uri="{FF2B5EF4-FFF2-40B4-BE49-F238E27FC236}">
                  <a16:creationId xmlns="" xmlns:a16="http://schemas.microsoft.com/office/drawing/2014/main" id="{BF65367F-5C7F-4410-894C-A6F186A94158}"/>
                </a:ext>
              </a:extLst>
            </p:cNvPr>
            <p:cNvSpPr/>
            <p:nvPr/>
          </p:nvSpPr>
          <p:spPr>
            <a:xfrm>
              <a:off x="8002635" y="1243852"/>
              <a:ext cx="50253" cy="50252"/>
            </a:xfrm>
            <a:prstGeom prst="ellipse">
              <a:avLst/>
            </a:prstGeom>
            <a:solidFill>
              <a:schemeClr val="bg2"/>
            </a:solidFill>
            <a:ln w="12700" cap="flat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 b="1" dirty="0">
                <a:solidFill>
                  <a:schemeClr val="bg1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14" name="Oval 13">
              <a:extLst>
                <a:ext uri="{FF2B5EF4-FFF2-40B4-BE49-F238E27FC236}">
                  <a16:creationId xmlns="" xmlns:a16="http://schemas.microsoft.com/office/drawing/2014/main" id="{2BB933B9-5CCD-413F-8236-01D47ABBED29}"/>
                </a:ext>
              </a:extLst>
            </p:cNvPr>
            <p:cNvSpPr/>
            <p:nvPr/>
          </p:nvSpPr>
          <p:spPr>
            <a:xfrm>
              <a:off x="8530035" y="1349312"/>
              <a:ext cx="212364" cy="212364"/>
            </a:xfrm>
            <a:prstGeom prst="ellipse">
              <a:avLst/>
            </a:prstGeom>
            <a:solidFill>
              <a:schemeClr val="accent5"/>
            </a:solidFill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ot="0" spcFirstLastPara="0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15" name="Arc 14">
              <a:extLst>
                <a:ext uri="{FF2B5EF4-FFF2-40B4-BE49-F238E27FC236}">
                  <a16:creationId xmlns="" xmlns:a16="http://schemas.microsoft.com/office/drawing/2014/main" id="{B7F0D1CA-84BB-4087-8860-15F9C1957E44}"/>
                </a:ext>
              </a:extLst>
            </p:cNvPr>
            <p:cNvSpPr/>
            <p:nvPr/>
          </p:nvSpPr>
          <p:spPr bwMode="gray">
            <a:xfrm>
              <a:off x="8486575" y="1267966"/>
              <a:ext cx="283644" cy="247796"/>
            </a:xfrm>
            <a:prstGeom prst="arc">
              <a:avLst>
                <a:gd name="adj1" fmla="val 11178900"/>
                <a:gd name="adj2" fmla="val 21075396"/>
              </a:avLst>
            </a:prstGeom>
            <a:ln w="19050" cap="flat">
              <a:solidFill>
                <a:schemeClr val="accent5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100" dirty="0"/>
            </a:p>
          </p:txBody>
        </p:sp>
        <p:sp>
          <p:nvSpPr>
            <p:cNvPr id="16" name="Isosceles Triangle 15">
              <a:extLst>
                <a:ext uri="{FF2B5EF4-FFF2-40B4-BE49-F238E27FC236}">
                  <a16:creationId xmlns="" xmlns:a16="http://schemas.microsoft.com/office/drawing/2014/main" id="{0BD785F5-DA1F-47D5-8D71-6F2BC4076810}"/>
                </a:ext>
              </a:extLst>
            </p:cNvPr>
            <p:cNvSpPr>
              <a:spLocks noChangeAspect="1"/>
            </p:cNvSpPr>
            <p:nvPr/>
          </p:nvSpPr>
          <p:spPr bwMode="gray">
            <a:xfrm rot="9927096">
              <a:off x="8734789" y="1347929"/>
              <a:ext cx="73611" cy="63458"/>
            </a:xfrm>
            <a:prstGeom prst="triangle">
              <a:avLst/>
            </a:prstGeom>
            <a:solidFill>
              <a:schemeClr val="accent5"/>
            </a:solidFill>
            <a:ln w="952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050" dirty="0">
                <a:solidFill>
                  <a:schemeClr val="tx1"/>
                </a:solidFill>
              </a:endParaRPr>
            </a:p>
          </p:txBody>
        </p:sp>
        <p:sp>
          <p:nvSpPr>
            <p:cNvPr id="17" name="Oval 16">
              <a:extLst>
                <a:ext uri="{FF2B5EF4-FFF2-40B4-BE49-F238E27FC236}">
                  <a16:creationId xmlns="" xmlns:a16="http://schemas.microsoft.com/office/drawing/2014/main" id="{D499B3EC-FA04-4ACE-8335-D4416D1E8F90}"/>
                </a:ext>
              </a:extLst>
            </p:cNvPr>
            <p:cNvSpPr/>
            <p:nvPr/>
          </p:nvSpPr>
          <p:spPr>
            <a:xfrm>
              <a:off x="8611091" y="1243852"/>
              <a:ext cx="50253" cy="50252"/>
            </a:xfrm>
            <a:prstGeom prst="ellipse">
              <a:avLst/>
            </a:prstGeom>
            <a:solidFill>
              <a:schemeClr val="accent5"/>
            </a:solidFill>
            <a:ln w="12700" cap="flat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 b="1" dirty="0">
                <a:solidFill>
                  <a:schemeClr val="bg1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="" xmlns:a16="http://schemas.microsoft.com/office/drawing/2014/main" id="{1AF509C1-3822-4FD7-A8DB-C926980D8829}"/>
                </a:ext>
              </a:extLst>
            </p:cNvPr>
            <p:cNvSpPr/>
            <p:nvPr/>
          </p:nvSpPr>
          <p:spPr>
            <a:xfrm>
              <a:off x="8486575" y="1225848"/>
              <a:ext cx="328615" cy="385342"/>
            </a:xfrm>
            <a:prstGeom prst="rect">
              <a:avLst/>
            </a:prstGeom>
            <a:solidFill>
              <a:schemeClr val="bg1">
                <a:alpha val="80000"/>
              </a:schemeClr>
            </a:solidFill>
            <a:ln w="6350" cap="flat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900"/>
                </a:spcBef>
              </a:pPr>
              <a:endParaRPr lang="en-US" sz="140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9" name="Oval 18">
              <a:extLst>
                <a:ext uri="{FF2B5EF4-FFF2-40B4-BE49-F238E27FC236}">
                  <a16:creationId xmlns="" xmlns:a16="http://schemas.microsoft.com/office/drawing/2014/main" id="{803DB161-ED72-4BAA-9E89-EB14B12A53B9}"/>
                </a:ext>
              </a:extLst>
            </p:cNvPr>
            <p:cNvSpPr/>
            <p:nvPr/>
          </p:nvSpPr>
          <p:spPr>
            <a:xfrm>
              <a:off x="7921579" y="1349312"/>
              <a:ext cx="212364" cy="212364"/>
            </a:xfrm>
            <a:prstGeom prst="ellipse">
              <a:avLst/>
            </a:prstGeom>
            <a:solidFill>
              <a:schemeClr val="bg2"/>
            </a:solidFill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ot="0" spcFirstLastPara="0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20" name="Arc 19">
              <a:extLst>
                <a:ext uri="{FF2B5EF4-FFF2-40B4-BE49-F238E27FC236}">
                  <a16:creationId xmlns="" xmlns:a16="http://schemas.microsoft.com/office/drawing/2014/main" id="{A062A890-DE2B-4AFC-932B-DC24CBDC7B80}"/>
                </a:ext>
              </a:extLst>
            </p:cNvPr>
            <p:cNvSpPr/>
            <p:nvPr/>
          </p:nvSpPr>
          <p:spPr bwMode="gray">
            <a:xfrm>
              <a:off x="7883769" y="1267966"/>
              <a:ext cx="283644" cy="247796"/>
            </a:xfrm>
            <a:prstGeom prst="arc">
              <a:avLst>
                <a:gd name="adj1" fmla="val 11178900"/>
                <a:gd name="adj2" fmla="val 21075396"/>
              </a:avLst>
            </a:prstGeom>
            <a:ln w="19050" cap="flat">
              <a:solidFill>
                <a:schemeClr val="bg2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100" dirty="0"/>
            </a:p>
          </p:txBody>
        </p:sp>
        <p:sp>
          <p:nvSpPr>
            <p:cNvPr id="21" name="Rectangle 20">
              <a:extLst>
                <a:ext uri="{FF2B5EF4-FFF2-40B4-BE49-F238E27FC236}">
                  <a16:creationId xmlns="" xmlns:a16="http://schemas.microsoft.com/office/drawing/2014/main" id="{6A1D7BD8-3698-4F9B-8CEC-22123E6EE47C}"/>
                </a:ext>
              </a:extLst>
            </p:cNvPr>
            <p:cNvSpPr/>
            <p:nvPr/>
          </p:nvSpPr>
          <p:spPr>
            <a:xfrm>
              <a:off x="7877395" y="1225848"/>
              <a:ext cx="328615" cy="385342"/>
            </a:xfrm>
            <a:prstGeom prst="rect">
              <a:avLst/>
            </a:prstGeom>
            <a:solidFill>
              <a:schemeClr val="bg1">
                <a:alpha val="80000"/>
              </a:schemeClr>
            </a:solidFill>
            <a:ln w="6350" cap="flat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900"/>
                </a:spcBef>
              </a:pPr>
              <a:endParaRPr lang="en-US" sz="140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2" name="Oval 21">
              <a:extLst>
                <a:ext uri="{FF2B5EF4-FFF2-40B4-BE49-F238E27FC236}">
                  <a16:creationId xmlns="" xmlns:a16="http://schemas.microsoft.com/office/drawing/2014/main" id="{E3819564-1B70-4EB9-9BDC-EC64F5E737C4}"/>
                </a:ext>
              </a:extLst>
            </p:cNvPr>
            <p:cNvSpPr/>
            <p:nvPr/>
          </p:nvSpPr>
          <p:spPr>
            <a:xfrm>
              <a:off x="8225098" y="1244357"/>
              <a:ext cx="212364" cy="212364"/>
            </a:xfrm>
            <a:prstGeom prst="ellipse">
              <a:avLst/>
            </a:prstGeom>
            <a:solidFill>
              <a:schemeClr val="accent1"/>
            </a:solidFill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ot="0" spcFirstLastPara="0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23" name="Arc 22">
              <a:extLst>
                <a:ext uri="{FF2B5EF4-FFF2-40B4-BE49-F238E27FC236}">
                  <a16:creationId xmlns="" xmlns:a16="http://schemas.microsoft.com/office/drawing/2014/main" id="{8369AA98-8FC0-4A4C-9544-F81607389BE3}"/>
                </a:ext>
              </a:extLst>
            </p:cNvPr>
            <p:cNvSpPr/>
            <p:nvPr/>
          </p:nvSpPr>
          <p:spPr bwMode="gray">
            <a:xfrm flipV="1">
              <a:off x="8184095" y="1313981"/>
              <a:ext cx="283644" cy="247373"/>
            </a:xfrm>
            <a:prstGeom prst="arc">
              <a:avLst>
                <a:gd name="adj1" fmla="val 11178900"/>
                <a:gd name="adj2" fmla="val 21075396"/>
              </a:avLst>
            </a:prstGeom>
            <a:ln w="19050" cap="flat">
              <a:solidFill>
                <a:schemeClr val="accent1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100" dirty="0"/>
            </a:p>
          </p:txBody>
        </p:sp>
        <p:sp>
          <p:nvSpPr>
            <p:cNvPr id="24" name="Isosceles Triangle 23">
              <a:extLst>
                <a:ext uri="{FF2B5EF4-FFF2-40B4-BE49-F238E27FC236}">
                  <a16:creationId xmlns="" xmlns:a16="http://schemas.microsoft.com/office/drawing/2014/main" id="{CC77979D-B79A-49FA-8718-9F126664EC66}"/>
                </a:ext>
              </a:extLst>
            </p:cNvPr>
            <p:cNvSpPr>
              <a:spLocks noChangeAspect="1"/>
            </p:cNvSpPr>
            <p:nvPr/>
          </p:nvSpPr>
          <p:spPr bwMode="gray">
            <a:xfrm rot="11672904" flipV="1">
              <a:off x="8432310" y="1418179"/>
              <a:ext cx="73611" cy="63349"/>
            </a:xfrm>
            <a:prstGeom prst="triangle">
              <a:avLst/>
            </a:prstGeom>
            <a:solidFill>
              <a:schemeClr val="accent1"/>
            </a:solidFill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050" dirty="0">
                <a:solidFill>
                  <a:schemeClr val="tx1"/>
                </a:solidFill>
              </a:endParaRPr>
            </a:p>
          </p:txBody>
        </p:sp>
        <p:sp>
          <p:nvSpPr>
            <p:cNvPr id="25" name="Oval 24">
              <a:extLst>
                <a:ext uri="{FF2B5EF4-FFF2-40B4-BE49-F238E27FC236}">
                  <a16:creationId xmlns="" xmlns:a16="http://schemas.microsoft.com/office/drawing/2014/main" id="{48DC9C21-D2A1-43FD-B9C9-4F9439B50A68}"/>
                </a:ext>
              </a:extLst>
            </p:cNvPr>
            <p:cNvSpPr/>
            <p:nvPr/>
          </p:nvSpPr>
          <p:spPr>
            <a:xfrm>
              <a:off x="8306154" y="1537095"/>
              <a:ext cx="50253" cy="50252"/>
            </a:xfrm>
            <a:prstGeom prst="ellipse">
              <a:avLst/>
            </a:prstGeom>
            <a:solidFill>
              <a:schemeClr val="accent1"/>
            </a:solidFill>
            <a:ln w="12700" cap="flat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 b="1" dirty="0">
                <a:solidFill>
                  <a:schemeClr val="bg1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6013129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AA16B7AC-F676-4F67-8813-4F8F68AAD7D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678"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="" xmlns:a16="http://schemas.microsoft.com/office/drawing/2014/main" id="{AA16B7AC-F676-4F67-8813-4F8F68AAD7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="" xmlns:a16="http://schemas.microsoft.com/office/drawing/2014/main" id="{260A3D96-399B-450E-B597-24C3AA9AE05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US" sz="240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="" xmlns:a16="http://schemas.microsoft.com/office/drawing/2014/main" id="{48D13E25-DCE9-4BCE-806B-429683B77FA6}"/>
              </a:ext>
            </a:extLst>
          </p:cNvPr>
          <p:cNvSpPr txBox="1"/>
          <p:nvPr/>
        </p:nvSpPr>
        <p:spPr>
          <a:xfrm>
            <a:off x="244474" y="1628140"/>
            <a:ext cx="6840220" cy="249299"/>
          </a:xfrm>
          <a:prstGeom prst="rect">
            <a:avLst/>
          </a:prstGeom>
          <a:noFill/>
          <a:ln w="6350" cap="flat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A5FFFF"/>
                </a:solidFill>
              </a14:hiddenFill>
            </a:ext>
          </a:extLst>
        </p:spPr>
        <p:txBody>
          <a:bodyPr vert="horz" wrap="square" lIns="365760" tIns="0" rIns="0" bIns="0" rtlCol="0" anchor="t" anchorCtr="0">
            <a:sp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2"/>
              </a:buClr>
            </a:pP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Data Exploration &amp; Analysis</a:t>
            </a:r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7956AB31-F718-491D-AAC7-99EB166076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4507" y="493495"/>
            <a:ext cx="7604094" cy="338554"/>
          </a:xfrm>
        </p:spPr>
        <p:txBody>
          <a:bodyPr/>
          <a:lstStyle/>
          <a:p>
            <a:r>
              <a:rPr lang="en-US" b="1" dirty="0"/>
              <a:t>Framework</a:t>
            </a:r>
          </a:p>
        </p:txBody>
      </p:sp>
      <p:sp>
        <p:nvSpPr>
          <p:cNvPr id="5" name="Oval 4">
            <a:extLst>
              <a:ext uri="{FF2B5EF4-FFF2-40B4-BE49-F238E27FC236}">
                <a16:creationId xmlns="" xmlns:a16="http://schemas.microsoft.com/office/drawing/2014/main" id="{3D60A96E-A8F3-4D57-873D-4053E79B24CA}"/>
              </a:ext>
            </a:extLst>
          </p:cNvPr>
          <p:cNvSpPr/>
          <p:nvPr/>
        </p:nvSpPr>
        <p:spPr>
          <a:xfrm>
            <a:off x="246380" y="1600200"/>
            <a:ext cx="279400" cy="279400"/>
          </a:xfrm>
          <a:prstGeom prst="ellipse">
            <a:avLst/>
          </a:prstGeom>
          <a:solidFill>
            <a:schemeClr val="accent1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1600" b="1" dirty="0">
                <a:solidFill>
                  <a:schemeClr val="bg1"/>
                </a:solidFill>
                <a:latin typeface="Arial" panose="020B0604020202020204" pitchFamily="34" charset="0"/>
                <a:cs typeface="Arial" pitchFamily="34" charset="0"/>
              </a:rPr>
              <a:t>3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="" xmlns:a16="http://schemas.microsoft.com/office/drawing/2014/main" id="{07A45C63-15AE-440D-BBB4-2BDB5498DE00}"/>
              </a:ext>
            </a:extLst>
          </p:cNvPr>
          <p:cNvSpPr/>
          <p:nvPr/>
        </p:nvSpPr>
        <p:spPr>
          <a:xfrm>
            <a:off x="245364" y="2059305"/>
            <a:ext cx="5316199" cy="221599"/>
          </a:xfrm>
          <a:prstGeom prst="rect">
            <a:avLst/>
          </a:prstGeom>
          <a:noFill/>
          <a:ln w="6350" cap="flat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576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600" dirty="0">
                <a:solidFill>
                  <a:schemeClr val="tx1"/>
                </a:solidFill>
                <a:latin typeface="Arial" panose="020B0604020202020204" pitchFamily="34" charset="0"/>
                <a:cs typeface="Arial" pitchFamily="34" charset="0"/>
              </a:rPr>
              <a:t>Distribution Plots for the Nominal Categorical Features</a:t>
            </a:r>
          </a:p>
        </p:txBody>
      </p:sp>
      <p:pic>
        <p:nvPicPr>
          <p:cNvPr id="10" name="Picture 9" descr="img3.png">
            <a:extLst>
              <a:ext uri="{FF2B5EF4-FFF2-40B4-BE49-F238E27FC236}">
                <a16:creationId xmlns="" xmlns:a16="http://schemas.microsoft.com/office/drawing/2014/main" id="{FA2DADB6-02C9-430C-8385-19AB73A7D5FF}"/>
              </a:ext>
            </a:extLst>
          </p:cNvPr>
          <p:cNvPicPr preferRelativeResize="0">
            <a:picLocks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115" r="4806" b="14802"/>
          <a:stretch/>
        </p:blipFill>
        <p:spPr>
          <a:xfrm>
            <a:off x="241300" y="2463800"/>
            <a:ext cx="8651875" cy="4275394"/>
          </a:xfrm>
          <a:prstGeom prst="rect">
            <a:avLst/>
          </a:prstGeom>
        </p:spPr>
      </p:pic>
      <p:grpSp>
        <p:nvGrpSpPr>
          <p:cNvPr id="11" name="Group 10">
            <a:extLst>
              <a:ext uri="{FF2B5EF4-FFF2-40B4-BE49-F238E27FC236}">
                <a16:creationId xmlns="" xmlns:a16="http://schemas.microsoft.com/office/drawing/2014/main" id="{49ACE5BF-E543-4711-B9AE-49832062569F}"/>
              </a:ext>
            </a:extLst>
          </p:cNvPr>
          <p:cNvGrpSpPr/>
          <p:nvPr/>
        </p:nvGrpSpPr>
        <p:grpSpPr>
          <a:xfrm>
            <a:off x="7877395" y="1225848"/>
            <a:ext cx="937795" cy="385342"/>
            <a:chOff x="7877395" y="1225848"/>
            <a:chExt cx="937795" cy="385342"/>
          </a:xfrm>
        </p:grpSpPr>
        <p:sp>
          <p:nvSpPr>
            <p:cNvPr id="12" name="Isosceles Triangle 11">
              <a:extLst>
                <a:ext uri="{FF2B5EF4-FFF2-40B4-BE49-F238E27FC236}">
                  <a16:creationId xmlns="" xmlns:a16="http://schemas.microsoft.com/office/drawing/2014/main" id="{FA08C728-75E5-419E-A597-7123DCA4791C}"/>
                </a:ext>
              </a:extLst>
            </p:cNvPr>
            <p:cNvSpPr>
              <a:spLocks noChangeAspect="1"/>
            </p:cNvSpPr>
            <p:nvPr/>
          </p:nvSpPr>
          <p:spPr bwMode="gray">
            <a:xfrm rot="9927096">
              <a:off x="8132907" y="1349645"/>
              <a:ext cx="73611" cy="63458"/>
            </a:xfrm>
            <a:prstGeom prst="triangle">
              <a:avLst/>
            </a:prstGeom>
            <a:solidFill>
              <a:schemeClr val="bg2"/>
            </a:solidFill>
            <a:ln w="9525">
              <a:solidFill>
                <a:srgbClr val="007F7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050" dirty="0">
                <a:solidFill>
                  <a:schemeClr val="tx1"/>
                </a:solidFill>
              </a:endParaRPr>
            </a:p>
          </p:txBody>
        </p:sp>
        <p:sp>
          <p:nvSpPr>
            <p:cNvPr id="13" name="Oval 12">
              <a:extLst>
                <a:ext uri="{FF2B5EF4-FFF2-40B4-BE49-F238E27FC236}">
                  <a16:creationId xmlns="" xmlns:a16="http://schemas.microsoft.com/office/drawing/2014/main" id="{89156206-5EA6-4C2B-B359-3A2D9F5B2715}"/>
                </a:ext>
              </a:extLst>
            </p:cNvPr>
            <p:cNvSpPr/>
            <p:nvPr/>
          </p:nvSpPr>
          <p:spPr>
            <a:xfrm>
              <a:off x="8002635" y="1243852"/>
              <a:ext cx="50253" cy="50252"/>
            </a:xfrm>
            <a:prstGeom prst="ellipse">
              <a:avLst/>
            </a:prstGeom>
            <a:solidFill>
              <a:schemeClr val="bg2"/>
            </a:solidFill>
            <a:ln w="12700" cap="flat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 b="1" dirty="0">
                <a:solidFill>
                  <a:schemeClr val="bg1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14" name="Oval 13">
              <a:extLst>
                <a:ext uri="{FF2B5EF4-FFF2-40B4-BE49-F238E27FC236}">
                  <a16:creationId xmlns="" xmlns:a16="http://schemas.microsoft.com/office/drawing/2014/main" id="{B16B0D0E-6550-491F-8A3A-4D05E5E95ABA}"/>
                </a:ext>
              </a:extLst>
            </p:cNvPr>
            <p:cNvSpPr/>
            <p:nvPr/>
          </p:nvSpPr>
          <p:spPr>
            <a:xfrm>
              <a:off x="8530035" y="1349312"/>
              <a:ext cx="212364" cy="212364"/>
            </a:xfrm>
            <a:prstGeom prst="ellipse">
              <a:avLst/>
            </a:prstGeom>
            <a:solidFill>
              <a:schemeClr val="accent5"/>
            </a:solidFill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ot="0" spcFirstLastPara="0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15" name="Arc 14">
              <a:extLst>
                <a:ext uri="{FF2B5EF4-FFF2-40B4-BE49-F238E27FC236}">
                  <a16:creationId xmlns="" xmlns:a16="http://schemas.microsoft.com/office/drawing/2014/main" id="{278CEBDC-8B8B-4EC2-AD3D-2E8165E8E880}"/>
                </a:ext>
              </a:extLst>
            </p:cNvPr>
            <p:cNvSpPr/>
            <p:nvPr/>
          </p:nvSpPr>
          <p:spPr bwMode="gray">
            <a:xfrm>
              <a:off x="8486575" y="1267966"/>
              <a:ext cx="283644" cy="247796"/>
            </a:xfrm>
            <a:prstGeom prst="arc">
              <a:avLst>
                <a:gd name="adj1" fmla="val 11178900"/>
                <a:gd name="adj2" fmla="val 21075396"/>
              </a:avLst>
            </a:prstGeom>
            <a:ln w="19050" cap="flat">
              <a:solidFill>
                <a:schemeClr val="accent5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100" dirty="0"/>
            </a:p>
          </p:txBody>
        </p:sp>
        <p:sp>
          <p:nvSpPr>
            <p:cNvPr id="16" name="Isosceles Triangle 15">
              <a:extLst>
                <a:ext uri="{FF2B5EF4-FFF2-40B4-BE49-F238E27FC236}">
                  <a16:creationId xmlns="" xmlns:a16="http://schemas.microsoft.com/office/drawing/2014/main" id="{D69EA247-3761-4770-BEB7-B41BCCF14EEE}"/>
                </a:ext>
              </a:extLst>
            </p:cNvPr>
            <p:cNvSpPr>
              <a:spLocks noChangeAspect="1"/>
            </p:cNvSpPr>
            <p:nvPr/>
          </p:nvSpPr>
          <p:spPr bwMode="gray">
            <a:xfrm rot="9927096">
              <a:off x="8734789" y="1347929"/>
              <a:ext cx="73611" cy="63458"/>
            </a:xfrm>
            <a:prstGeom prst="triangle">
              <a:avLst/>
            </a:prstGeom>
            <a:solidFill>
              <a:schemeClr val="accent5"/>
            </a:solidFill>
            <a:ln w="952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050" dirty="0">
                <a:solidFill>
                  <a:schemeClr val="tx1"/>
                </a:solidFill>
              </a:endParaRPr>
            </a:p>
          </p:txBody>
        </p:sp>
        <p:sp>
          <p:nvSpPr>
            <p:cNvPr id="17" name="Oval 16">
              <a:extLst>
                <a:ext uri="{FF2B5EF4-FFF2-40B4-BE49-F238E27FC236}">
                  <a16:creationId xmlns="" xmlns:a16="http://schemas.microsoft.com/office/drawing/2014/main" id="{61470EA7-F5AF-4F1D-9376-0EAB36690084}"/>
                </a:ext>
              </a:extLst>
            </p:cNvPr>
            <p:cNvSpPr/>
            <p:nvPr/>
          </p:nvSpPr>
          <p:spPr>
            <a:xfrm>
              <a:off x="8611091" y="1243852"/>
              <a:ext cx="50253" cy="50252"/>
            </a:xfrm>
            <a:prstGeom prst="ellipse">
              <a:avLst/>
            </a:prstGeom>
            <a:solidFill>
              <a:schemeClr val="accent5"/>
            </a:solidFill>
            <a:ln w="12700" cap="flat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 b="1" dirty="0">
                <a:solidFill>
                  <a:schemeClr val="bg1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="" xmlns:a16="http://schemas.microsoft.com/office/drawing/2014/main" id="{9AD81DFC-B425-4F2B-93BF-CC2E816D3FF2}"/>
                </a:ext>
              </a:extLst>
            </p:cNvPr>
            <p:cNvSpPr/>
            <p:nvPr/>
          </p:nvSpPr>
          <p:spPr>
            <a:xfrm>
              <a:off x="8486575" y="1225848"/>
              <a:ext cx="328615" cy="385342"/>
            </a:xfrm>
            <a:prstGeom prst="rect">
              <a:avLst/>
            </a:prstGeom>
            <a:solidFill>
              <a:schemeClr val="bg1">
                <a:alpha val="80000"/>
              </a:schemeClr>
            </a:solidFill>
            <a:ln w="6350" cap="flat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900"/>
                </a:spcBef>
              </a:pPr>
              <a:endParaRPr lang="en-US" sz="140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9" name="Oval 18">
              <a:extLst>
                <a:ext uri="{FF2B5EF4-FFF2-40B4-BE49-F238E27FC236}">
                  <a16:creationId xmlns="" xmlns:a16="http://schemas.microsoft.com/office/drawing/2014/main" id="{C09B6BA4-7082-4518-ACC6-46DE3389F5E2}"/>
                </a:ext>
              </a:extLst>
            </p:cNvPr>
            <p:cNvSpPr/>
            <p:nvPr/>
          </p:nvSpPr>
          <p:spPr>
            <a:xfrm>
              <a:off x="7921579" y="1349312"/>
              <a:ext cx="212364" cy="212364"/>
            </a:xfrm>
            <a:prstGeom prst="ellipse">
              <a:avLst/>
            </a:prstGeom>
            <a:solidFill>
              <a:schemeClr val="bg2"/>
            </a:solidFill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ot="0" spcFirstLastPara="0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20" name="Arc 19">
              <a:extLst>
                <a:ext uri="{FF2B5EF4-FFF2-40B4-BE49-F238E27FC236}">
                  <a16:creationId xmlns="" xmlns:a16="http://schemas.microsoft.com/office/drawing/2014/main" id="{A4B2A3C4-407C-4AF6-9D82-D7DD4FF1A19F}"/>
                </a:ext>
              </a:extLst>
            </p:cNvPr>
            <p:cNvSpPr/>
            <p:nvPr/>
          </p:nvSpPr>
          <p:spPr bwMode="gray">
            <a:xfrm>
              <a:off x="7883769" y="1267966"/>
              <a:ext cx="283644" cy="247796"/>
            </a:xfrm>
            <a:prstGeom prst="arc">
              <a:avLst>
                <a:gd name="adj1" fmla="val 11178900"/>
                <a:gd name="adj2" fmla="val 21075396"/>
              </a:avLst>
            </a:prstGeom>
            <a:ln w="19050" cap="flat">
              <a:solidFill>
                <a:schemeClr val="bg2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100" dirty="0"/>
            </a:p>
          </p:txBody>
        </p:sp>
        <p:sp>
          <p:nvSpPr>
            <p:cNvPr id="21" name="Rectangle 20">
              <a:extLst>
                <a:ext uri="{FF2B5EF4-FFF2-40B4-BE49-F238E27FC236}">
                  <a16:creationId xmlns="" xmlns:a16="http://schemas.microsoft.com/office/drawing/2014/main" id="{6AE372C9-EEA3-45EA-9860-D8CDEE7E3445}"/>
                </a:ext>
              </a:extLst>
            </p:cNvPr>
            <p:cNvSpPr/>
            <p:nvPr/>
          </p:nvSpPr>
          <p:spPr>
            <a:xfrm>
              <a:off x="7877395" y="1225848"/>
              <a:ext cx="328615" cy="385342"/>
            </a:xfrm>
            <a:prstGeom prst="rect">
              <a:avLst/>
            </a:prstGeom>
            <a:solidFill>
              <a:schemeClr val="bg1">
                <a:alpha val="80000"/>
              </a:schemeClr>
            </a:solidFill>
            <a:ln w="6350" cap="flat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900"/>
                </a:spcBef>
              </a:pPr>
              <a:endParaRPr lang="en-US" sz="140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2" name="Oval 21">
              <a:extLst>
                <a:ext uri="{FF2B5EF4-FFF2-40B4-BE49-F238E27FC236}">
                  <a16:creationId xmlns="" xmlns:a16="http://schemas.microsoft.com/office/drawing/2014/main" id="{3086FD35-4FBC-4862-9CDD-512C32ACE92B}"/>
                </a:ext>
              </a:extLst>
            </p:cNvPr>
            <p:cNvSpPr/>
            <p:nvPr/>
          </p:nvSpPr>
          <p:spPr>
            <a:xfrm>
              <a:off x="8225098" y="1244357"/>
              <a:ext cx="212364" cy="212364"/>
            </a:xfrm>
            <a:prstGeom prst="ellipse">
              <a:avLst/>
            </a:prstGeom>
            <a:solidFill>
              <a:schemeClr val="accent1"/>
            </a:solidFill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ot="0" spcFirstLastPara="0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23" name="Arc 22">
              <a:extLst>
                <a:ext uri="{FF2B5EF4-FFF2-40B4-BE49-F238E27FC236}">
                  <a16:creationId xmlns="" xmlns:a16="http://schemas.microsoft.com/office/drawing/2014/main" id="{3C67690E-9451-46D1-96A5-953B7E2FAEF0}"/>
                </a:ext>
              </a:extLst>
            </p:cNvPr>
            <p:cNvSpPr/>
            <p:nvPr/>
          </p:nvSpPr>
          <p:spPr bwMode="gray">
            <a:xfrm flipV="1">
              <a:off x="8184095" y="1313981"/>
              <a:ext cx="283644" cy="247373"/>
            </a:xfrm>
            <a:prstGeom prst="arc">
              <a:avLst>
                <a:gd name="adj1" fmla="val 11178900"/>
                <a:gd name="adj2" fmla="val 21075396"/>
              </a:avLst>
            </a:prstGeom>
            <a:ln w="19050" cap="flat">
              <a:solidFill>
                <a:schemeClr val="accent1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100" dirty="0"/>
            </a:p>
          </p:txBody>
        </p:sp>
        <p:sp>
          <p:nvSpPr>
            <p:cNvPr id="24" name="Isosceles Triangle 23">
              <a:extLst>
                <a:ext uri="{FF2B5EF4-FFF2-40B4-BE49-F238E27FC236}">
                  <a16:creationId xmlns="" xmlns:a16="http://schemas.microsoft.com/office/drawing/2014/main" id="{A3AD880E-7234-4786-96F1-911218EAA1F4}"/>
                </a:ext>
              </a:extLst>
            </p:cNvPr>
            <p:cNvSpPr>
              <a:spLocks noChangeAspect="1"/>
            </p:cNvSpPr>
            <p:nvPr/>
          </p:nvSpPr>
          <p:spPr bwMode="gray">
            <a:xfrm rot="11672904" flipV="1">
              <a:off x="8432310" y="1418179"/>
              <a:ext cx="73611" cy="63349"/>
            </a:xfrm>
            <a:prstGeom prst="triangle">
              <a:avLst/>
            </a:prstGeom>
            <a:solidFill>
              <a:schemeClr val="accent1"/>
            </a:solidFill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050" dirty="0">
                <a:solidFill>
                  <a:schemeClr val="tx1"/>
                </a:solidFill>
              </a:endParaRPr>
            </a:p>
          </p:txBody>
        </p:sp>
        <p:sp>
          <p:nvSpPr>
            <p:cNvPr id="25" name="Oval 24">
              <a:extLst>
                <a:ext uri="{FF2B5EF4-FFF2-40B4-BE49-F238E27FC236}">
                  <a16:creationId xmlns="" xmlns:a16="http://schemas.microsoft.com/office/drawing/2014/main" id="{823F4B70-CE58-410A-8851-3BCB4725EC5F}"/>
                </a:ext>
              </a:extLst>
            </p:cNvPr>
            <p:cNvSpPr/>
            <p:nvPr/>
          </p:nvSpPr>
          <p:spPr>
            <a:xfrm>
              <a:off x="8306154" y="1537095"/>
              <a:ext cx="50253" cy="50252"/>
            </a:xfrm>
            <a:prstGeom prst="ellipse">
              <a:avLst/>
            </a:prstGeom>
            <a:solidFill>
              <a:schemeClr val="accent1"/>
            </a:solidFill>
            <a:ln w="12700" cap="flat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 b="1" dirty="0">
                <a:solidFill>
                  <a:schemeClr val="bg1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1358307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AA16B7AC-F676-4F67-8813-4F8F68AAD7D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702"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="" xmlns:a16="http://schemas.microsoft.com/office/drawing/2014/main" id="{AA16B7AC-F676-4F67-8813-4F8F68AAD7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="" xmlns:a16="http://schemas.microsoft.com/office/drawing/2014/main" id="{260A3D96-399B-450E-B597-24C3AA9AE05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US" sz="240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="" xmlns:a16="http://schemas.microsoft.com/office/drawing/2014/main" id="{48D13E25-DCE9-4BCE-806B-429683B77FA6}"/>
              </a:ext>
            </a:extLst>
          </p:cNvPr>
          <p:cNvSpPr txBox="1"/>
          <p:nvPr/>
        </p:nvSpPr>
        <p:spPr>
          <a:xfrm>
            <a:off x="244474" y="1628140"/>
            <a:ext cx="6840220" cy="249299"/>
          </a:xfrm>
          <a:prstGeom prst="rect">
            <a:avLst/>
          </a:prstGeom>
          <a:noFill/>
          <a:ln w="6350" cap="flat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A5FFFF"/>
                </a:solidFill>
              </a14:hiddenFill>
            </a:ext>
          </a:extLst>
        </p:spPr>
        <p:txBody>
          <a:bodyPr vert="horz" wrap="square" lIns="365760" tIns="0" rIns="0" bIns="0" rtlCol="0" anchor="t" anchorCtr="0">
            <a:sp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2"/>
              </a:buClr>
            </a:pP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Data Exploration &amp; Analysis</a:t>
            </a:r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7956AB31-F718-491D-AAC7-99EB166076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4507" y="493495"/>
            <a:ext cx="7604094" cy="338554"/>
          </a:xfrm>
        </p:spPr>
        <p:txBody>
          <a:bodyPr/>
          <a:lstStyle/>
          <a:p>
            <a:r>
              <a:rPr lang="en-US" b="1" dirty="0"/>
              <a:t>Framework</a:t>
            </a:r>
          </a:p>
        </p:txBody>
      </p:sp>
      <p:sp>
        <p:nvSpPr>
          <p:cNvPr id="5" name="Oval 4">
            <a:extLst>
              <a:ext uri="{FF2B5EF4-FFF2-40B4-BE49-F238E27FC236}">
                <a16:creationId xmlns="" xmlns:a16="http://schemas.microsoft.com/office/drawing/2014/main" id="{3D60A96E-A8F3-4D57-873D-4053E79B24CA}"/>
              </a:ext>
            </a:extLst>
          </p:cNvPr>
          <p:cNvSpPr/>
          <p:nvPr/>
        </p:nvSpPr>
        <p:spPr>
          <a:xfrm>
            <a:off x="246380" y="1600200"/>
            <a:ext cx="279400" cy="279400"/>
          </a:xfrm>
          <a:prstGeom prst="ellipse">
            <a:avLst/>
          </a:prstGeom>
          <a:solidFill>
            <a:schemeClr val="accent1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1600" b="1" dirty="0">
                <a:solidFill>
                  <a:schemeClr val="bg1"/>
                </a:solidFill>
                <a:latin typeface="Arial" panose="020B0604020202020204" pitchFamily="34" charset="0"/>
                <a:cs typeface="Arial" pitchFamily="34" charset="0"/>
              </a:rPr>
              <a:t>3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="" xmlns:a16="http://schemas.microsoft.com/office/drawing/2014/main" id="{07A45C63-15AE-440D-BBB4-2BDB5498DE00}"/>
              </a:ext>
            </a:extLst>
          </p:cNvPr>
          <p:cNvSpPr/>
          <p:nvPr/>
        </p:nvSpPr>
        <p:spPr>
          <a:xfrm>
            <a:off x="245364" y="2059305"/>
            <a:ext cx="5316199" cy="221599"/>
          </a:xfrm>
          <a:prstGeom prst="rect">
            <a:avLst/>
          </a:prstGeom>
          <a:noFill/>
          <a:ln w="6350" cap="flat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576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600" dirty="0">
                <a:solidFill>
                  <a:schemeClr val="tx1"/>
                </a:solidFill>
                <a:latin typeface="Arial" panose="020B0604020202020204" pitchFamily="34" charset="0"/>
                <a:cs typeface="Arial" pitchFamily="34" charset="0"/>
              </a:rPr>
              <a:t>Distribution Plots for the Nominal Categorical Features</a:t>
            </a:r>
          </a:p>
        </p:txBody>
      </p:sp>
      <p:pic>
        <p:nvPicPr>
          <p:cNvPr id="9" name="Picture 8" descr="img4.png">
            <a:extLst>
              <a:ext uri="{FF2B5EF4-FFF2-40B4-BE49-F238E27FC236}">
                <a16:creationId xmlns="" xmlns:a16="http://schemas.microsoft.com/office/drawing/2014/main" id="{BFD2B96D-9663-4A96-A3D9-2107B7EA5310}"/>
              </a:ext>
            </a:extLst>
          </p:cNvPr>
          <p:cNvPicPr preferRelativeResize="0">
            <a:picLocks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504" r="5572" b="18418"/>
          <a:stretch/>
        </p:blipFill>
        <p:spPr>
          <a:xfrm>
            <a:off x="241300" y="2463800"/>
            <a:ext cx="8651875" cy="4275394"/>
          </a:xfrm>
          <a:prstGeom prst="rect">
            <a:avLst/>
          </a:prstGeom>
        </p:spPr>
      </p:pic>
      <p:grpSp>
        <p:nvGrpSpPr>
          <p:cNvPr id="11" name="Group 10">
            <a:extLst>
              <a:ext uri="{FF2B5EF4-FFF2-40B4-BE49-F238E27FC236}">
                <a16:creationId xmlns="" xmlns:a16="http://schemas.microsoft.com/office/drawing/2014/main" id="{A8982512-232D-4CEF-B325-4683D189D962}"/>
              </a:ext>
            </a:extLst>
          </p:cNvPr>
          <p:cNvGrpSpPr/>
          <p:nvPr/>
        </p:nvGrpSpPr>
        <p:grpSpPr>
          <a:xfrm>
            <a:off x="7877395" y="1225848"/>
            <a:ext cx="937795" cy="385342"/>
            <a:chOff x="7877395" y="1225848"/>
            <a:chExt cx="937795" cy="385342"/>
          </a:xfrm>
        </p:grpSpPr>
        <p:sp>
          <p:nvSpPr>
            <p:cNvPr id="12" name="Isosceles Triangle 11">
              <a:extLst>
                <a:ext uri="{FF2B5EF4-FFF2-40B4-BE49-F238E27FC236}">
                  <a16:creationId xmlns="" xmlns:a16="http://schemas.microsoft.com/office/drawing/2014/main" id="{5B024323-CF55-4FAA-B7D5-3BF437AF06D4}"/>
                </a:ext>
              </a:extLst>
            </p:cNvPr>
            <p:cNvSpPr>
              <a:spLocks noChangeAspect="1"/>
            </p:cNvSpPr>
            <p:nvPr/>
          </p:nvSpPr>
          <p:spPr bwMode="gray">
            <a:xfrm rot="9927096">
              <a:off x="8132907" y="1349645"/>
              <a:ext cx="73611" cy="63458"/>
            </a:xfrm>
            <a:prstGeom prst="triangle">
              <a:avLst/>
            </a:prstGeom>
            <a:solidFill>
              <a:schemeClr val="bg2"/>
            </a:solidFill>
            <a:ln w="9525">
              <a:solidFill>
                <a:srgbClr val="007F7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050" dirty="0">
                <a:solidFill>
                  <a:schemeClr val="tx1"/>
                </a:solidFill>
              </a:endParaRPr>
            </a:p>
          </p:txBody>
        </p:sp>
        <p:sp>
          <p:nvSpPr>
            <p:cNvPr id="13" name="Oval 12">
              <a:extLst>
                <a:ext uri="{FF2B5EF4-FFF2-40B4-BE49-F238E27FC236}">
                  <a16:creationId xmlns="" xmlns:a16="http://schemas.microsoft.com/office/drawing/2014/main" id="{5FDC498C-1371-4542-88A3-565539158B33}"/>
                </a:ext>
              </a:extLst>
            </p:cNvPr>
            <p:cNvSpPr/>
            <p:nvPr/>
          </p:nvSpPr>
          <p:spPr>
            <a:xfrm>
              <a:off x="8002635" y="1243852"/>
              <a:ext cx="50253" cy="50252"/>
            </a:xfrm>
            <a:prstGeom prst="ellipse">
              <a:avLst/>
            </a:prstGeom>
            <a:solidFill>
              <a:schemeClr val="bg2"/>
            </a:solidFill>
            <a:ln w="12700" cap="flat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 b="1" dirty="0">
                <a:solidFill>
                  <a:schemeClr val="bg1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14" name="Oval 13">
              <a:extLst>
                <a:ext uri="{FF2B5EF4-FFF2-40B4-BE49-F238E27FC236}">
                  <a16:creationId xmlns="" xmlns:a16="http://schemas.microsoft.com/office/drawing/2014/main" id="{3E113BB7-C79B-4D59-B99D-25DF5450ED5C}"/>
                </a:ext>
              </a:extLst>
            </p:cNvPr>
            <p:cNvSpPr/>
            <p:nvPr/>
          </p:nvSpPr>
          <p:spPr>
            <a:xfrm>
              <a:off x="8530035" y="1349312"/>
              <a:ext cx="212364" cy="212364"/>
            </a:xfrm>
            <a:prstGeom prst="ellipse">
              <a:avLst/>
            </a:prstGeom>
            <a:solidFill>
              <a:schemeClr val="accent5"/>
            </a:solidFill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ot="0" spcFirstLastPara="0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15" name="Arc 14">
              <a:extLst>
                <a:ext uri="{FF2B5EF4-FFF2-40B4-BE49-F238E27FC236}">
                  <a16:creationId xmlns="" xmlns:a16="http://schemas.microsoft.com/office/drawing/2014/main" id="{C5F981A5-1CAF-48DD-A60F-72834603CBA7}"/>
                </a:ext>
              </a:extLst>
            </p:cNvPr>
            <p:cNvSpPr/>
            <p:nvPr/>
          </p:nvSpPr>
          <p:spPr bwMode="gray">
            <a:xfrm>
              <a:off x="8486575" y="1267966"/>
              <a:ext cx="283644" cy="247796"/>
            </a:xfrm>
            <a:prstGeom prst="arc">
              <a:avLst>
                <a:gd name="adj1" fmla="val 11178900"/>
                <a:gd name="adj2" fmla="val 21075396"/>
              </a:avLst>
            </a:prstGeom>
            <a:ln w="19050" cap="flat">
              <a:solidFill>
                <a:schemeClr val="accent5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100" dirty="0"/>
            </a:p>
          </p:txBody>
        </p:sp>
        <p:sp>
          <p:nvSpPr>
            <p:cNvPr id="16" name="Isosceles Triangle 15">
              <a:extLst>
                <a:ext uri="{FF2B5EF4-FFF2-40B4-BE49-F238E27FC236}">
                  <a16:creationId xmlns="" xmlns:a16="http://schemas.microsoft.com/office/drawing/2014/main" id="{CF23E32C-65DF-4489-B565-0E23C7EDF401}"/>
                </a:ext>
              </a:extLst>
            </p:cNvPr>
            <p:cNvSpPr>
              <a:spLocks noChangeAspect="1"/>
            </p:cNvSpPr>
            <p:nvPr/>
          </p:nvSpPr>
          <p:spPr bwMode="gray">
            <a:xfrm rot="9927096">
              <a:off x="8734789" y="1347929"/>
              <a:ext cx="73611" cy="63458"/>
            </a:xfrm>
            <a:prstGeom prst="triangle">
              <a:avLst/>
            </a:prstGeom>
            <a:solidFill>
              <a:schemeClr val="accent5"/>
            </a:solidFill>
            <a:ln w="952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050" dirty="0">
                <a:solidFill>
                  <a:schemeClr val="tx1"/>
                </a:solidFill>
              </a:endParaRPr>
            </a:p>
          </p:txBody>
        </p:sp>
        <p:sp>
          <p:nvSpPr>
            <p:cNvPr id="17" name="Oval 16">
              <a:extLst>
                <a:ext uri="{FF2B5EF4-FFF2-40B4-BE49-F238E27FC236}">
                  <a16:creationId xmlns="" xmlns:a16="http://schemas.microsoft.com/office/drawing/2014/main" id="{36ACADAF-0E77-4E15-BCED-B66A18E2F7D5}"/>
                </a:ext>
              </a:extLst>
            </p:cNvPr>
            <p:cNvSpPr/>
            <p:nvPr/>
          </p:nvSpPr>
          <p:spPr>
            <a:xfrm>
              <a:off x="8611091" y="1243852"/>
              <a:ext cx="50253" cy="50252"/>
            </a:xfrm>
            <a:prstGeom prst="ellipse">
              <a:avLst/>
            </a:prstGeom>
            <a:solidFill>
              <a:schemeClr val="accent5"/>
            </a:solidFill>
            <a:ln w="12700" cap="flat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 b="1" dirty="0">
                <a:solidFill>
                  <a:schemeClr val="bg1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="" xmlns:a16="http://schemas.microsoft.com/office/drawing/2014/main" id="{8D6F7123-057A-40C8-A31B-89D04D191537}"/>
                </a:ext>
              </a:extLst>
            </p:cNvPr>
            <p:cNvSpPr/>
            <p:nvPr/>
          </p:nvSpPr>
          <p:spPr>
            <a:xfrm>
              <a:off x="8486575" y="1225848"/>
              <a:ext cx="328615" cy="385342"/>
            </a:xfrm>
            <a:prstGeom prst="rect">
              <a:avLst/>
            </a:prstGeom>
            <a:solidFill>
              <a:schemeClr val="bg1">
                <a:alpha val="80000"/>
              </a:schemeClr>
            </a:solidFill>
            <a:ln w="6350" cap="flat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900"/>
                </a:spcBef>
              </a:pPr>
              <a:endParaRPr lang="en-US" sz="140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9" name="Oval 18">
              <a:extLst>
                <a:ext uri="{FF2B5EF4-FFF2-40B4-BE49-F238E27FC236}">
                  <a16:creationId xmlns="" xmlns:a16="http://schemas.microsoft.com/office/drawing/2014/main" id="{50C1357B-9FFB-440A-9A75-592489C1DC19}"/>
                </a:ext>
              </a:extLst>
            </p:cNvPr>
            <p:cNvSpPr/>
            <p:nvPr/>
          </p:nvSpPr>
          <p:spPr>
            <a:xfrm>
              <a:off x="7921579" y="1349312"/>
              <a:ext cx="212364" cy="212364"/>
            </a:xfrm>
            <a:prstGeom prst="ellipse">
              <a:avLst/>
            </a:prstGeom>
            <a:solidFill>
              <a:schemeClr val="bg2"/>
            </a:solidFill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ot="0" spcFirstLastPara="0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20" name="Arc 19">
              <a:extLst>
                <a:ext uri="{FF2B5EF4-FFF2-40B4-BE49-F238E27FC236}">
                  <a16:creationId xmlns="" xmlns:a16="http://schemas.microsoft.com/office/drawing/2014/main" id="{E8B787AB-AD1D-40CD-8F40-81C67BB3815F}"/>
                </a:ext>
              </a:extLst>
            </p:cNvPr>
            <p:cNvSpPr/>
            <p:nvPr/>
          </p:nvSpPr>
          <p:spPr bwMode="gray">
            <a:xfrm>
              <a:off x="7883769" y="1267966"/>
              <a:ext cx="283644" cy="247796"/>
            </a:xfrm>
            <a:prstGeom prst="arc">
              <a:avLst>
                <a:gd name="adj1" fmla="val 11178900"/>
                <a:gd name="adj2" fmla="val 21075396"/>
              </a:avLst>
            </a:prstGeom>
            <a:ln w="19050" cap="flat">
              <a:solidFill>
                <a:schemeClr val="bg2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100" dirty="0"/>
            </a:p>
          </p:txBody>
        </p:sp>
        <p:sp>
          <p:nvSpPr>
            <p:cNvPr id="21" name="Rectangle 20">
              <a:extLst>
                <a:ext uri="{FF2B5EF4-FFF2-40B4-BE49-F238E27FC236}">
                  <a16:creationId xmlns="" xmlns:a16="http://schemas.microsoft.com/office/drawing/2014/main" id="{13BC3BA2-1733-4AD2-ACF8-70F1133D6895}"/>
                </a:ext>
              </a:extLst>
            </p:cNvPr>
            <p:cNvSpPr/>
            <p:nvPr/>
          </p:nvSpPr>
          <p:spPr>
            <a:xfrm>
              <a:off x="7877395" y="1225848"/>
              <a:ext cx="328615" cy="385342"/>
            </a:xfrm>
            <a:prstGeom prst="rect">
              <a:avLst/>
            </a:prstGeom>
            <a:solidFill>
              <a:schemeClr val="bg1">
                <a:alpha val="80000"/>
              </a:schemeClr>
            </a:solidFill>
            <a:ln w="6350" cap="flat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900"/>
                </a:spcBef>
              </a:pPr>
              <a:endParaRPr lang="en-US" sz="140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2" name="Oval 21">
              <a:extLst>
                <a:ext uri="{FF2B5EF4-FFF2-40B4-BE49-F238E27FC236}">
                  <a16:creationId xmlns="" xmlns:a16="http://schemas.microsoft.com/office/drawing/2014/main" id="{D13A2CEB-3738-4A04-B2AA-D42A2070F188}"/>
                </a:ext>
              </a:extLst>
            </p:cNvPr>
            <p:cNvSpPr/>
            <p:nvPr/>
          </p:nvSpPr>
          <p:spPr>
            <a:xfrm>
              <a:off x="8225098" y="1244357"/>
              <a:ext cx="212364" cy="212364"/>
            </a:xfrm>
            <a:prstGeom prst="ellipse">
              <a:avLst/>
            </a:prstGeom>
            <a:solidFill>
              <a:schemeClr val="accent1"/>
            </a:solidFill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ot="0" spcFirstLastPara="0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23" name="Arc 22">
              <a:extLst>
                <a:ext uri="{FF2B5EF4-FFF2-40B4-BE49-F238E27FC236}">
                  <a16:creationId xmlns="" xmlns:a16="http://schemas.microsoft.com/office/drawing/2014/main" id="{CD1F1EFD-874C-4F77-95A5-FDABFC5746CD}"/>
                </a:ext>
              </a:extLst>
            </p:cNvPr>
            <p:cNvSpPr/>
            <p:nvPr/>
          </p:nvSpPr>
          <p:spPr bwMode="gray">
            <a:xfrm flipV="1">
              <a:off x="8184095" y="1313981"/>
              <a:ext cx="283644" cy="247373"/>
            </a:xfrm>
            <a:prstGeom prst="arc">
              <a:avLst>
                <a:gd name="adj1" fmla="val 11178900"/>
                <a:gd name="adj2" fmla="val 21075396"/>
              </a:avLst>
            </a:prstGeom>
            <a:ln w="19050" cap="flat">
              <a:solidFill>
                <a:schemeClr val="accent1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100" dirty="0"/>
            </a:p>
          </p:txBody>
        </p:sp>
        <p:sp>
          <p:nvSpPr>
            <p:cNvPr id="24" name="Isosceles Triangle 23">
              <a:extLst>
                <a:ext uri="{FF2B5EF4-FFF2-40B4-BE49-F238E27FC236}">
                  <a16:creationId xmlns="" xmlns:a16="http://schemas.microsoft.com/office/drawing/2014/main" id="{92EE955B-C225-4A37-880D-F83E18D5C6CA}"/>
                </a:ext>
              </a:extLst>
            </p:cNvPr>
            <p:cNvSpPr>
              <a:spLocks noChangeAspect="1"/>
            </p:cNvSpPr>
            <p:nvPr/>
          </p:nvSpPr>
          <p:spPr bwMode="gray">
            <a:xfrm rot="11672904" flipV="1">
              <a:off x="8432310" y="1418179"/>
              <a:ext cx="73611" cy="63349"/>
            </a:xfrm>
            <a:prstGeom prst="triangle">
              <a:avLst/>
            </a:prstGeom>
            <a:solidFill>
              <a:schemeClr val="accent1"/>
            </a:solidFill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050" dirty="0">
                <a:solidFill>
                  <a:schemeClr val="tx1"/>
                </a:solidFill>
              </a:endParaRPr>
            </a:p>
          </p:txBody>
        </p:sp>
        <p:sp>
          <p:nvSpPr>
            <p:cNvPr id="25" name="Oval 24">
              <a:extLst>
                <a:ext uri="{FF2B5EF4-FFF2-40B4-BE49-F238E27FC236}">
                  <a16:creationId xmlns="" xmlns:a16="http://schemas.microsoft.com/office/drawing/2014/main" id="{CF20A985-6CCB-4C92-A87F-20407D2E6CE5}"/>
                </a:ext>
              </a:extLst>
            </p:cNvPr>
            <p:cNvSpPr/>
            <p:nvPr/>
          </p:nvSpPr>
          <p:spPr>
            <a:xfrm>
              <a:off x="8306154" y="1537095"/>
              <a:ext cx="50253" cy="50252"/>
            </a:xfrm>
            <a:prstGeom prst="ellipse">
              <a:avLst/>
            </a:prstGeom>
            <a:solidFill>
              <a:schemeClr val="accent1"/>
            </a:solidFill>
            <a:ln w="12700" cap="flat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 b="1" dirty="0">
                <a:solidFill>
                  <a:schemeClr val="bg1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1287650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AA16B7AC-F676-4F67-8813-4F8F68AAD7D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26"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="" xmlns:a16="http://schemas.microsoft.com/office/drawing/2014/main" id="{AA16B7AC-F676-4F67-8813-4F8F68AAD7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="" xmlns:a16="http://schemas.microsoft.com/office/drawing/2014/main" id="{260A3D96-399B-450E-B597-24C3AA9AE05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US" sz="240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="" xmlns:a16="http://schemas.microsoft.com/office/drawing/2014/main" id="{48D13E25-DCE9-4BCE-806B-429683B77FA6}"/>
              </a:ext>
            </a:extLst>
          </p:cNvPr>
          <p:cNvSpPr txBox="1"/>
          <p:nvPr/>
        </p:nvSpPr>
        <p:spPr>
          <a:xfrm>
            <a:off x="244474" y="1628140"/>
            <a:ext cx="6840220" cy="249299"/>
          </a:xfrm>
          <a:prstGeom prst="rect">
            <a:avLst/>
          </a:prstGeom>
          <a:noFill/>
          <a:ln w="6350" cap="flat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A5FFFF"/>
                </a:solidFill>
              </a14:hiddenFill>
            </a:ext>
          </a:extLst>
        </p:spPr>
        <p:txBody>
          <a:bodyPr vert="horz" wrap="square" lIns="365760" tIns="0" rIns="0" bIns="0" rtlCol="0" anchor="t" anchorCtr="0">
            <a:sp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2"/>
              </a:buClr>
            </a:pP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Data Exploration &amp; Analysis</a:t>
            </a:r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7956AB31-F718-491D-AAC7-99EB166076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4507" y="493495"/>
            <a:ext cx="7604094" cy="338554"/>
          </a:xfrm>
        </p:spPr>
        <p:txBody>
          <a:bodyPr/>
          <a:lstStyle/>
          <a:p>
            <a:r>
              <a:rPr lang="en-US" b="1" dirty="0"/>
              <a:t>Framework</a:t>
            </a:r>
          </a:p>
        </p:txBody>
      </p:sp>
      <p:sp>
        <p:nvSpPr>
          <p:cNvPr id="5" name="Oval 4">
            <a:extLst>
              <a:ext uri="{FF2B5EF4-FFF2-40B4-BE49-F238E27FC236}">
                <a16:creationId xmlns="" xmlns:a16="http://schemas.microsoft.com/office/drawing/2014/main" id="{3D60A96E-A8F3-4D57-873D-4053E79B24CA}"/>
              </a:ext>
            </a:extLst>
          </p:cNvPr>
          <p:cNvSpPr/>
          <p:nvPr/>
        </p:nvSpPr>
        <p:spPr>
          <a:xfrm>
            <a:off x="246380" y="1600200"/>
            <a:ext cx="279400" cy="279400"/>
          </a:xfrm>
          <a:prstGeom prst="ellipse">
            <a:avLst/>
          </a:prstGeom>
          <a:solidFill>
            <a:schemeClr val="accent1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1600" b="1" dirty="0">
                <a:solidFill>
                  <a:schemeClr val="bg1"/>
                </a:solidFill>
                <a:latin typeface="Arial" panose="020B0604020202020204" pitchFamily="34" charset="0"/>
                <a:cs typeface="Arial" pitchFamily="34" charset="0"/>
              </a:rPr>
              <a:t>3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="" xmlns:a16="http://schemas.microsoft.com/office/drawing/2014/main" id="{07A45C63-15AE-440D-BBB4-2BDB5498DE00}"/>
              </a:ext>
            </a:extLst>
          </p:cNvPr>
          <p:cNvSpPr/>
          <p:nvPr/>
        </p:nvSpPr>
        <p:spPr>
          <a:xfrm>
            <a:off x="245364" y="2059305"/>
            <a:ext cx="7101111" cy="221599"/>
          </a:xfrm>
          <a:prstGeom prst="rect">
            <a:avLst/>
          </a:prstGeom>
          <a:noFill/>
          <a:ln w="6350" cap="flat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576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600" dirty="0">
                <a:solidFill>
                  <a:schemeClr val="tx1"/>
                </a:solidFill>
                <a:latin typeface="Arial" panose="020B0604020202020204" pitchFamily="34" charset="0"/>
                <a:cs typeface="Arial" pitchFamily="34" charset="0"/>
              </a:rPr>
              <a:t>Analyzing the Centrality and Variability of the Ordinal Categorical Features</a:t>
            </a:r>
          </a:p>
        </p:txBody>
      </p:sp>
      <p:pic>
        <p:nvPicPr>
          <p:cNvPr id="10" name="Picture 9" descr="img6.png">
            <a:extLst>
              <a:ext uri="{FF2B5EF4-FFF2-40B4-BE49-F238E27FC236}">
                <a16:creationId xmlns="" xmlns:a16="http://schemas.microsoft.com/office/drawing/2014/main" id="{B792F661-9AA3-4FB6-9529-8D89F6C8DBCC}"/>
              </a:ext>
            </a:extLst>
          </p:cNvPr>
          <p:cNvPicPr preferRelativeResize="0">
            <a:picLocks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1300" y="2463800"/>
            <a:ext cx="8651875" cy="4275394"/>
          </a:xfrm>
          <a:prstGeom prst="rect">
            <a:avLst/>
          </a:prstGeom>
        </p:spPr>
      </p:pic>
      <p:grpSp>
        <p:nvGrpSpPr>
          <p:cNvPr id="11" name="Group 10">
            <a:extLst>
              <a:ext uri="{FF2B5EF4-FFF2-40B4-BE49-F238E27FC236}">
                <a16:creationId xmlns="" xmlns:a16="http://schemas.microsoft.com/office/drawing/2014/main" id="{AF76F3E6-FE1B-4CBC-A28B-893719AD6820}"/>
              </a:ext>
            </a:extLst>
          </p:cNvPr>
          <p:cNvGrpSpPr/>
          <p:nvPr/>
        </p:nvGrpSpPr>
        <p:grpSpPr>
          <a:xfrm>
            <a:off x="7877395" y="1225848"/>
            <a:ext cx="937795" cy="385342"/>
            <a:chOff x="7877395" y="1225848"/>
            <a:chExt cx="937795" cy="385342"/>
          </a:xfrm>
        </p:grpSpPr>
        <p:sp>
          <p:nvSpPr>
            <p:cNvPr id="12" name="Isosceles Triangle 11">
              <a:extLst>
                <a:ext uri="{FF2B5EF4-FFF2-40B4-BE49-F238E27FC236}">
                  <a16:creationId xmlns="" xmlns:a16="http://schemas.microsoft.com/office/drawing/2014/main" id="{76E206D9-806F-449C-AE3F-BB99EB8CB515}"/>
                </a:ext>
              </a:extLst>
            </p:cNvPr>
            <p:cNvSpPr>
              <a:spLocks noChangeAspect="1"/>
            </p:cNvSpPr>
            <p:nvPr/>
          </p:nvSpPr>
          <p:spPr bwMode="gray">
            <a:xfrm rot="9927096">
              <a:off x="8132907" y="1349645"/>
              <a:ext cx="73611" cy="63458"/>
            </a:xfrm>
            <a:prstGeom prst="triangle">
              <a:avLst/>
            </a:prstGeom>
            <a:solidFill>
              <a:schemeClr val="bg2"/>
            </a:solidFill>
            <a:ln w="9525">
              <a:solidFill>
                <a:srgbClr val="007F7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050" dirty="0">
                <a:solidFill>
                  <a:schemeClr val="tx1"/>
                </a:solidFill>
              </a:endParaRPr>
            </a:p>
          </p:txBody>
        </p:sp>
        <p:sp>
          <p:nvSpPr>
            <p:cNvPr id="13" name="Oval 12">
              <a:extLst>
                <a:ext uri="{FF2B5EF4-FFF2-40B4-BE49-F238E27FC236}">
                  <a16:creationId xmlns="" xmlns:a16="http://schemas.microsoft.com/office/drawing/2014/main" id="{AEB32D7E-7DA9-4376-B934-DB8E7FC76A1A}"/>
                </a:ext>
              </a:extLst>
            </p:cNvPr>
            <p:cNvSpPr/>
            <p:nvPr/>
          </p:nvSpPr>
          <p:spPr>
            <a:xfrm>
              <a:off x="8002635" y="1243852"/>
              <a:ext cx="50253" cy="50252"/>
            </a:xfrm>
            <a:prstGeom prst="ellipse">
              <a:avLst/>
            </a:prstGeom>
            <a:solidFill>
              <a:schemeClr val="bg2"/>
            </a:solidFill>
            <a:ln w="12700" cap="flat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 b="1" dirty="0">
                <a:solidFill>
                  <a:schemeClr val="bg1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14" name="Oval 13">
              <a:extLst>
                <a:ext uri="{FF2B5EF4-FFF2-40B4-BE49-F238E27FC236}">
                  <a16:creationId xmlns="" xmlns:a16="http://schemas.microsoft.com/office/drawing/2014/main" id="{E300FCA4-A56A-4D11-85DE-C8FDF9889927}"/>
                </a:ext>
              </a:extLst>
            </p:cNvPr>
            <p:cNvSpPr/>
            <p:nvPr/>
          </p:nvSpPr>
          <p:spPr>
            <a:xfrm>
              <a:off x="8530035" y="1349312"/>
              <a:ext cx="212364" cy="212364"/>
            </a:xfrm>
            <a:prstGeom prst="ellipse">
              <a:avLst/>
            </a:prstGeom>
            <a:solidFill>
              <a:schemeClr val="accent5"/>
            </a:solidFill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ot="0" spcFirstLastPara="0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15" name="Arc 14">
              <a:extLst>
                <a:ext uri="{FF2B5EF4-FFF2-40B4-BE49-F238E27FC236}">
                  <a16:creationId xmlns="" xmlns:a16="http://schemas.microsoft.com/office/drawing/2014/main" id="{97A41CE3-3DAE-450E-8A9F-80BD9AAD9FCC}"/>
                </a:ext>
              </a:extLst>
            </p:cNvPr>
            <p:cNvSpPr/>
            <p:nvPr/>
          </p:nvSpPr>
          <p:spPr bwMode="gray">
            <a:xfrm>
              <a:off x="8486575" y="1267966"/>
              <a:ext cx="283644" cy="247796"/>
            </a:xfrm>
            <a:prstGeom prst="arc">
              <a:avLst>
                <a:gd name="adj1" fmla="val 11178900"/>
                <a:gd name="adj2" fmla="val 21075396"/>
              </a:avLst>
            </a:prstGeom>
            <a:ln w="19050" cap="flat">
              <a:solidFill>
                <a:schemeClr val="accent5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100" dirty="0"/>
            </a:p>
          </p:txBody>
        </p:sp>
        <p:sp>
          <p:nvSpPr>
            <p:cNvPr id="16" name="Isosceles Triangle 15">
              <a:extLst>
                <a:ext uri="{FF2B5EF4-FFF2-40B4-BE49-F238E27FC236}">
                  <a16:creationId xmlns="" xmlns:a16="http://schemas.microsoft.com/office/drawing/2014/main" id="{A5ECD1BF-DF12-4E94-964D-25983E7E4285}"/>
                </a:ext>
              </a:extLst>
            </p:cNvPr>
            <p:cNvSpPr>
              <a:spLocks noChangeAspect="1"/>
            </p:cNvSpPr>
            <p:nvPr/>
          </p:nvSpPr>
          <p:spPr bwMode="gray">
            <a:xfrm rot="9927096">
              <a:off x="8734789" y="1347929"/>
              <a:ext cx="73611" cy="63458"/>
            </a:xfrm>
            <a:prstGeom prst="triangle">
              <a:avLst/>
            </a:prstGeom>
            <a:solidFill>
              <a:schemeClr val="accent5"/>
            </a:solidFill>
            <a:ln w="952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050" dirty="0">
                <a:solidFill>
                  <a:schemeClr val="tx1"/>
                </a:solidFill>
              </a:endParaRPr>
            </a:p>
          </p:txBody>
        </p:sp>
        <p:sp>
          <p:nvSpPr>
            <p:cNvPr id="17" name="Oval 16">
              <a:extLst>
                <a:ext uri="{FF2B5EF4-FFF2-40B4-BE49-F238E27FC236}">
                  <a16:creationId xmlns="" xmlns:a16="http://schemas.microsoft.com/office/drawing/2014/main" id="{5A8D3CEA-45FD-4168-BA1E-A91F5FC467EB}"/>
                </a:ext>
              </a:extLst>
            </p:cNvPr>
            <p:cNvSpPr/>
            <p:nvPr/>
          </p:nvSpPr>
          <p:spPr>
            <a:xfrm>
              <a:off x="8611091" y="1243852"/>
              <a:ext cx="50253" cy="50252"/>
            </a:xfrm>
            <a:prstGeom prst="ellipse">
              <a:avLst/>
            </a:prstGeom>
            <a:solidFill>
              <a:schemeClr val="accent5"/>
            </a:solidFill>
            <a:ln w="12700" cap="flat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 b="1" dirty="0">
                <a:solidFill>
                  <a:schemeClr val="bg1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="" xmlns:a16="http://schemas.microsoft.com/office/drawing/2014/main" id="{081363B1-2E21-441A-B9C9-61789DC0C1E6}"/>
                </a:ext>
              </a:extLst>
            </p:cNvPr>
            <p:cNvSpPr/>
            <p:nvPr/>
          </p:nvSpPr>
          <p:spPr>
            <a:xfrm>
              <a:off x="8486575" y="1225848"/>
              <a:ext cx="328615" cy="385342"/>
            </a:xfrm>
            <a:prstGeom prst="rect">
              <a:avLst/>
            </a:prstGeom>
            <a:solidFill>
              <a:schemeClr val="bg1">
                <a:alpha val="80000"/>
              </a:schemeClr>
            </a:solidFill>
            <a:ln w="6350" cap="flat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900"/>
                </a:spcBef>
              </a:pPr>
              <a:endParaRPr lang="en-US" sz="140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9" name="Oval 18">
              <a:extLst>
                <a:ext uri="{FF2B5EF4-FFF2-40B4-BE49-F238E27FC236}">
                  <a16:creationId xmlns="" xmlns:a16="http://schemas.microsoft.com/office/drawing/2014/main" id="{159AB3A2-811E-4A71-A40A-A9F70258DAA0}"/>
                </a:ext>
              </a:extLst>
            </p:cNvPr>
            <p:cNvSpPr/>
            <p:nvPr/>
          </p:nvSpPr>
          <p:spPr>
            <a:xfrm>
              <a:off x="7921579" y="1349312"/>
              <a:ext cx="212364" cy="212364"/>
            </a:xfrm>
            <a:prstGeom prst="ellipse">
              <a:avLst/>
            </a:prstGeom>
            <a:solidFill>
              <a:schemeClr val="bg2"/>
            </a:solidFill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ot="0" spcFirstLastPara="0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20" name="Arc 19">
              <a:extLst>
                <a:ext uri="{FF2B5EF4-FFF2-40B4-BE49-F238E27FC236}">
                  <a16:creationId xmlns="" xmlns:a16="http://schemas.microsoft.com/office/drawing/2014/main" id="{4906BF82-7980-4F4B-A58B-CEA4FC821D28}"/>
                </a:ext>
              </a:extLst>
            </p:cNvPr>
            <p:cNvSpPr/>
            <p:nvPr/>
          </p:nvSpPr>
          <p:spPr bwMode="gray">
            <a:xfrm>
              <a:off x="7883769" y="1267966"/>
              <a:ext cx="283644" cy="247796"/>
            </a:xfrm>
            <a:prstGeom prst="arc">
              <a:avLst>
                <a:gd name="adj1" fmla="val 11178900"/>
                <a:gd name="adj2" fmla="val 21075396"/>
              </a:avLst>
            </a:prstGeom>
            <a:ln w="19050" cap="flat">
              <a:solidFill>
                <a:schemeClr val="bg2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100" dirty="0"/>
            </a:p>
          </p:txBody>
        </p:sp>
        <p:sp>
          <p:nvSpPr>
            <p:cNvPr id="21" name="Rectangle 20">
              <a:extLst>
                <a:ext uri="{FF2B5EF4-FFF2-40B4-BE49-F238E27FC236}">
                  <a16:creationId xmlns="" xmlns:a16="http://schemas.microsoft.com/office/drawing/2014/main" id="{88F48459-AA82-4985-8300-9BF9F7EB31EC}"/>
                </a:ext>
              </a:extLst>
            </p:cNvPr>
            <p:cNvSpPr/>
            <p:nvPr/>
          </p:nvSpPr>
          <p:spPr>
            <a:xfrm>
              <a:off x="7877395" y="1225848"/>
              <a:ext cx="328615" cy="385342"/>
            </a:xfrm>
            <a:prstGeom prst="rect">
              <a:avLst/>
            </a:prstGeom>
            <a:solidFill>
              <a:schemeClr val="bg1">
                <a:alpha val="80000"/>
              </a:schemeClr>
            </a:solidFill>
            <a:ln w="6350" cap="flat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900"/>
                </a:spcBef>
              </a:pPr>
              <a:endParaRPr lang="en-US" sz="140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2" name="Oval 21">
              <a:extLst>
                <a:ext uri="{FF2B5EF4-FFF2-40B4-BE49-F238E27FC236}">
                  <a16:creationId xmlns="" xmlns:a16="http://schemas.microsoft.com/office/drawing/2014/main" id="{B8C0A9C1-39D5-403E-BAFE-BB7F7D51A692}"/>
                </a:ext>
              </a:extLst>
            </p:cNvPr>
            <p:cNvSpPr/>
            <p:nvPr/>
          </p:nvSpPr>
          <p:spPr>
            <a:xfrm>
              <a:off x="8225098" y="1244357"/>
              <a:ext cx="212364" cy="212364"/>
            </a:xfrm>
            <a:prstGeom prst="ellipse">
              <a:avLst/>
            </a:prstGeom>
            <a:solidFill>
              <a:schemeClr val="accent1"/>
            </a:solidFill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ot="0" spcFirstLastPara="0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23" name="Arc 22">
              <a:extLst>
                <a:ext uri="{FF2B5EF4-FFF2-40B4-BE49-F238E27FC236}">
                  <a16:creationId xmlns="" xmlns:a16="http://schemas.microsoft.com/office/drawing/2014/main" id="{54EF65CF-BB41-4987-9E8D-8139BE681A15}"/>
                </a:ext>
              </a:extLst>
            </p:cNvPr>
            <p:cNvSpPr/>
            <p:nvPr/>
          </p:nvSpPr>
          <p:spPr bwMode="gray">
            <a:xfrm flipV="1">
              <a:off x="8184095" y="1313981"/>
              <a:ext cx="283644" cy="247373"/>
            </a:xfrm>
            <a:prstGeom prst="arc">
              <a:avLst>
                <a:gd name="adj1" fmla="val 11178900"/>
                <a:gd name="adj2" fmla="val 21075396"/>
              </a:avLst>
            </a:prstGeom>
            <a:ln w="19050" cap="flat">
              <a:solidFill>
                <a:schemeClr val="accent1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100" dirty="0"/>
            </a:p>
          </p:txBody>
        </p:sp>
        <p:sp>
          <p:nvSpPr>
            <p:cNvPr id="24" name="Isosceles Triangle 23">
              <a:extLst>
                <a:ext uri="{FF2B5EF4-FFF2-40B4-BE49-F238E27FC236}">
                  <a16:creationId xmlns="" xmlns:a16="http://schemas.microsoft.com/office/drawing/2014/main" id="{69823638-0EC0-400C-B109-3D1BA81D03EA}"/>
                </a:ext>
              </a:extLst>
            </p:cNvPr>
            <p:cNvSpPr>
              <a:spLocks noChangeAspect="1"/>
            </p:cNvSpPr>
            <p:nvPr/>
          </p:nvSpPr>
          <p:spPr bwMode="gray">
            <a:xfrm rot="11672904" flipV="1">
              <a:off x="8432310" y="1418179"/>
              <a:ext cx="73611" cy="63349"/>
            </a:xfrm>
            <a:prstGeom prst="triangle">
              <a:avLst/>
            </a:prstGeom>
            <a:solidFill>
              <a:schemeClr val="accent1"/>
            </a:solidFill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050" dirty="0">
                <a:solidFill>
                  <a:schemeClr val="tx1"/>
                </a:solidFill>
              </a:endParaRPr>
            </a:p>
          </p:txBody>
        </p:sp>
        <p:sp>
          <p:nvSpPr>
            <p:cNvPr id="25" name="Oval 24">
              <a:extLst>
                <a:ext uri="{FF2B5EF4-FFF2-40B4-BE49-F238E27FC236}">
                  <a16:creationId xmlns="" xmlns:a16="http://schemas.microsoft.com/office/drawing/2014/main" id="{2EBFB904-24A5-4AC0-840C-64CA36FF359A}"/>
                </a:ext>
              </a:extLst>
            </p:cNvPr>
            <p:cNvSpPr/>
            <p:nvPr/>
          </p:nvSpPr>
          <p:spPr>
            <a:xfrm>
              <a:off x="8306154" y="1537095"/>
              <a:ext cx="50253" cy="50252"/>
            </a:xfrm>
            <a:prstGeom prst="ellipse">
              <a:avLst/>
            </a:prstGeom>
            <a:solidFill>
              <a:schemeClr val="accent1"/>
            </a:solidFill>
            <a:ln w="12700" cap="flat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 b="1" dirty="0">
                <a:solidFill>
                  <a:schemeClr val="bg1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9847727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AA16B7AC-F676-4F67-8813-4F8F68AAD7D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750"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="" xmlns:a16="http://schemas.microsoft.com/office/drawing/2014/main" id="{AA16B7AC-F676-4F67-8813-4F8F68AAD7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="" xmlns:a16="http://schemas.microsoft.com/office/drawing/2014/main" id="{260A3D96-399B-450E-B597-24C3AA9AE05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US" sz="240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="" xmlns:a16="http://schemas.microsoft.com/office/drawing/2014/main" id="{48D13E25-DCE9-4BCE-806B-429683B77FA6}"/>
              </a:ext>
            </a:extLst>
          </p:cNvPr>
          <p:cNvSpPr txBox="1"/>
          <p:nvPr/>
        </p:nvSpPr>
        <p:spPr>
          <a:xfrm>
            <a:off x="244474" y="1301507"/>
            <a:ext cx="6840220" cy="249299"/>
          </a:xfrm>
          <a:prstGeom prst="rect">
            <a:avLst/>
          </a:prstGeom>
          <a:noFill/>
          <a:ln w="6350" cap="flat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A5FFFF"/>
                </a:solidFill>
              </a14:hiddenFill>
            </a:ext>
          </a:extLst>
        </p:spPr>
        <p:txBody>
          <a:bodyPr vert="horz" wrap="square" lIns="365760" tIns="0" rIns="0" bIns="0" rtlCol="0" anchor="t" anchorCtr="0">
            <a:sp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2"/>
              </a:buClr>
            </a:pP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Data Exploration &amp; Analysis</a:t>
            </a:r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7956AB31-F718-491D-AAC7-99EB166076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4507" y="493495"/>
            <a:ext cx="7604094" cy="338554"/>
          </a:xfrm>
        </p:spPr>
        <p:txBody>
          <a:bodyPr/>
          <a:lstStyle/>
          <a:p>
            <a:r>
              <a:rPr lang="en-US" b="1" dirty="0"/>
              <a:t>Framework</a:t>
            </a:r>
          </a:p>
        </p:txBody>
      </p:sp>
      <p:sp>
        <p:nvSpPr>
          <p:cNvPr id="5" name="Oval 4">
            <a:extLst>
              <a:ext uri="{FF2B5EF4-FFF2-40B4-BE49-F238E27FC236}">
                <a16:creationId xmlns="" xmlns:a16="http://schemas.microsoft.com/office/drawing/2014/main" id="{3D60A96E-A8F3-4D57-873D-4053E79B24CA}"/>
              </a:ext>
            </a:extLst>
          </p:cNvPr>
          <p:cNvSpPr/>
          <p:nvPr/>
        </p:nvSpPr>
        <p:spPr>
          <a:xfrm>
            <a:off x="246380" y="1273567"/>
            <a:ext cx="279400" cy="279400"/>
          </a:xfrm>
          <a:prstGeom prst="ellipse">
            <a:avLst/>
          </a:prstGeom>
          <a:solidFill>
            <a:schemeClr val="accent1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1600" b="1" dirty="0">
                <a:solidFill>
                  <a:schemeClr val="bg1"/>
                </a:solidFill>
                <a:latin typeface="Arial" panose="020B0604020202020204" pitchFamily="34" charset="0"/>
                <a:cs typeface="Arial" pitchFamily="34" charset="0"/>
              </a:rPr>
              <a:t>3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="" xmlns:a16="http://schemas.microsoft.com/office/drawing/2014/main" id="{0BBEB72A-2139-4645-915E-CEC28070B56D}"/>
              </a:ext>
            </a:extLst>
          </p:cNvPr>
          <p:cNvGrpSpPr/>
          <p:nvPr/>
        </p:nvGrpSpPr>
        <p:grpSpPr>
          <a:xfrm>
            <a:off x="7877395" y="1225848"/>
            <a:ext cx="937795" cy="385342"/>
            <a:chOff x="7877395" y="1225848"/>
            <a:chExt cx="937795" cy="385342"/>
          </a:xfrm>
        </p:grpSpPr>
        <p:sp>
          <p:nvSpPr>
            <p:cNvPr id="12" name="Isosceles Triangle 11">
              <a:extLst>
                <a:ext uri="{FF2B5EF4-FFF2-40B4-BE49-F238E27FC236}">
                  <a16:creationId xmlns="" xmlns:a16="http://schemas.microsoft.com/office/drawing/2014/main" id="{35B3CE62-F491-498C-8FB7-E66CFD69DB95}"/>
                </a:ext>
              </a:extLst>
            </p:cNvPr>
            <p:cNvSpPr>
              <a:spLocks noChangeAspect="1"/>
            </p:cNvSpPr>
            <p:nvPr/>
          </p:nvSpPr>
          <p:spPr bwMode="gray">
            <a:xfrm rot="9927096">
              <a:off x="8132907" y="1349645"/>
              <a:ext cx="73611" cy="63458"/>
            </a:xfrm>
            <a:prstGeom prst="triangle">
              <a:avLst/>
            </a:prstGeom>
            <a:solidFill>
              <a:schemeClr val="bg2"/>
            </a:solidFill>
            <a:ln w="9525">
              <a:solidFill>
                <a:srgbClr val="007F7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050" dirty="0">
                <a:solidFill>
                  <a:schemeClr val="tx1"/>
                </a:solidFill>
              </a:endParaRPr>
            </a:p>
          </p:txBody>
        </p:sp>
        <p:sp>
          <p:nvSpPr>
            <p:cNvPr id="13" name="Oval 12">
              <a:extLst>
                <a:ext uri="{FF2B5EF4-FFF2-40B4-BE49-F238E27FC236}">
                  <a16:creationId xmlns="" xmlns:a16="http://schemas.microsoft.com/office/drawing/2014/main" id="{D5057345-1014-4E3D-8249-CA3762D4EBD7}"/>
                </a:ext>
              </a:extLst>
            </p:cNvPr>
            <p:cNvSpPr/>
            <p:nvPr/>
          </p:nvSpPr>
          <p:spPr>
            <a:xfrm>
              <a:off x="8002635" y="1243852"/>
              <a:ext cx="50253" cy="50252"/>
            </a:xfrm>
            <a:prstGeom prst="ellipse">
              <a:avLst/>
            </a:prstGeom>
            <a:solidFill>
              <a:schemeClr val="bg2"/>
            </a:solidFill>
            <a:ln w="12700" cap="flat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 b="1" dirty="0">
                <a:solidFill>
                  <a:schemeClr val="bg1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14" name="Oval 13">
              <a:extLst>
                <a:ext uri="{FF2B5EF4-FFF2-40B4-BE49-F238E27FC236}">
                  <a16:creationId xmlns="" xmlns:a16="http://schemas.microsoft.com/office/drawing/2014/main" id="{63F9707F-DBB8-47E1-9D38-404826C77867}"/>
                </a:ext>
              </a:extLst>
            </p:cNvPr>
            <p:cNvSpPr/>
            <p:nvPr/>
          </p:nvSpPr>
          <p:spPr>
            <a:xfrm>
              <a:off x="8530035" y="1349312"/>
              <a:ext cx="212364" cy="212364"/>
            </a:xfrm>
            <a:prstGeom prst="ellipse">
              <a:avLst/>
            </a:prstGeom>
            <a:solidFill>
              <a:schemeClr val="accent5"/>
            </a:solidFill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ot="0" spcFirstLastPara="0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15" name="Arc 14">
              <a:extLst>
                <a:ext uri="{FF2B5EF4-FFF2-40B4-BE49-F238E27FC236}">
                  <a16:creationId xmlns="" xmlns:a16="http://schemas.microsoft.com/office/drawing/2014/main" id="{83A64A2A-0C53-4047-8B19-03F3FE3B04D9}"/>
                </a:ext>
              </a:extLst>
            </p:cNvPr>
            <p:cNvSpPr/>
            <p:nvPr/>
          </p:nvSpPr>
          <p:spPr bwMode="gray">
            <a:xfrm>
              <a:off x="8486575" y="1267966"/>
              <a:ext cx="283644" cy="247796"/>
            </a:xfrm>
            <a:prstGeom prst="arc">
              <a:avLst>
                <a:gd name="adj1" fmla="val 11178900"/>
                <a:gd name="adj2" fmla="val 21075396"/>
              </a:avLst>
            </a:prstGeom>
            <a:ln w="19050" cap="flat">
              <a:solidFill>
                <a:schemeClr val="accent5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100" dirty="0"/>
            </a:p>
          </p:txBody>
        </p:sp>
        <p:sp>
          <p:nvSpPr>
            <p:cNvPr id="16" name="Isosceles Triangle 15">
              <a:extLst>
                <a:ext uri="{FF2B5EF4-FFF2-40B4-BE49-F238E27FC236}">
                  <a16:creationId xmlns="" xmlns:a16="http://schemas.microsoft.com/office/drawing/2014/main" id="{AD34A29D-9581-4661-BAC6-DFB4DF1F5397}"/>
                </a:ext>
              </a:extLst>
            </p:cNvPr>
            <p:cNvSpPr>
              <a:spLocks noChangeAspect="1"/>
            </p:cNvSpPr>
            <p:nvPr/>
          </p:nvSpPr>
          <p:spPr bwMode="gray">
            <a:xfrm rot="9927096">
              <a:off x="8734789" y="1347929"/>
              <a:ext cx="73611" cy="63458"/>
            </a:xfrm>
            <a:prstGeom prst="triangle">
              <a:avLst/>
            </a:prstGeom>
            <a:solidFill>
              <a:schemeClr val="accent5"/>
            </a:solidFill>
            <a:ln w="952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050" dirty="0">
                <a:solidFill>
                  <a:schemeClr val="tx1"/>
                </a:solidFill>
              </a:endParaRPr>
            </a:p>
          </p:txBody>
        </p:sp>
        <p:sp>
          <p:nvSpPr>
            <p:cNvPr id="17" name="Oval 16">
              <a:extLst>
                <a:ext uri="{FF2B5EF4-FFF2-40B4-BE49-F238E27FC236}">
                  <a16:creationId xmlns="" xmlns:a16="http://schemas.microsoft.com/office/drawing/2014/main" id="{BFF74F25-EB5E-4527-8581-0E164F89C80F}"/>
                </a:ext>
              </a:extLst>
            </p:cNvPr>
            <p:cNvSpPr/>
            <p:nvPr/>
          </p:nvSpPr>
          <p:spPr>
            <a:xfrm>
              <a:off x="8611091" y="1243852"/>
              <a:ext cx="50253" cy="50252"/>
            </a:xfrm>
            <a:prstGeom prst="ellipse">
              <a:avLst/>
            </a:prstGeom>
            <a:solidFill>
              <a:schemeClr val="accent5"/>
            </a:solidFill>
            <a:ln w="12700" cap="flat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 b="1" dirty="0">
                <a:solidFill>
                  <a:schemeClr val="bg1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="" xmlns:a16="http://schemas.microsoft.com/office/drawing/2014/main" id="{00A129B6-615D-417E-A5FF-BF0A72E04226}"/>
                </a:ext>
              </a:extLst>
            </p:cNvPr>
            <p:cNvSpPr/>
            <p:nvPr/>
          </p:nvSpPr>
          <p:spPr>
            <a:xfrm>
              <a:off x="8486575" y="1225848"/>
              <a:ext cx="328615" cy="385342"/>
            </a:xfrm>
            <a:prstGeom prst="rect">
              <a:avLst/>
            </a:prstGeom>
            <a:solidFill>
              <a:schemeClr val="bg1">
                <a:alpha val="80000"/>
              </a:schemeClr>
            </a:solidFill>
            <a:ln w="6350" cap="flat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900"/>
                </a:spcBef>
              </a:pPr>
              <a:endParaRPr lang="en-US" sz="140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9" name="Oval 18">
              <a:extLst>
                <a:ext uri="{FF2B5EF4-FFF2-40B4-BE49-F238E27FC236}">
                  <a16:creationId xmlns="" xmlns:a16="http://schemas.microsoft.com/office/drawing/2014/main" id="{3E98A2CE-5146-4C5F-A545-6FDD7370DFB0}"/>
                </a:ext>
              </a:extLst>
            </p:cNvPr>
            <p:cNvSpPr/>
            <p:nvPr/>
          </p:nvSpPr>
          <p:spPr>
            <a:xfrm>
              <a:off x="7921579" y="1349312"/>
              <a:ext cx="212364" cy="212364"/>
            </a:xfrm>
            <a:prstGeom prst="ellipse">
              <a:avLst/>
            </a:prstGeom>
            <a:solidFill>
              <a:schemeClr val="bg2"/>
            </a:solidFill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ot="0" spcFirstLastPara="0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20" name="Arc 19">
              <a:extLst>
                <a:ext uri="{FF2B5EF4-FFF2-40B4-BE49-F238E27FC236}">
                  <a16:creationId xmlns="" xmlns:a16="http://schemas.microsoft.com/office/drawing/2014/main" id="{A0AB8420-2770-4899-AC43-A47624E481BC}"/>
                </a:ext>
              </a:extLst>
            </p:cNvPr>
            <p:cNvSpPr/>
            <p:nvPr/>
          </p:nvSpPr>
          <p:spPr bwMode="gray">
            <a:xfrm>
              <a:off x="7883769" y="1267966"/>
              <a:ext cx="283644" cy="247796"/>
            </a:xfrm>
            <a:prstGeom prst="arc">
              <a:avLst>
                <a:gd name="adj1" fmla="val 11178900"/>
                <a:gd name="adj2" fmla="val 21075396"/>
              </a:avLst>
            </a:prstGeom>
            <a:ln w="19050" cap="flat">
              <a:solidFill>
                <a:schemeClr val="bg2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100" dirty="0"/>
            </a:p>
          </p:txBody>
        </p:sp>
        <p:sp>
          <p:nvSpPr>
            <p:cNvPr id="21" name="Rectangle 20">
              <a:extLst>
                <a:ext uri="{FF2B5EF4-FFF2-40B4-BE49-F238E27FC236}">
                  <a16:creationId xmlns="" xmlns:a16="http://schemas.microsoft.com/office/drawing/2014/main" id="{33C5B095-13E5-455C-9204-B2BD9ABC7DCF}"/>
                </a:ext>
              </a:extLst>
            </p:cNvPr>
            <p:cNvSpPr/>
            <p:nvPr/>
          </p:nvSpPr>
          <p:spPr>
            <a:xfrm>
              <a:off x="7877395" y="1225848"/>
              <a:ext cx="328615" cy="385342"/>
            </a:xfrm>
            <a:prstGeom prst="rect">
              <a:avLst/>
            </a:prstGeom>
            <a:solidFill>
              <a:schemeClr val="bg1">
                <a:alpha val="80000"/>
              </a:schemeClr>
            </a:solidFill>
            <a:ln w="6350" cap="flat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900"/>
                </a:spcBef>
              </a:pPr>
              <a:endParaRPr lang="en-US" sz="140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2" name="Oval 21">
              <a:extLst>
                <a:ext uri="{FF2B5EF4-FFF2-40B4-BE49-F238E27FC236}">
                  <a16:creationId xmlns="" xmlns:a16="http://schemas.microsoft.com/office/drawing/2014/main" id="{22C1417D-C0DF-425F-B1EA-C0A7EC164858}"/>
                </a:ext>
              </a:extLst>
            </p:cNvPr>
            <p:cNvSpPr/>
            <p:nvPr/>
          </p:nvSpPr>
          <p:spPr>
            <a:xfrm>
              <a:off x="8225098" y="1244357"/>
              <a:ext cx="212364" cy="212364"/>
            </a:xfrm>
            <a:prstGeom prst="ellipse">
              <a:avLst/>
            </a:prstGeom>
            <a:solidFill>
              <a:schemeClr val="accent1"/>
            </a:solidFill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ot="0" spcFirstLastPara="0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23" name="Arc 22">
              <a:extLst>
                <a:ext uri="{FF2B5EF4-FFF2-40B4-BE49-F238E27FC236}">
                  <a16:creationId xmlns="" xmlns:a16="http://schemas.microsoft.com/office/drawing/2014/main" id="{6A0208D0-2202-4068-9629-F81575FE5B60}"/>
                </a:ext>
              </a:extLst>
            </p:cNvPr>
            <p:cNvSpPr/>
            <p:nvPr/>
          </p:nvSpPr>
          <p:spPr bwMode="gray">
            <a:xfrm flipV="1">
              <a:off x="8184095" y="1313981"/>
              <a:ext cx="283644" cy="247373"/>
            </a:xfrm>
            <a:prstGeom prst="arc">
              <a:avLst>
                <a:gd name="adj1" fmla="val 11178900"/>
                <a:gd name="adj2" fmla="val 21075396"/>
              </a:avLst>
            </a:prstGeom>
            <a:ln w="19050" cap="flat">
              <a:solidFill>
                <a:schemeClr val="accent1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100" dirty="0"/>
            </a:p>
          </p:txBody>
        </p:sp>
        <p:sp>
          <p:nvSpPr>
            <p:cNvPr id="24" name="Isosceles Triangle 23">
              <a:extLst>
                <a:ext uri="{FF2B5EF4-FFF2-40B4-BE49-F238E27FC236}">
                  <a16:creationId xmlns="" xmlns:a16="http://schemas.microsoft.com/office/drawing/2014/main" id="{401D8938-53A8-4EF6-9FC7-7B0105B2302E}"/>
                </a:ext>
              </a:extLst>
            </p:cNvPr>
            <p:cNvSpPr>
              <a:spLocks noChangeAspect="1"/>
            </p:cNvSpPr>
            <p:nvPr/>
          </p:nvSpPr>
          <p:spPr bwMode="gray">
            <a:xfrm rot="11672904" flipV="1">
              <a:off x="8432310" y="1418179"/>
              <a:ext cx="73611" cy="63349"/>
            </a:xfrm>
            <a:prstGeom prst="triangle">
              <a:avLst/>
            </a:prstGeom>
            <a:solidFill>
              <a:schemeClr val="accent1"/>
            </a:solidFill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050" dirty="0">
                <a:solidFill>
                  <a:schemeClr val="tx1"/>
                </a:solidFill>
              </a:endParaRPr>
            </a:p>
          </p:txBody>
        </p:sp>
        <p:sp>
          <p:nvSpPr>
            <p:cNvPr id="25" name="Oval 24">
              <a:extLst>
                <a:ext uri="{FF2B5EF4-FFF2-40B4-BE49-F238E27FC236}">
                  <a16:creationId xmlns="" xmlns:a16="http://schemas.microsoft.com/office/drawing/2014/main" id="{98170558-834B-4009-B86E-FFC6DBC68739}"/>
                </a:ext>
              </a:extLst>
            </p:cNvPr>
            <p:cNvSpPr/>
            <p:nvPr/>
          </p:nvSpPr>
          <p:spPr>
            <a:xfrm>
              <a:off x="8306154" y="1537095"/>
              <a:ext cx="50253" cy="50252"/>
            </a:xfrm>
            <a:prstGeom prst="ellipse">
              <a:avLst/>
            </a:prstGeom>
            <a:solidFill>
              <a:schemeClr val="accent1"/>
            </a:solidFill>
            <a:ln w="12700" cap="flat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 b="1" dirty="0">
                <a:solidFill>
                  <a:schemeClr val="bg1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</p:grpSp>
      <p:pic>
        <p:nvPicPr>
          <p:cNvPr id="27" name="Picture 26" descr="img7.png">
            <a:extLst>
              <a:ext uri="{FF2B5EF4-FFF2-40B4-BE49-F238E27FC236}">
                <a16:creationId xmlns="" xmlns:a16="http://schemas.microsoft.com/office/drawing/2014/main" id="{64455B6A-BD37-44A1-9947-45C0A713A9BC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4476" y="1640823"/>
            <a:ext cx="4981358" cy="4920525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="" xmlns:a16="http://schemas.microsoft.com/office/drawing/2014/main" id="{2EF0A371-7E1A-4C6E-B51F-79B45C711ED0}"/>
              </a:ext>
            </a:extLst>
          </p:cNvPr>
          <p:cNvSpPr/>
          <p:nvPr/>
        </p:nvSpPr>
        <p:spPr>
          <a:xfrm>
            <a:off x="5225833" y="1640822"/>
            <a:ext cx="3667341" cy="3156329"/>
          </a:xfrm>
          <a:prstGeom prst="rect">
            <a:avLst/>
          </a:prstGeom>
          <a:noFill/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SzPct val="100000"/>
            </a:pPr>
            <a:r>
              <a:rPr lang="en-US" sz="1200" b="1" dirty="0">
                <a:solidFill>
                  <a:schemeClr val="tx1"/>
                </a:solidFill>
                <a:latin typeface="Arial" panose="020B0604020202020204" pitchFamily="34" charset="0"/>
                <a:cs typeface="Arial" pitchFamily="34" charset="0"/>
              </a:rPr>
              <a:t>Analyzing the Centrality and Variability of the </a:t>
            </a:r>
            <a:r>
              <a:rPr lang="en-US" sz="12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itchFamily="34" charset="0"/>
              </a:rPr>
              <a:t>Numerical Features</a:t>
            </a:r>
            <a:endParaRPr lang="en-US" sz="1200" b="1" dirty="0">
              <a:solidFill>
                <a:schemeClr val="tx1"/>
              </a:solidFill>
              <a:latin typeface="Arial" panose="020B0604020202020204" pitchFamily="34" charset="0"/>
              <a:cs typeface="Arial" pitchFamily="34" charset="0"/>
            </a:endParaRPr>
          </a:p>
          <a:p>
            <a:pPr marL="97212" indent="-97212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Detecting outliers in </a:t>
            </a:r>
            <a:r>
              <a:rPr lang="en-US" sz="12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the following features: </a:t>
            </a:r>
            <a:r>
              <a:rPr lang="en-US" sz="12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/>
            </a:r>
            <a:br>
              <a:rPr lang="en-US" sz="12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</a:br>
            <a:r>
              <a:rPr lang="en-US" sz="12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Age</a:t>
            </a:r>
            <a:r>
              <a:rPr lang="en-US" sz="12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, Flight Distance, Departure Delay, and</a:t>
            </a:r>
            <a:br>
              <a:rPr lang="en-US" sz="12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</a:br>
            <a:r>
              <a:rPr lang="en-US" sz="12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Arrival </a:t>
            </a:r>
            <a:r>
              <a:rPr lang="en-US" sz="12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Delay</a:t>
            </a:r>
            <a:endParaRPr lang="en-US" sz="12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  <a:p>
            <a:pPr marL="97212" indent="-97212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Box Plot </a:t>
            </a:r>
            <a:r>
              <a:rPr lang="en-US" sz="12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with the </a:t>
            </a:r>
            <a:r>
              <a:rPr lang="en-US" sz="12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inter-quartile range shaded in dark blue and whiskers </a:t>
            </a:r>
            <a:r>
              <a:rPr lang="en-US" sz="12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depicting upper </a:t>
            </a:r>
            <a:r>
              <a:rPr lang="en-US" sz="12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and lower bound </a:t>
            </a:r>
            <a:r>
              <a:rPr lang="en-US" sz="12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of outliers for the dataset</a:t>
            </a:r>
            <a:endParaRPr lang="en-US" sz="12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7043918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AA16B7AC-F676-4F67-8813-4F8F68AAD7D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774"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="" xmlns:a16="http://schemas.microsoft.com/office/drawing/2014/main" id="{AA16B7AC-F676-4F67-8813-4F8F68AAD7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="" xmlns:a16="http://schemas.microsoft.com/office/drawing/2014/main" id="{260A3D96-399B-450E-B597-24C3AA9AE05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US" sz="240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="" xmlns:a16="http://schemas.microsoft.com/office/drawing/2014/main" id="{48D13E25-DCE9-4BCE-806B-429683B77FA6}"/>
              </a:ext>
            </a:extLst>
          </p:cNvPr>
          <p:cNvSpPr txBox="1"/>
          <p:nvPr/>
        </p:nvSpPr>
        <p:spPr>
          <a:xfrm>
            <a:off x="244474" y="1301507"/>
            <a:ext cx="6840220" cy="249299"/>
          </a:xfrm>
          <a:prstGeom prst="rect">
            <a:avLst/>
          </a:prstGeom>
          <a:noFill/>
          <a:ln w="6350" cap="flat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A5FFFF"/>
                </a:solidFill>
              </a14:hiddenFill>
            </a:ext>
          </a:extLst>
        </p:spPr>
        <p:txBody>
          <a:bodyPr vert="horz" wrap="square" lIns="365760" tIns="0" rIns="0" bIns="0" rtlCol="0" anchor="t" anchorCtr="0">
            <a:sp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2"/>
              </a:buClr>
            </a:pP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Data Exploration &amp; Analysis</a:t>
            </a:r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7956AB31-F718-491D-AAC7-99EB166076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4507" y="493495"/>
            <a:ext cx="7604094" cy="338554"/>
          </a:xfrm>
        </p:spPr>
        <p:txBody>
          <a:bodyPr/>
          <a:lstStyle/>
          <a:p>
            <a:r>
              <a:rPr lang="en-US" b="1" dirty="0"/>
              <a:t>Framework</a:t>
            </a:r>
          </a:p>
        </p:txBody>
      </p:sp>
      <p:sp>
        <p:nvSpPr>
          <p:cNvPr id="5" name="Oval 4">
            <a:extLst>
              <a:ext uri="{FF2B5EF4-FFF2-40B4-BE49-F238E27FC236}">
                <a16:creationId xmlns="" xmlns:a16="http://schemas.microsoft.com/office/drawing/2014/main" id="{3D60A96E-A8F3-4D57-873D-4053E79B24CA}"/>
              </a:ext>
            </a:extLst>
          </p:cNvPr>
          <p:cNvSpPr/>
          <p:nvPr/>
        </p:nvSpPr>
        <p:spPr>
          <a:xfrm>
            <a:off x="246380" y="1273567"/>
            <a:ext cx="279400" cy="279400"/>
          </a:xfrm>
          <a:prstGeom prst="ellipse">
            <a:avLst/>
          </a:prstGeom>
          <a:solidFill>
            <a:schemeClr val="accent1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1600" b="1" dirty="0">
                <a:solidFill>
                  <a:schemeClr val="bg1"/>
                </a:solidFill>
                <a:latin typeface="Arial" panose="020B0604020202020204" pitchFamily="34" charset="0"/>
                <a:cs typeface="Arial" pitchFamily="34" charset="0"/>
              </a:rPr>
              <a:t>3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="" xmlns:a16="http://schemas.microsoft.com/office/drawing/2014/main" id="{0BBEB72A-2139-4645-915E-CEC28070B56D}"/>
              </a:ext>
            </a:extLst>
          </p:cNvPr>
          <p:cNvGrpSpPr/>
          <p:nvPr/>
        </p:nvGrpSpPr>
        <p:grpSpPr>
          <a:xfrm>
            <a:off x="7877395" y="1225848"/>
            <a:ext cx="937795" cy="385342"/>
            <a:chOff x="7877395" y="1225848"/>
            <a:chExt cx="937795" cy="385342"/>
          </a:xfrm>
        </p:grpSpPr>
        <p:sp>
          <p:nvSpPr>
            <p:cNvPr id="12" name="Isosceles Triangle 11">
              <a:extLst>
                <a:ext uri="{FF2B5EF4-FFF2-40B4-BE49-F238E27FC236}">
                  <a16:creationId xmlns="" xmlns:a16="http://schemas.microsoft.com/office/drawing/2014/main" id="{35B3CE62-F491-498C-8FB7-E66CFD69DB95}"/>
                </a:ext>
              </a:extLst>
            </p:cNvPr>
            <p:cNvSpPr>
              <a:spLocks noChangeAspect="1"/>
            </p:cNvSpPr>
            <p:nvPr/>
          </p:nvSpPr>
          <p:spPr bwMode="gray">
            <a:xfrm rot="9927096">
              <a:off x="8132907" y="1349645"/>
              <a:ext cx="73611" cy="63458"/>
            </a:xfrm>
            <a:prstGeom prst="triangle">
              <a:avLst/>
            </a:prstGeom>
            <a:solidFill>
              <a:schemeClr val="bg2"/>
            </a:solidFill>
            <a:ln w="9525">
              <a:solidFill>
                <a:srgbClr val="007F7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050" dirty="0">
                <a:solidFill>
                  <a:schemeClr val="tx1"/>
                </a:solidFill>
              </a:endParaRPr>
            </a:p>
          </p:txBody>
        </p:sp>
        <p:sp>
          <p:nvSpPr>
            <p:cNvPr id="13" name="Oval 12">
              <a:extLst>
                <a:ext uri="{FF2B5EF4-FFF2-40B4-BE49-F238E27FC236}">
                  <a16:creationId xmlns="" xmlns:a16="http://schemas.microsoft.com/office/drawing/2014/main" id="{D5057345-1014-4E3D-8249-CA3762D4EBD7}"/>
                </a:ext>
              </a:extLst>
            </p:cNvPr>
            <p:cNvSpPr/>
            <p:nvPr/>
          </p:nvSpPr>
          <p:spPr>
            <a:xfrm>
              <a:off x="8002635" y="1243852"/>
              <a:ext cx="50253" cy="50252"/>
            </a:xfrm>
            <a:prstGeom prst="ellipse">
              <a:avLst/>
            </a:prstGeom>
            <a:solidFill>
              <a:schemeClr val="bg2"/>
            </a:solidFill>
            <a:ln w="12700" cap="flat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 b="1" dirty="0">
                <a:solidFill>
                  <a:schemeClr val="bg1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14" name="Oval 13">
              <a:extLst>
                <a:ext uri="{FF2B5EF4-FFF2-40B4-BE49-F238E27FC236}">
                  <a16:creationId xmlns="" xmlns:a16="http://schemas.microsoft.com/office/drawing/2014/main" id="{63F9707F-DBB8-47E1-9D38-404826C77867}"/>
                </a:ext>
              </a:extLst>
            </p:cNvPr>
            <p:cNvSpPr/>
            <p:nvPr/>
          </p:nvSpPr>
          <p:spPr>
            <a:xfrm>
              <a:off x="8530035" y="1349312"/>
              <a:ext cx="212364" cy="212364"/>
            </a:xfrm>
            <a:prstGeom prst="ellipse">
              <a:avLst/>
            </a:prstGeom>
            <a:solidFill>
              <a:schemeClr val="accent5"/>
            </a:solidFill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ot="0" spcFirstLastPara="0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15" name="Arc 14">
              <a:extLst>
                <a:ext uri="{FF2B5EF4-FFF2-40B4-BE49-F238E27FC236}">
                  <a16:creationId xmlns="" xmlns:a16="http://schemas.microsoft.com/office/drawing/2014/main" id="{83A64A2A-0C53-4047-8B19-03F3FE3B04D9}"/>
                </a:ext>
              </a:extLst>
            </p:cNvPr>
            <p:cNvSpPr/>
            <p:nvPr/>
          </p:nvSpPr>
          <p:spPr bwMode="gray">
            <a:xfrm>
              <a:off x="8486575" y="1267966"/>
              <a:ext cx="283644" cy="247796"/>
            </a:xfrm>
            <a:prstGeom prst="arc">
              <a:avLst>
                <a:gd name="adj1" fmla="val 11178900"/>
                <a:gd name="adj2" fmla="val 21075396"/>
              </a:avLst>
            </a:prstGeom>
            <a:ln w="19050" cap="flat">
              <a:solidFill>
                <a:schemeClr val="accent5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100" dirty="0"/>
            </a:p>
          </p:txBody>
        </p:sp>
        <p:sp>
          <p:nvSpPr>
            <p:cNvPr id="16" name="Isosceles Triangle 15">
              <a:extLst>
                <a:ext uri="{FF2B5EF4-FFF2-40B4-BE49-F238E27FC236}">
                  <a16:creationId xmlns="" xmlns:a16="http://schemas.microsoft.com/office/drawing/2014/main" id="{AD34A29D-9581-4661-BAC6-DFB4DF1F5397}"/>
                </a:ext>
              </a:extLst>
            </p:cNvPr>
            <p:cNvSpPr>
              <a:spLocks noChangeAspect="1"/>
            </p:cNvSpPr>
            <p:nvPr/>
          </p:nvSpPr>
          <p:spPr bwMode="gray">
            <a:xfrm rot="9927096">
              <a:off x="8734789" y="1347929"/>
              <a:ext cx="73611" cy="63458"/>
            </a:xfrm>
            <a:prstGeom prst="triangle">
              <a:avLst/>
            </a:prstGeom>
            <a:solidFill>
              <a:schemeClr val="accent5"/>
            </a:solidFill>
            <a:ln w="952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050" dirty="0">
                <a:solidFill>
                  <a:schemeClr val="tx1"/>
                </a:solidFill>
              </a:endParaRPr>
            </a:p>
          </p:txBody>
        </p:sp>
        <p:sp>
          <p:nvSpPr>
            <p:cNvPr id="17" name="Oval 16">
              <a:extLst>
                <a:ext uri="{FF2B5EF4-FFF2-40B4-BE49-F238E27FC236}">
                  <a16:creationId xmlns="" xmlns:a16="http://schemas.microsoft.com/office/drawing/2014/main" id="{BFF74F25-EB5E-4527-8581-0E164F89C80F}"/>
                </a:ext>
              </a:extLst>
            </p:cNvPr>
            <p:cNvSpPr/>
            <p:nvPr/>
          </p:nvSpPr>
          <p:spPr>
            <a:xfrm>
              <a:off x="8611091" y="1243852"/>
              <a:ext cx="50253" cy="50252"/>
            </a:xfrm>
            <a:prstGeom prst="ellipse">
              <a:avLst/>
            </a:prstGeom>
            <a:solidFill>
              <a:schemeClr val="accent5"/>
            </a:solidFill>
            <a:ln w="12700" cap="flat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 b="1" dirty="0">
                <a:solidFill>
                  <a:schemeClr val="bg1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="" xmlns:a16="http://schemas.microsoft.com/office/drawing/2014/main" id="{00A129B6-615D-417E-A5FF-BF0A72E04226}"/>
                </a:ext>
              </a:extLst>
            </p:cNvPr>
            <p:cNvSpPr/>
            <p:nvPr/>
          </p:nvSpPr>
          <p:spPr>
            <a:xfrm>
              <a:off x="8486575" y="1225848"/>
              <a:ext cx="328615" cy="385342"/>
            </a:xfrm>
            <a:prstGeom prst="rect">
              <a:avLst/>
            </a:prstGeom>
            <a:solidFill>
              <a:schemeClr val="bg1">
                <a:alpha val="80000"/>
              </a:schemeClr>
            </a:solidFill>
            <a:ln w="6350" cap="flat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900"/>
                </a:spcBef>
              </a:pPr>
              <a:endParaRPr lang="en-US" sz="140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9" name="Oval 18">
              <a:extLst>
                <a:ext uri="{FF2B5EF4-FFF2-40B4-BE49-F238E27FC236}">
                  <a16:creationId xmlns="" xmlns:a16="http://schemas.microsoft.com/office/drawing/2014/main" id="{3E98A2CE-5146-4C5F-A545-6FDD7370DFB0}"/>
                </a:ext>
              </a:extLst>
            </p:cNvPr>
            <p:cNvSpPr/>
            <p:nvPr/>
          </p:nvSpPr>
          <p:spPr>
            <a:xfrm>
              <a:off x="7921579" y="1349312"/>
              <a:ext cx="212364" cy="212364"/>
            </a:xfrm>
            <a:prstGeom prst="ellipse">
              <a:avLst/>
            </a:prstGeom>
            <a:solidFill>
              <a:schemeClr val="bg2"/>
            </a:solidFill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ot="0" spcFirstLastPara="0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20" name="Arc 19">
              <a:extLst>
                <a:ext uri="{FF2B5EF4-FFF2-40B4-BE49-F238E27FC236}">
                  <a16:creationId xmlns="" xmlns:a16="http://schemas.microsoft.com/office/drawing/2014/main" id="{A0AB8420-2770-4899-AC43-A47624E481BC}"/>
                </a:ext>
              </a:extLst>
            </p:cNvPr>
            <p:cNvSpPr/>
            <p:nvPr/>
          </p:nvSpPr>
          <p:spPr bwMode="gray">
            <a:xfrm>
              <a:off x="7883769" y="1267966"/>
              <a:ext cx="283644" cy="247796"/>
            </a:xfrm>
            <a:prstGeom prst="arc">
              <a:avLst>
                <a:gd name="adj1" fmla="val 11178900"/>
                <a:gd name="adj2" fmla="val 21075396"/>
              </a:avLst>
            </a:prstGeom>
            <a:ln w="19050" cap="flat">
              <a:solidFill>
                <a:schemeClr val="bg2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100" dirty="0"/>
            </a:p>
          </p:txBody>
        </p:sp>
        <p:sp>
          <p:nvSpPr>
            <p:cNvPr id="21" name="Rectangle 20">
              <a:extLst>
                <a:ext uri="{FF2B5EF4-FFF2-40B4-BE49-F238E27FC236}">
                  <a16:creationId xmlns="" xmlns:a16="http://schemas.microsoft.com/office/drawing/2014/main" id="{33C5B095-13E5-455C-9204-B2BD9ABC7DCF}"/>
                </a:ext>
              </a:extLst>
            </p:cNvPr>
            <p:cNvSpPr/>
            <p:nvPr/>
          </p:nvSpPr>
          <p:spPr>
            <a:xfrm>
              <a:off x="7877395" y="1225848"/>
              <a:ext cx="328615" cy="385342"/>
            </a:xfrm>
            <a:prstGeom prst="rect">
              <a:avLst/>
            </a:prstGeom>
            <a:solidFill>
              <a:schemeClr val="bg1">
                <a:alpha val="80000"/>
              </a:schemeClr>
            </a:solidFill>
            <a:ln w="6350" cap="flat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900"/>
                </a:spcBef>
              </a:pPr>
              <a:endParaRPr lang="en-US" sz="140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2" name="Oval 21">
              <a:extLst>
                <a:ext uri="{FF2B5EF4-FFF2-40B4-BE49-F238E27FC236}">
                  <a16:creationId xmlns="" xmlns:a16="http://schemas.microsoft.com/office/drawing/2014/main" id="{22C1417D-C0DF-425F-B1EA-C0A7EC164858}"/>
                </a:ext>
              </a:extLst>
            </p:cNvPr>
            <p:cNvSpPr/>
            <p:nvPr/>
          </p:nvSpPr>
          <p:spPr>
            <a:xfrm>
              <a:off x="8225098" y="1244357"/>
              <a:ext cx="212364" cy="212364"/>
            </a:xfrm>
            <a:prstGeom prst="ellipse">
              <a:avLst/>
            </a:prstGeom>
            <a:solidFill>
              <a:schemeClr val="accent1"/>
            </a:solidFill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ot="0" spcFirstLastPara="0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23" name="Arc 22">
              <a:extLst>
                <a:ext uri="{FF2B5EF4-FFF2-40B4-BE49-F238E27FC236}">
                  <a16:creationId xmlns="" xmlns:a16="http://schemas.microsoft.com/office/drawing/2014/main" id="{6A0208D0-2202-4068-9629-F81575FE5B60}"/>
                </a:ext>
              </a:extLst>
            </p:cNvPr>
            <p:cNvSpPr/>
            <p:nvPr/>
          </p:nvSpPr>
          <p:spPr bwMode="gray">
            <a:xfrm flipV="1">
              <a:off x="8184095" y="1313981"/>
              <a:ext cx="283644" cy="247373"/>
            </a:xfrm>
            <a:prstGeom prst="arc">
              <a:avLst>
                <a:gd name="adj1" fmla="val 11178900"/>
                <a:gd name="adj2" fmla="val 21075396"/>
              </a:avLst>
            </a:prstGeom>
            <a:ln w="19050" cap="flat">
              <a:solidFill>
                <a:schemeClr val="accent1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100" dirty="0"/>
            </a:p>
          </p:txBody>
        </p:sp>
        <p:sp>
          <p:nvSpPr>
            <p:cNvPr id="24" name="Isosceles Triangle 23">
              <a:extLst>
                <a:ext uri="{FF2B5EF4-FFF2-40B4-BE49-F238E27FC236}">
                  <a16:creationId xmlns="" xmlns:a16="http://schemas.microsoft.com/office/drawing/2014/main" id="{401D8938-53A8-4EF6-9FC7-7B0105B2302E}"/>
                </a:ext>
              </a:extLst>
            </p:cNvPr>
            <p:cNvSpPr>
              <a:spLocks noChangeAspect="1"/>
            </p:cNvSpPr>
            <p:nvPr/>
          </p:nvSpPr>
          <p:spPr bwMode="gray">
            <a:xfrm rot="11672904" flipV="1">
              <a:off x="8432310" y="1418179"/>
              <a:ext cx="73611" cy="63349"/>
            </a:xfrm>
            <a:prstGeom prst="triangle">
              <a:avLst/>
            </a:prstGeom>
            <a:solidFill>
              <a:schemeClr val="accent1"/>
            </a:solidFill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050" dirty="0">
                <a:solidFill>
                  <a:schemeClr val="tx1"/>
                </a:solidFill>
              </a:endParaRPr>
            </a:p>
          </p:txBody>
        </p:sp>
        <p:sp>
          <p:nvSpPr>
            <p:cNvPr id="25" name="Oval 24">
              <a:extLst>
                <a:ext uri="{FF2B5EF4-FFF2-40B4-BE49-F238E27FC236}">
                  <a16:creationId xmlns="" xmlns:a16="http://schemas.microsoft.com/office/drawing/2014/main" id="{98170558-834B-4009-B86E-FFC6DBC68739}"/>
                </a:ext>
              </a:extLst>
            </p:cNvPr>
            <p:cNvSpPr/>
            <p:nvPr/>
          </p:nvSpPr>
          <p:spPr>
            <a:xfrm>
              <a:off x="8306154" y="1537095"/>
              <a:ext cx="50253" cy="50252"/>
            </a:xfrm>
            <a:prstGeom prst="ellipse">
              <a:avLst/>
            </a:prstGeom>
            <a:solidFill>
              <a:schemeClr val="accent1"/>
            </a:solidFill>
            <a:ln w="12700" cap="flat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 b="1" dirty="0">
                <a:solidFill>
                  <a:schemeClr val="bg1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</p:grpSp>
      <p:pic>
        <p:nvPicPr>
          <p:cNvPr id="26" name="Picture 25" descr="img8.png">
            <a:extLst>
              <a:ext uri="{FF2B5EF4-FFF2-40B4-BE49-F238E27FC236}">
                <a16:creationId xmlns="" xmlns:a16="http://schemas.microsoft.com/office/drawing/2014/main" id="{92495D68-B4B9-4C5E-8E83-25C9511433B2}"/>
              </a:ext>
            </a:extLst>
          </p:cNvPr>
          <p:cNvPicPr preferRelativeResize="0">
            <a:picLocks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1300" y="1638300"/>
            <a:ext cx="4981358" cy="4920525"/>
          </a:xfrm>
          <a:prstGeom prst="rect">
            <a:avLst/>
          </a:prstGeom>
        </p:spPr>
      </p:pic>
      <p:sp>
        <p:nvSpPr>
          <p:cNvPr id="28" name="Rectangle 27">
            <a:extLst>
              <a:ext uri="{FF2B5EF4-FFF2-40B4-BE49-F238E27FC236}">
                <a16:creationId xmlns="" xmlns:a16="http://schemas.microsoft.com/office/drawing/2014/main" id="{8CB181B4-F7F7-46DD-8436-013077DF9C04}"/>
              </a:ext>
            </a:extLst>
          </p:cNvPr>
          <p:cNvSpPr/>
          <p:nvPr/>
        </p:nvSpPr>
        <p:spPr>
          <a:xfrm>
            <a:off x="5225833" y="1640822"/>
            <a:ext cx="3667341" cy="3156329"/>
          </a:xfrm>
          <a:prstGeom prst="rect">
            <a:avLst/>
          </a:prstGeom>
          <a:noFill/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SzPct val="100000"/>
            </a:pPr>
            <a:r>
              <a:rPr lang="en-US" sz="1200" b="1" dirty="0">
                <a:solidFill>
                  <a:schemeClr val="tx1"/>
                </a:solidFill>
                <a:latin typeface="Arial" panose="020B0604020202020204" pitchFamily="34" charset="0"/>
                <a:cs typeface="Arial" pitchFamily="34" charset="0"/>
              </a:rPr>
              <a:t>Analyzing the Centrality and Variability of the </a:t>
            </a:r>
            <a:r>
              <a:rPr lang="en-US" sz="12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itchFamily="34" charset="0"/>
              </a:rPr>
              <a:t>Numerical Features, cont’d</a:t>
            </a:r>
            <a:endParaRPr lang="en-US" sz="1200" b="1" dirty="0">
              <a:solidFill>
                <a:schemeClr val="tx1"/>
              </a:solidFill>
              <a:latin typeface="Arial" panose="020B0604020202020204" pitchFamily="34" charset="0"/>
              <a:cs typeface="Arial" pitchFamily="34" charset="0"/>
            </a:endParaRPr>
          </a:p>
          <a:p>
            <a:pPr marL="97212" indent="-97212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12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Updated Box</a:t>
            </a:r>
            <a:r>
              <a:rPr lang="en-US" sz="12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-Plot </a:t>
            </a:r>
            <a:r>
              <a:rPr lang="en-US" sz="12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after </a:t>
            </a:r>
            <a:r>
              <a:rPr lang="en-US" sz="12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dropping extreme and improbable </a:t>
            </a:r>
            <a:r>
              <a:rPr lang="en-US" sz="12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values on a feature-by-feature base</a:t>
            </a:r>
          </a:p>
          <a:p>
            <a:pPr marL="97212" indent="-97212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12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Lower Dispersion of outliers -.&gt; Lower Variance</a:t>
            </a:r>
            <a:endParaRPr lang="en-US" sz="12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3905760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AA16B7AC-F676-4F67-8813-4F8F68AAD7D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798"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="" xmlns:a16="http://schemas.microsoft.com/office/drawing/2014/main" id="{AA16B7AC-F676-4F67-8813-4F8F68AAD7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="" xmlns:a16="http://schemas.microsoft.com/office/drawing/2014/main" id="{260A3D96-399B-450E-B597-24C3AA9AE05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US" sz="240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="" xmlns:a16="http://schemas.microsoft.com/office/drawing/2014/main" id="{48D13E25-DCE9-4BCE-806B-429683B77FA6}"/>
              </a:ext>
            </a:extLst>
          </p:cNvPr>
          <p:cNvSpPr txBox="1"/>
          <p:nvPr/>
        </p:nvSpPr>
        <p:spPr>
          <a:xfrm>
            <a:off x="244474" y="1301507"/>
            <a:ext cx="6840220" cy="249299"/>
          </a:xfrm>
          <a:prstGeom prst="rect">
            <a:avLst/>
          </a:prstGeom>
          <a:noFill/>
          <a:ln w="6350" cap="flat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A5FFFF"/>
                </a:solidFill>
              </a14:hiddenFill>
            </a:ext>
          </a:extLst>
        </p:spPr>
        <p:txBody>
          <a:bodyPr vert="horz" wrap="square" lIns="365760" tIns="0" rIns="0" bIns="0" rtlCol="0" anchor="t" anchorCtr="0">
            <a:sp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2"/>
              </a:buClr>
            </a:pP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Data Exploration &amp; Analysis</a:t>
            </a:r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7956AB31-F718-491D-AAC7-99EB166076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4507" y="493495"/>
            <a:ext cx="7604094" cy="338554"/>
          </a:xfrm>
        </p:spPr>
        <p:txBody>
          <a:bodyPr/>
          <a:lstStyle/>
          <a:p>
            <a:r>
              <a:rPr lang="en-US" b="1" dirty="0"/>
              <a:t>Framework</a:t>
            </a:r>
          </a:p>
        </p:txBody>
      </p:sp>
      <p:sp>
        <p:nvSpPr>
          <p:cNvPr id="5" name="Oval 4">
            <a:extLst>
              <a:ext uri="{FF2B5EF4-FFF2-40B4-BE49-F238E27FC236}">
                <a16:creationId xmlns="" xmlns:a16="http://schemas.microsoft.com/office/drawing/2014/main" id="{3D60A96E-A8F3-4D57-873D-4053E79B24CA}"/>
              </a:ext>
            </a:extLst>
          </p:cNvPr>
          <p:cNvSpPr/>
          <p:nvPr/>
        </p:nvSpPr>
        <p:spPr>
          <a:xfrm>
            <a:off x="246380" y="1273567"/>
            <a:ext cx="279400" cy="279400"/>
          </a:xfrm>
          <a:prstGeom prst="ellipse">
            <a:avLst/>
          </a:prstGeom>
          <a:solidFill>
            <a:schemeClr val="accent1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1600" b="1" dirty="0">
                <a:solidFill>
                  <a:schemeClr val="bg1"/>
                </a:solidFill>
                <a:latin typeface="Arial" panose="020B0604020202020204" pitchFamily="34" charset="0"/>
                <a:cs typeface="Arial" pitchFamily="34" charset="0"/>
              </a:rPr>
              <a:t>3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="" xmlns:a16="http://schemas.microsoft.com/office/drawing/2014/main" id="{0BBEB72A-2139-4645-915E-CEC28070B56D}"/>
              </a:ext>
            </a:extLst>
          </p:cNvPr>
          <p:cNvGrpSpPr/>
          <p:nvPr/>
        </p:nvGrpSpPr>
        <p:grpSpPr>
          <a:xfrm>
            <a:off x="7877395" y="1225848"/>
            <a:ext cx="937795" cy="385342"/>
            <a:chOff x="7877395" y="1225848"/>
            <a:chExt cx="937795" cy="385342"/>
          </a:xfrm>
        </p:grpSpPr>
        <p:sp>
          <p:nvSpPr>
            <p:cNvPr id="12" name="Isosceles Triangle 11">
              <a:extLst>
                <a:ext uri="{FF2B5EF4-FFF2-40B4-BE49-F238E27FC236}">
                  <a16:creationId xmlns="" xmlns:a16="http://schemas.microsoft.com/office/drawing/2014/main" id="{35B3CE62-F491-498C-8FB7-E66CFD69DB95}"/>
                </a:ext>
              </a:extLst>
            </p:cNvPr>
            <p:cNvSpPr>
              <a:spLocks noChangeAspect="1"/>
            </p:cNvSpPr>
            <p:nvPr/>
          </p:nvSpPr>
          <p:spPr bwMode="gray">
            <a:xfrm rot="9927096">
              <a:off x="8132907" y="1349645"/>
              <a:ext cx="73611" cy="63458"/>
            </a:xfrm>
            <a:prstGeom prst="triangle">
              <a:avLst/>
            </a:prstGeom>
            <a:solidFill>
              <a:schemeClr val="bg2"/>
            </a:solidFill>
            <a:ln w="9525">
              <a:solidFill>
                <a:srgbClr val="007F7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050" dirty="0">
                <a:solidFill>
                  <a:schemeClr val="tx1"/>
                </a:solidFill>
              </a:endParaRPr>
            </a:p>
          </p:txBody>
        </p:sp>
        <p:sp>
          <p:nvSpPr>
            <p:cNvPr id="13" name="Oval 12">
              <a:extLst>
                <a:ext uri="{FF2B5EF4-FFF2-40B4-BE49-F238E27FC236}">
                  <a16:creationId xmlns="" xmlns:a16="http://schemas.microsoft.com/office/drawing/2014/main" id="{D5057345-1014-4E3D-8249-CA3762D4EBD7}"/>
                </a:ext>
              </a:extLst>
            </p:cNvPr>
            <p:cNvSpPr/>
            <p:nvPr/>
          </p:nvSpPr>
          <p:spPr>
            <a:xfrm>
              <a:off x="8002635" y="1243852"/>
              <a:ext cx="50253" cy="50252"/>
            </a:xfrm>
            <a:prstGeom prst="ellipse">
              <a:avLst/>
            </a:prstGeom>
            <a:solidFill>
              <a:schemeClr val="bg2"/>
            </a:solidFill>
            <a:ln w="12700" cap="flat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 b="1" dirty="0">
                <a:solidFill>
                  <a:schemeClr val="bg1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14" name="Oval 13">
              <a:extLst>
                <a:ext uri="{FF2B5EF4-FFF2-40B4-BE49-F238E27FC236}">
                  <a16:creationId xmlns="" xmlns:a16="http://schemas.microsoft.com/office/drawing/2014/main" id="{63F9707F-DBB8-47E1-9D38-404826C77867}"/>
                </a:ext>
              </a:extLst>
            </p:cNvPr>
            <p:cNvSpPr/>
            <p:nvPr/>
          </p:nvSpPr>
          <p:spPr>
            <a:xfrm>
              <a:off x="8530035" y="1349312"/>
              <a:ext cx="212364" cy="212364"/>
            </a:xfrm>
            <a:prstGeom prst="ellipse">
              <a:avLst/>
            </a:prstGeom>
            <a:solidFill>
              <a:schemeClr val="accent5"/>
            </a:solidFill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ot="0" spcFirstLastPara="0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15" name="Arc 14">
              <a:extLst>
                <a:ext uri="{FF2B5EF4-FFF2-40B4-BE49-F238E27FC236}">
                  <a16:creationId xmlns="" xmlns:a16="http://schemas.microsoft.com/office/drawing/2014/main" id="{83A64A2A-0C53-4047-8B19-03F3FE3B04D9}"/>
                </a:ext>
              </a:extLst>
            </p:cNvPr>
            <p:cNvSpPr/>
            <p:nvPr/>
          </p:nvSpPr>
          <p:spPr bwMode="gray">
            <a:xfrm>
              <a:off x="8486575" y="1267966"/>
              <a:ext cx="283644" cy="247796"/>
            </a:xfrm>
            <a:prstGeom prst="arc">
              <a:avLst>
                <a:gd name="adj1" fmla="val 11178900"/>
                <a:gd name="adj2" fmla="val 21075396"/>
              </a:avLst>
            </a:prstGeom>
            <a:ln w="19050" cap="flat">
              <a:solidFill>
                <a:schemeClr val="accent5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100" dirty="0"/>
            </a:p>
          </p:txBody>
        </p:sp>
        <p:sp>
          <p:nvSpPr>
            <p:cNvPr id="16" name="Isosceles Triangle 15">
              <a:extLst>
                <a:ext uri="{FF2B5EF4-FFF2-40B4-BE49-F238E27FC236}">
                  <a16:creationId xmlns="" xmlns:a16="http://schemas.microsoft.com/office/drawing/2014/main" id="{AD34A29D-9581-4661-BAC6-DFB4DF1F5397}"/>
                </a:ext>
              </a:extLst>
            </p:cNvPr>
            <p:cNvSpPr>
              <a:spLocks noChangeAspect="1"/>
            </p:cNvSpPr>
            <p:nvPr/>
          </p:nvSpPr>
          <p:spPr bwMode="gray">
            <a:xfrm rot="9927096">
              <a:off x="8734789" y="1347929"/>
              <a:ext cx="73611" cy="63458"/>
            </a:xfrm>
            <a:prstGeom prst="triangle">
              <a:avLst/>
            </a:prstGeom>
            <a:solidFill>
              <a:schemeClr val="accent5"/>
            </a:solidFill>
            <a:ln w="952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050" dirty="0">
                <a:solidFill>
                  <a:schemeClr val="tx1"/>
                </a:solidFill>
              </a:endParaRPr>
            </a:p>
          </p:txBody>
        </p:sp>
        <p:sp>
          <p:nvSpPr>
            <p:cNvPr id="17" name="Oval 16">
              <a:extLst>
                <a:ext uri="{FF2B5EF4-FFF2-40B4-BE49-F238E27FC236}">
                  <a16:creationId xmlns="" xmlns:a16="http://schemas.microsoft.com/office/drawing/2014/main" id="{BFF74F25-EB5E-4527-8581-0E164F89C80F}"/>
                </a:ext>
              </a:extLst>
            </p:cNvPr>
            <p:cNvSpPr/>
            <p:nvPr/>
          </p:nvSpPr>
          <p:spPr>
            <a:xfrm>
              <a:off x="8611091" y="1243852"/>
              <a:ext cx="50253" cy="50252"/>
            </a:xfrm>
            <a:prstGeom prst="ellipse">
              <a:avLst/>
            </a:prstGeom>
            <a:solidFill>
              <a:schemeClr val="accent5"/>
            </a:solidFill>
            <a:ln w="12700" cap="flat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 b="1" dirty="0">
                <a:solidFill>
                  <a:schemeClr val="bg1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="" xmlns:a16="http://schemas.microsoft.com/office/drawing/2014/main" id="{00A129B6-615D-417E-A5FF-BF0A72E04226}"/>
                </a:ext>
              </a:extLst>
            </p:cNvPr>
            <p:cNvSpPr/>
            <p:nvPr/>
          </p:nvSpPr>
          <p:spPr>
            <a:xfrm>
              <a:off x="8486575" y="1225848"/>
              <a:ext cx="328615" cy="385342"/>
            </a:xfrm>
            <a:prstGeom prst="rect">
              <a:avLst/>
            </a:prstGeom>
            <a:solidFill>
              <a:schemeClr val="bg1">
                <a:alpha val="80000"/>
              </a:schemeClr>
            </a:solidFill>
            <a:ln w="6350" cap="flat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900"/>
                </a:spcBef>
              </a:pPr>
              <a:endParaRPr lang="en-US" sz="140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9" name="Oval 18">
              <a:extLst>
                <a:ext uri="{FF2B5EF4-FFF2-40B4-BE49-F238E27FC236}">
                  <a16:creationId xmlns="" xmlns:a16="http://schemas.microsoft.com/office/drawing/2014/main" id="{3E98A2CE-5146-4C5F-A545-6FDD7370DFB0}"/>
                </a:ext>
              </a:extLst>
            </p:cNvPr>
            <p:cNvSpPr/>
            <p:nvPr/>
          </p:nvSpPr>
          <p:spPr>
            <a:xfrm>
              <a:off x="7921579" y="1349312"/>
              <a:ext cx="212364" cy="212364"/>
            </a:xfrm>
            <a:prstGeom prst="ellipse">
              <a:avLst/>
            </a:prstGeom>
            <a:solidFill>
              <a:schemeClr val="bg2"/>
            </a:solidFill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ot="0" spcFirstLastPara="0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20" name="Arc 19">
              <a:extLst>
                <a:ext uri="{FF2B5EF4-FFF2-40B4-BE49-F238E27FC236}">
                  <a16:creationId xmlns="" xmlns:a16="http://schemas.microsoft.com/office/drawing/2014/main" id="{A0AB8420-2770-4899-AC43-A47624E481BC}"/>
                </a:ext>
              </a:extLst>
            </p:cNvPr>
            <p:cNvSpPr/>
            <p:nvPr/>
          </p:nvSpPr>
          <p:spPr bwMode="gray">
            <a:xfrm>
              <a:off x="7883769" y="1267966"/>
              <a:ext cx="283644" cy="247796"/>
            </a:xfrm>
            <a:prstGeom prst="arc">
              <a:avLst>
                <a:gd name="adj1" fmla="val 11178900"/>
                <a:gd name="adj2" fmla="val 21075396"/>
              </a:avLst>
            </a:prstGeom>
            <a:ln w="19050" cap="flat">
              <a:solidFill>
                <a:schemeClr val="bg2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100" dirty="0"/>
            </a:p>
          </p:txBody>
        </p:sp>
        <p:sp>
          <p:nvSpPr>
            <p:cNvPr id="21" name="Rectangle 20">
              <a:extLst>
                <a:ext uri="{FF2B5EF4-FFF2-40B4-BE49-F238E27FC236}">
                  <a16:creationId xmlns="" xmlns:a16="http://schemas.microsoft.com/office/drawing/2014/main" id="{33C5B095-13E5-455C-9204-B2BD9ABC7DCF}"/>
                </a:ext>
              </a:extLst>
            </p:cNvPr>
            <p:cNvSpPr/>
            <p:nvPr/>
          </p:nvSpPr>
          <p:spPr>
            <a:xfrm>
              <a:off x="7877395" y="1225848"/>
              <a:ext cx="328615" cy="385342"/>
            </a:xfrm>
            <a:prstGeom prst="rect">
              <a:avLst/>
            </a:prstGeom>
            <a:solidFill>
              <a:schemeClr val="bg1">
                <a:alpha val="80000"/>
              </a:schemeClr>
            </a:solidFill>
            <a:ln w="6350" cap="flat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900"/>
                </a:spcBef>
              </a:pPr>
              <a:endParaRPr lang="en-US" sz="140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2" name="Oval 21">
              <a:extLst>
                <a:ext uri="{FF2B5EF4-FFF2-40B4-BE49-F238E27FC236}">
                  <a16:creationId xmlns="" xmlns:a16="http://schemas.microsoft.com/office/drawing/2014/main" id="{22C1417D-C0DF-425F-B1EA-C0A7EC164858}"/>
                </a:ext>
              </a:extLst>
            </p:cNvPr>
            <p:cNvSpPr/>
            <p:nvPr/>
          </p:nvSpPr>
          <p:spPr>
            <a:xfrm>
              <a:off x="8225098" y="1244357"/>
              <a:ext cx="212364" cy="212364"/>
            </a:xfrm>
            <a:prstGeom prst="ellipse">
              <a:avLst/>
            </a:prstGeom>
            <a:solidFill>
              <a:schemeClr val="accent1"/>
            </a:solidFill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ot="0" spcFirstLastPara="0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23" name="Arc 22">
              <a:extLst>
                <a:ext uri="{FF2B5EF4-FFF2-40B4-BE49-F238E27FC236}">
                  <a16:creationId xmlns="" xmlns:a16="http://schemas.microsoft.com/office/drawing/2014/main" id="{6A0208D0-2202-4068-9629-F81575FE5B60}"/>
                </a:ext>
              </a:extLst>
            </p:cNvPr>
            <p:cNvSpPr/>
            <p:nvPr/>
          </p:nvSpPr>
          <p:spPr bwMode="gray">
            <a:xfrm flipV="1">
              <a:off x="8184095" y="1313981"/>
              <a:ext cx="283644" cy="247373"/>
            </a:xfrm>
            <a:prstGeom prst="arc">
              <a:avLst>
                <a:gd name="adj1" fmla="val 11178900"/>
                <a:gd name="adj2" fmla="val 21075396"/>
              </a:avLst>
            </a:prstGeom>
            <a:ln w="19050" cap="flat">
              <a:solidFill>
                <a:schemeClr val="accent1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100" dirty="0"/>
            </a:p>
          </p:txBody>
        </p:sp>
        <p:sp>
          <p:nvSpPr>
            <p:cNvPr id="24" name="Isosceles Triangle 23">
              <a:extLst>
                <a:ext uri="{FF2B5EF4-FFF2-40B4-BE49-F238E27FC236}">
                  <a16:creationId xmlns="" xmlns:a16="http://schemas.microsoft.com/office/drawing/2014/main" id="{401D8938-53A8-4EF6-9FC7-7B0105B2302E}"/>
                </a:ext>
              </a:extLst>
            </p:cNvPr>
            <p:cNvSpPr>
              <a:spLocks noChangeAspect="1"/>
            </p:cNvSpPr>
            <p:nvPr/>
          </p:nvSpPr>
          <p:spPr bwMode="gray">
            <a:xfrm rot="11672904" flipV="1">
              <a:off x="8432310" y="1418179"/>
              <a:ext cx="73611" cy="63349"/>
            </a:xfrm>
            <a:prstGeom prst="triangle">
              <a:avLst/>
            </a:prstGeom>
            <a:solidFill>
              <a:schemeClr val="accent1"/>
            </a:solidFill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050" dirty="0">
                <a:solidFill>
                  <a:schemeClr val="tx1"/>
                </a:solidFill>
              </a:endParaRPr>
            </a:p>
          </p:txBody>
        </p:sp>
        <p:sp>
          <p:nvSpPr>
            <p:cNvPr id="25" name="Oval 24">
              <a:extLst>
                <a:ext uri="{FF2B5EF4-FFF2-40B4-BE49-F238E27FC236}">
                  <a16:creationId xmlns="" xmlns:a16="http://schemas.microsoft.com/office/drawing/2014/main" id="{98170558-834B-4009-B86E-FFC6DBC68739}"/>
                </a:ext>
              </a:extLst>
            </p:cNvPr>
            <p:cNvSpPr/>
            <p:nvPr/>
          </p:nvSpPr>
          <p:spPr>
            <a:xfrm>
              <a:off x="8306154" y="1537095"/>
              <a:ext cx="50253" cy="50252"/>
            </a:xfrm>
            <a:prstGeom prst="ellipse">
              <a:avLst/>
            </a:prstGeom>
            <a:solidFill>
              <a:schemeClr val="accent1"/>
            </a:solidFill>
            <a:ln w="12700" cap="flat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 b="1" dirty="0">
                <a:solidFill>
                  <a:schemeClr val="bg1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</p:grpSp>
      <p:sp>
        <p:nvSpPr>
          <p:cNvPr id="28" name="Rectangle 27">
            <a:extLst>
              <a:ext uri="{FF2B5EF4-FFF2-40B4-BE49-F238E27FC236}">
                <a16:creationId xmlns="" xmlns:a16="http://schemas.microsoft.com/office/drawing/2014/main" id="{8CB181B4-F7F7-46DD-8436-013077DF9C04}"/>
              </a:ext>
            </a:extLst>
          </p:cNvPr>
          <p:cNvSpPr/>
          <p:nvPr/>
        </p:nvSpPr>
        <p:spPr>
          <a:xfrm>
            <a:off x="5225833" y="1640822"/>
            <a:ext cx="3918167" cy="3156329"/>
          </a:xfrm>
          <a:prstGeom prst="rect">
            <a:avLst/>
          </a:prstGeom>
          <a:noFill/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97212" indent="-97212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1200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Correlation Heatmap </a:t>
            </a:r>
            <a:r>
              <a:rPr lang="en-US" sz="12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between all features, excluding the target </a:t>
            </a:r>
            <a:r>
              <a:rPr lang="en-US" sz="12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variable, Churn Rate</a:t>
            </a:r>
            <a:endParaRPr lang="en-US" sz="12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  <a:p>
            <a:pPr marL="97212" indent="-97212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12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A </a:t>
            </a:r>
            <a:r>
              <a:rPr lang="en-US" sz="1200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Spearman </a:t>
            </a:r>
            <a:r>
              <a:rPr lang="en-US" sz="12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Correlation </a:t>
            </a:r>
            <a:r>
              <a:rPr lang="en-US" sz="12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was used since the majority of my features are ordinal </a:t>
            </a:r>
            <a:r>
              <a:rPr lang="en-US" sz="12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categorical and didn’t show a </a:t>
            </a:r>
            <a:r>
              <a:rPr lang="en-US" sz="1200" dirty="0" err="1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Guassian</a:t>
            </a:r>
            <a:r>
              <a:rPr lang="en-US" sz="12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Distribution (Left-tail skewed) </a:t>
            </a:r>
            <a:endParaRPr lang="en-US" sz="12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27" name="Picture 26" descr="img8.png">
            <a:extLst>
              <a:ext uri="{FF2B5EF4-FFF2-40B4-BE49-F238E27FC236}">
                <a16:creationId xmlns="" xmlns:a16="http://schemas.microsoft.com/office/drawing/2014/main" id="{344E7189-1F69-4C15-8531-BFA9AFF66B8B}"/>
              </a:ext>
            </a:extLst>
          </p:cNvPr>
          <p:cNvPicPr preferRelativeResize="0">
            <a:picLocks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1300" y="1638300"/>
            <a:ext cx="4981358" cy="4920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614348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AA16B7AC-F676-4F67-8813-4F8F68AAD7D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822"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="" xmlns:a16="http://schemas.microsoft.com/office/drawing/2014/main" id="{AA16B7AC-F676-4F67-8813-4F8F68AAD7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="" xmlns:a16="http://schemas.microsoft.com/office/drawing/2014/main" id="{260A3D96-399B-450E-B597-24C3AA9AE05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US" sz="240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7956AB31-F718-491D-AAC7-99EB166076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4507" y="493495"/>
            <a:ext cx="7604094" cy="338554"/>
          </a:xfrm>
        </p:spPr>
        <p:txBody>
          <a:bodyPr/>
          <a:lstStyle/>
          <a:p>
            <a:r>
              <a:rPr lang="en-US" b="1" dirty="0"/>
              <a:t>Framework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="" xmlns:a16="http://schemas.microsoft.com/office/drawing/2014/main" id="{0BBEB72A-2139-4645-915E-CEC28070B56D}"/>
              </a:ext>
            </a:extLst>
          </p:cNvPr>
          <p:cNvGrpSpPr/>
          <p:nvPr/>
        </p:nvGrpSpPr>
        <p:grpSpPr>
          <a:xfrm>
            <a:off x="7877395" y="1225848"/>
            <a:ext cx="937795" cy="385342"/>
            <a:chOff x="7877395" y="1225848"/>
            <a:chExt cx="937795" cy="385342"/>
          </a:xfrm>
        </p:grpSpPr>
        <p:sp>
          <p:nvSpPr>
            <p:cNvPr id="12" name="Isosceles Triangle 11">
              <a:extLst>
                <a:ext uri="{FF2B5EF4-FFF2-40B4-BE49-F238E27FC236}">
                  <a16:creationId xmlns="" xmlns:a16="http://schemas.microsoft.com/office/drawing/2014/main" id="{35B3CE62-F491-498C-8FB7-E66CFD69DB95}"/>
                </a:ext>
              </a:extLst>
            </p:cNvPr>
            <p:cNvSpPr>
              <a:spLocks noChangeAspect="1"/>
            </p:cNvSpPr>
            <p:nvPr/>
          </p:nvSpPr>
          <p:spPr bwMode="gray">
            <a:xfrm rot="9927096">
              <a:off x="8132907" y="1349645"/>
              <a:ext cx="73611" cy="63458"/>
            </a:xfrm>
            <a:prstGeom prst="triangle">
              <a:avLst/>
            </a:prstGeom>
            <a:solidFill>
              <a:schemeClr val="bg2"/>
            </a:solidFill>
            <a:ln w="9525">
              <a:solidFill>
                <a:srgbClr val="007F7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050" dirty="0">
                <a:solidFill>
                  <a:schemeClr val="tx1"/>
                </a:solidFill>
              </a:endParaRPr>
            </a:p>
          </p:txBody>
        </p:sp>
        <p:sp>
          <p:nvSpPr>
            <p:cNvPr id="13" name="Oval 12">
              <a:extLst>
                <a:ext uri="{FF2B5EF4-FFF2-40B4-BE49-F238E27FC236}">
                  <a16:creationId xmlns="" xmlns:a16="http://schemas.microsoft.com/office/drawing/2014/main" id="{D5057345-1014-4E3D-8249-CA3762D4EBD7}"/>
                </a:ext>
              </a:extLst>
            </p:cNvPr>
            <p:cNvSpPr/>
            <p:nvPr/>
          </p:nvSpPr>
          <p:spPr>
            <a:xfrm>
              <a:off x="8002635" y="1243852"/>
              <a:ext cx="50253" cy="50252"/>
            </a:xfrm>
            <a:prstGeom prst="ellipse">
              <a:avLst/>
            </a:prstGeom>
            <a:solidFill>
              <a:schemeClr val="bg2"/>
            </a:solidFill>
            <a:ln w="12700" cap="flat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 b="1" dirty="0">
                <a:solidFill>
                  <a:schemeClr val="bg1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14" name="Oval 13">
              <a:extLst>
                <a:ext uri="{FF2B5EF4-FFF2-40B4-BE49-F238E27FC236}">
                  <a16:creationId xmlns="" xmlns:a16="http://schemas.microsoft.com/office/drawing/2014/main" id="{63F9707F-DBB8-47E1-9D38-404826C77867}"/>
                </a:ext>
              </a:extLst>
            </p:cNvPr>
            <p:cNvSpPr/>
            <p:nvPr/>
          </p:nvSpPr>
          <p:spPr>
            <a:xfrm>
              <a:off x="8530035" y="1349312"/>
              <a:ext cx="212364" cy="212364"/>
            </a:xfrm>
            <a:prstGeom prst="ellipse">
              <a:avLst/>
            </a:prstGeom>
            <a:solidFill>
              <a:schemeClr val="accent5"/>
            </a:solidFill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ot="0" spcFirstLastPara="0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15" name="Arc 14">
              <a:extLst>
                <a:ext uri="{FF2B5EF4-FFF2-40B4-BE49-F238E27FC236}">
                  <a16:creationId xmlns="" xmlns:a16="http://schemas.microsoft.com/office/drawing/2014/main" id="{83A64A2A-0C53-4047-8B19-03F3FE3B04D9}"/>
                </a:ext>
              </a:extLst>
            </p:cNvPr>
            <p:cNvSpPr/>
            <p:nvPr/>
          </p:nvSpPr>
          <p:spPr bwMode="gray">
            <a:xfrm>
              <a:off x="8486575" y="1267966"/>
              <a:ext cx="283644" cy="247796"/>
            </a:xfrm>
            <a:prstGeom prst="arc">
              <a:avLst>
                <a:gd name="adj1" fmla="val 11178900"/>
                <a:gd name="adj2" fmla="val 21075396"/>
              </a:avLst>
            </a:prstGeom>
            <a:ln w="19050" cap="flat">
              <a:solidFill>
                <a:schemeClr val="accent5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100" dirty="0"/>
            </a:p>
          </p:txBody>
        </p:sp>
        <p:sp>
          <p:nvSpPr>
            <p:cNvPr id="16" name="Isosceles Triangle 15">
              <a:extLst>
                <a:ext uri="{FF2B5EF4-FFF2-40B4-BE49-F238E27FC236}">
                  <a16:creationId xmlns="" xmlns:a16="http://schemas.microsoft.com/office/drawing/2014/main" id="{AD34A29D-9581-4661-BAC6-DFB4DF1F5397}"/>
                </a:ext>
              </a:extLst>
            </p:cNvPr>
            <p:cNvSpPr>
              <a:spLocks noChangeAspect="1"/>
            </p:cNvSpPr>
            <p:nvPr/>
          </p:nvSpPr>
          <p:spPr bwMode="gray">
            <a:xfrm rot="9927096">
              <a:off x="8734789" y="1347929"/>
              <a:ext cx="73611" cy="63458"/>
            </a:xfrm>
            <a:prstGeom prst="triangle">
              <a:avLst/>
            </a:prstGeom>
            <a:solidFill>
              <a:schemeClr val="accent5"/>
            </a:solidFill>
            <a:ln w="952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050" dirty="0">
                <a:solidFill>
                  <a:schemeClr val="tx1"/>
                </a:solidFill>
              </a:endParaRPr>
            </a:p>
          </p:txBody>
        </p:sp>
        <p:sp>
          <p:nvSpPr>
            <p:cNvPr id="17" name="Oval 16">
              <a:extLst>
                <a:ext uri="{FF2B5EF4-FFF2-40B4-BE49-F238E27FC236}">
                  <a16:creationId xmlns="" xmlns:a16="http://schemas.microsoft.com/office/drawing/2014/main" id="{BFF74F25-EB5E-4527-8581-0E164F89C80F}"/>
                </a:ext>
              </a:extLst>
            </p:cNvPr>
            <p:cNvSpPr/>
            <p:nvPr/>
          </p:nvSpPr>
          <p:spPr>
            <a:xfrm>
              <a:off x="8611091" y="1243852"/>
              <a:ext cx="50253" cy="50252"/>
            </a:xfrm>
            <a:prstGeom prst="ellipse">
              <a:avLst/>
            </a:prstGeom>
            <a:solidFill>
              <a:schemeClr val="accent5"/>
            </a:solidFill>
            <a:ln w="12700" cap="flat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 b="1" dirty="0">
                <a:solidFill>
                  <a:schemeClr val="bg1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="" xmlns:a16="http://schemas.microsoft.com/office/drawing/2014/main" id="{00A129B6-615D-417E-A5FF-BF0A72E04226}"/>
                </a:ext>
              </a:extLst>
            </p:cNvPr>
            <p:cNvSpPr/>
            <p:nvPr/>
          </p:nvSpPr>
          <p:spPr>
            <a:xfrm>
              <a:off x="8486575" y="1225848"/>
              <a:ext cx="328615" cy="385342"/>
            </a:xfrm>
            <a:prstGeom prst="rect">
              <a:avLst/>
            </a:prstGeom>
            <a:solidFill>
              <a:schemeClr val="bg1">
                <a:alpha val="80000"/>
              </a:schemeClr>
            </a:solidFill>
            <a:ln w="6350" cap="flat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900"/>
                </a:spcBef>
              </a:pPr>
              <a:endParaRPr lang="en-US" sz="140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9" name="Oval 18">
              <a:extLst>
                <a:ext uri="{FF2B5EF4-FFF2-40B4-BE49-F238E27FC236}">
                  <a16:creationId xmlns="" xmlns:a16="http://schemas.microsoft.com/office/drawing/2014/main" id="{3E98A2CE-5146-4C5F-A545-6FDD7370DFB0}"/>
                </a:ext>
              </a:extLst>
            </p:cNvPr>
            <p:cNvSpPr/>
            <p:nvPr/>
          </p:nvSpPr>
          <p:spPr>
            <a:xfrm>
              <a:off x="7921579" y="1349312"/>
              <a:ext cx="212364" cy="212364"/>
            </a:xfrm>
            <a:prstGeom prst="ellipse">
              <a:avLst/>
            </a:prstGeom>
            <a:solidFill>
              <a:schemeClr val="bg2"/>
            </a:solidFill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ot="0" spcFirstLastPara="0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20" name="Arc 19">
              <a:extLst>
                <a:ext uri="{FF2B5EF4-FFF2-40B4-BE49-F238E27FC236}">
                  <a16:creationId xmlns="" xmlns:a16="http://schemas.microsoft.com/office/drawing/2014/main" id="{A0AB8420-2770-4899-AC43-A47624E481BC}"/>
                </a:ext>
              </a:extLst>
            </p:cNvPr>
            <p:cNvSpPr/>
            <p:nvPr/>
          </p:nvSpPr>
          <p:spPr bwMode="gray">
            <a:xfrm>
              <a:off x="7883769" y="1267966"/>
              <a:ext cx="283644" cy="247796"/>
            </a:xfrm>
            <a:prstGeom prst="arc">
              <a:avLst>
                <a:gd name="adj1" fmla="val 11178900"/>
                <a:gd name="adj2" fmla="val 21075396"/>
              </a:avLst>
            </a:prstGeom>
            <a:ln w="19050" cap="flat">
              <a:solidFill>
                <a:schemeClr val="bg2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100" dirty="0"/>
            </a:p>
          </p:txBody>
        </p:sp>
        <p:sp>
          <p:nvSpPr>
            <p:cNvPr id="21" name="Rectangle 20">
              <a:extLst>
                <a:ext uri="{FF2B5EF4-FFF2-40B4-BE49-F238E27FC236}">
                  <a16:creationId xmlns="" xmlns:a16="http://schemas.microsoft.com/office/drawing/2014/main" id="{33C5B095-13E5-455C-9204-B2BD9ABC7DCF}"/>
                </a:ext>
              </a:extLst>
            </p:cNvPr>
            <p:cNvSpPr/>
            <p:nvPr/>
          </p:nvSpPr>
          <p:spPr>
            <a:xfrm>
              <a:off x="7877395" y="1225848"/>
              <a:ext cx="328615" cy="385342"/>
            </a:xfrm>
            <a:prstGeom prst="rect">
              <a:avLst/>
            </a:prstGeom>
            <a:solidFill>
              <a:schemeClr val="bg1">
                <a:alpha val="80000"/>
              </a:schemeClr>
            </a:solidFill>
            <a:ln w="6350" cap="flat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900"/>
                </a:spcBef>
              </a:pPr>
              <a:endParaRPr lang="en-US" sz="140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2" name="Oval 21">
              <a:extLst>
                <a:ext uri="{FF2B5EF4-FFF2-40B4-BE49-F238E27FC236}">
                  <a16:creationId xmlns="" xmlns:a16="http://schemas.microsoft.com/office/drawing/2014/main" id="{22C1417D-C0DF-425F-B1EA-C0A7EC164858}"/>
                </a:ext>
              </a:extLst>
            </p:cNvPr>
            <p:cNvSpPr/>
            <p:nvPr/>
          </p:nvSpPr>
          <p:spPr>
            <a:xfrm>
              <a:off x="8225098" y="1244357"/>
              <a:ext cx="212364" cy="212364"/>
            </a:xfrm>
            <a:prstGeom prst="ellipse">
              <a:avLst/>
            </a:prstGeom>
            <a:solidFill>
              <a:schemeClr val="accent1"/>
            </a:solidFill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ot="0" spcFirstLastPara="0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23" name="Arc 22">
              <a:extLst>
                <a:ext uri="{FF2B5EF4-FFF2-40B4-BE49-F238E27FC236}">
                  <a16:creationId xmlns="" xmlns:a16="http://schemas.microsoft.com/office/drawing/2014/main" id="{6A0208D0-2202-4068-9629-F81575FE5B60}"/>
                </a:ext>
              </a:extLst>
            </p:cNvPr>
            <p:cNvSpPr/>
            <p:nvPr/>
          </p:nvSpPr>
          <p:spPr bwMode="gray">
            <a:xfrm flipV="1">
              <a:off x="8184095" y="1313981"/>
              <a:ext cx="283644" cy="247373"/>
            </a:xfrm>
            <a:prstGeom prst="arc">
              <a:avLst>
                <a:gd name="adj1" fmla="val 11178900"/>
                <a:gd name="adj2" fmla="val 21075396"/>
              </a:avLst>
            </a:prstGeom>
            <a:ln w="19050" cap="flat">
              <a:solidFill>
                <a:schemeClr val="accent1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100" dirty="0"/>
            </a:p>
          </p:txBody>
        </p:sp>
        <p:sp>
          <p:nvSpPr>
            <p:cNvPr id="24" name="Isosceles Triangle 23">
              <a:extLst>
                <a:ext uri="{FF2B5EF4-FFF2-40B4-BE49-F238E27FC236}">
                  <a16:creationId xmlns="" xmlns:a16="http://schemas.microsoft.com/office/drawing/2014/main" id="{401D8938-53A8-4EF6-9FC7-7B0105B2302E}"/>
                </a:ext>
              </a:extLst>
            </p:cNvPr>
            <p:cNvSpPr>
              <a:spLocks noChangeAspect="1"/>
            </p:cNvSpPr>
            <p:nvPr/>
          </p:nvSpPr>
          <p:spPr bwMode="gray">
            <a:xfrm rot="11672904" flipV="1">
              <a:off x="8432310" y="1418179"/>
              <a:ext cx="73611" cy="63349"/>
            </a:xfrm>
            <a:prstGeom prst="triangle">
              <a:avLst/>
            </a:prstGeom>
            <a:solidFill>
              <a:schemeClr val="accent1"/>
            </a:solidFill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050" dirty="0">
                <a:solidFill>
                  <a:schemeClr val="tx1"/>
                </a:solidFill>
              </a:endParaRPr>
            </a:p>
          </p:txBody>
        </p:sp>
        <p:sp>
          <p:nvSpPr>
            <p:cNvPr id="25" name="Oval 24">
              <a:extLst>
                <a:ext uri="{FF2B5EF4-FFF2-40B4-BE49-F238E27FC236}">
                  <a16:creationId xmlns="" xmlns:a16="http://schemas.microsoft.com/office/drawing/2014/main" id="{98170558-834B-4009-B86E-FFC6DBC68739}"/>
                </a:ext>
              </a:extLst>
            </p:cNvPr>
            <p:cNvSpPr/>
            <p:nvPr/>
          </p:nvSpPr>
          <p:spPr>
            <a:xfrm>
              <a:off x="8306154" y="1537095"/>
              <a:ext cx="50253" cy="50252"/>
            </a:xfrm>
            <a:prstGeom prst="ellipse">
              <a:avLst/>
            </a:prstGeom>
            <a:solidFill>
              <a:schemeClr val="accent1"/>
            </a:solidFill>
            <a:ln w="12700" cap="flat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 b="1" dirty="0">
                <a:solidFill>
                  <a:schemeClr val="bg1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</p:grpSp>
      <p:sp>
        <p:nvSpPr>
          <p:cNvPr id="26" name="Rectangle 25">
            <a:extLst>
              <a:ext uri="{FF2B5EF4-FFF2-40B4-BE49-F238E27FC236}">
                <a16:creationId xmlns="" xmlns:a16="http://schemas.microsoft.com/office/drawing/2014/main" id="{989D1721-CDCB-42F5-A444-57C8AA72ACBC}"/>
              </a:ext>
            </a:extLst>
          </p:cNvPr>
          <p:cNvSpPr/>
          <p:nvPr/>
        </p:nvSpPr>
        <p:spPr>
          <a:xfrm>
            <a:off x="244800" y="2057400"/>
            <a:ext cx="8648375" cy="4287838"/>
          </a:xfrm>
          <a:prstGeom prst="rect">
            <a:avLst/>
          </a:prstGeom>
          <a:noFill/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SzPct val="100000"/>
            </a:pPr>
            <a:r>
              <a:rPr lang="en-US" sz="1200" b="1" dirty="0" smtClean="0">
                <a:solidFill>
                  <a:schemeClr val="tx1"/>
                </a:solidFill>
                <a:cs typeface="Arial" pitchFamily="34" charset="0"/>
              </a:rPr>
              <a:t>Inferential Statistics - Confidence </a:t>
            </a:r>
            <a:r>
              <a:rPr lang="en-US" sz="1200" b="1" dirty="0">
                <a:solidFill>
                  <a:schemeClr val="tx1"/>
                </a:solidFill>
                <a:cs typeface="Arial" pitchFamily="34" charset="0"/>
              </a:rPr>
              <a:t>Intervals </a:t>
            </a:r>
          </a:p>
          <a:p>
            <a:pPr marL="97212" indent="-97212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1200" i="1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Formulate an accurate characterization of the whole dataset population</a:t>
            </a:r>
          </a:p>
          <a:p>
            <a:pPr marL="97212" indent="-97212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12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Population </a:t>
            </a:r>
            <a:r>
              <a:rPr lang="en-US" sz="1200" dirty="0">
                <a:solidFill>
                  <a:schemeClr val="tx1"/>
                </a:solidFill>
                <a:latin typeface="+mj-lt"/>
                <a:cs typeface="Arial" pitchFamily="34" charset="0"/>
              </a:rPr>
              <a:t>Mean </a:t>
            </a:r>
            <a:r>
              <a:rPr lang="en-US" sz="1200" b="1" dirty="0">
                <a:solidFill>
                  <a:schemeClr val="tx1"/>
                </a:solidFill>
                <a:latin typeface="+mj-lt"/>
                <a:cs typeface="Arial" pitchFamily="34" charset="0"/>
              </a:rPr>
              <a:t>Age</a:t>
            </a:r>
            <a:r>
              <a:rPr lang="en-US" sz="1200" dirty="0">
                <a:solidFill>
                  <a:schemeClr val="tx1"/>
                </a:solidFill>
                <a:latin typeface="+mj-lt"/>
                <a:cs typeface="Arial" pitchFamily="34" charset="0"/>
              </a:rPr>
              <a:t> with </a:t>
            </a:r>
            <a:r>
              <a:rPr lang="en-US" sz="1200" b="1" dirty="0">
                <a:solidFill>
                  <a:schemeClr val="tx1"/>
                </a:solidFill>
                <a:latin typeface="+mj-lt"/>
                <a:cs typeface="Arial" pitchFamily="34" charset="0"/>
              </a:rPr>
              <a:t>95% confidence</a:t>
            </a:r>
            <a:r>
              <a:rPr lang="en-US" sz="1200" dirty="0">
                <a:solidFill>
                  <a:schemeClr val="tx1"/>
                </a:solidFill>
                <a:latin typeface="+mj-lt"/>
                <a:cs typeface="Arial" pitchFamily="34" charset="0"/>
              </a:rPr>
              <a:t>, using T-distribution, is </a:t>
            </a:r>
            <a:r>
              <a:rPr lang="en-US" sz="1200" b="1" dirty="0">
                <a:solidFill>
                  <a:schemeClr val="tx1"/>
                </a:solidFill>
                <a:latin typeface="+mj-lt"/>
                <a:cs typeface="Arial" pitchFamily="34" charset="0"/>
              </a:rPr>
              <a:t>[ 39.4 , 39.8 ]</a:t>
            </a:r>
          </a:p>
          <a:p>
            <a:pPr marL="97212" indent="-97212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  <a:cs typeface="Arial" pitchFamily="34" charset="0"/>
              </a:rPr>
              <a:t>Percentage of population that are </a:t>
            </a:r>
            <a:r>
              <a:rPr lang="en-US" sz="1200" b="1" dirty="0">
                <a:solidFill>
                  <a:schemeClr val="tx1"/>
                </a:solidFill>
                <a:cs typeface="Arial" pitchFamily="34" charset="0"/>
              </a:rPr>
              <a:t>Male</a:t>
            </a:r>
            <a:r>
              <a:rPr lang="en-US" sz="1200" dirty="0">
                <a:solidFill>
                  <a:schemeClr val="tx1"/>
                </a:solidFill>
                <a:cs typeface="Arial" pitchFamily="34" charset="0"/>
              </a:rPr>
              <a:t>, with </a:t>
            </a:r>
            <a:r>
              <a:rPr lang="en-US" sz="1200" b="1" dirty="0">
                <a:solidFill>
                  <a:schemeClr val="tx1"/>
                </a:solidFill>
                <a:cs typeface="Arial" pitchFamily="34" charset="0"/>
              </a:rPr>
              <a:t>95% confidence</a:t>
            </a:r>
            <a:r>
              <a:rPr lang="en-US" sz="1200" dirty="0">
                <a:solidFill>
                  <a:schemeClr val="tx1"/>
                </a:solidFill>
                <a:cs typeface="Arial" pitchFamily="34" charset="0"/>
              </a:rPr>
              <a:t>, is </a:t>
            </a:r>
            <a:r>
              <a:rPr lang="en-US" sz="1200" b="1" dirty="0">
                <a:solidFill>
                  <a:schemeClr val="tx1"/>
                </a:solidFill>
                <a:cs typeface="Arial" pitchFamily="34" charset="0"/>
              </a:rPr>
              <a:t>[48.7% , 49.92%</a:t>
            </a:r>
            <a:r>
              <a:rPr lang="en-US" sz="1200" b="1" dirty="0" smtClean="0">
                <a:solidFill>
                  <a:schemeClr val="tx1"/>
                </a:solidFill>
                <a:cs typeface="Arial" pitchFamily="34" charset="0"/>
              </a:rPr>
              <a:t>]</a:t>
            </a:r>
            <a:endParaRPr lang="en-US" sz="1200" dirty="0" smtClean="0">
              <a:solidFill>
                <a:schemeClr val="tx1"/>
              </a:solidFill>
              <a:latin typeface="+mj-lt"/>
              <a:cs typeface="Arial" pitchFamily="34" charset="0"/>
            </a:endParaRPr>
          </a:p>
          <a:p>
            <a:pPr marL="97212" indent="-97212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  <a:cs typeface="Arial" pitchFamily="34" charset="0"/>
              </a:rPr>
              <a:t>Percentage of population that go for </a:t>
            </a:r>
            <a:r>
              <a:rPr lang="en-US" sz="1200" b="1" dirty="0">
                <a:solidFill>
                  <a:schemeClr val="tx1"/>
                </a:solidFill>
                <a:cs typeface="Arial" pitchFamily="34" charset="0"/>
              </a:rPr>
              <a:t>Personal Travel</a:t>
            </a:r>
            <a:r>
              <a:rPr lang="en-US" sz="1200" dirty="0">
                <a:solidFill>
                  <a:schemeClr val="tx1"/>
                </a:solidFill>
                <a:cs typeface="Arial" pitchFamily="34" charset="0"/>
              </a:rPr>
              <a:t>, </a:t>
            </a:r>
            <a:r>
              <a:rPr lang="en-US" sz="1200" b="1" dirty="0">
                <a:solidFill>
                  <a:schemeClr val="tx1"/>
                </a:solidFill>
                <a:cs typeface="Arial" pitchFamily="34" charset="0"/>
              </a:rPr>
              <a:t>with 95% confidence</a:t>
            </a:r>
            <a:r>
              <a:rPr lang="en-US" sz="1200" dirty="0">
                <a:solidFill>
                  <a:schemeClr val="tx1"/>
                </a:solidFill>
                <a:cs typeface="Arial" pitchFamily="34" charset="0"/>
              </a:rPr>
              <a:t>, is </a:t>
            </a:r>
            <a:r>
              <a:rPr lang="en-US" sz="1200" b="1" dirty="0">
                <a:solidFill>
                  <a:schemeClr val="tx1"/>
                </a:solidFill>
                <a:cs typeface="Arial" pitchFamily="34" charset="0"/>
              </a:rPr>
              <a:t>[30.01% , 31.14%</a:t>
            </a:r>
            <a:r>
              <a:rPr lang="en-US" sz="1200" b="1" dirty="0" smtClean="0">
                <a:solidFill>
                  <a:schemeClr val="tx1"/>
                </a:solidFill>
                <a:cs typeface="Arial" pitchFamily="34" charset="0"/>
              </a:rPr>
              <a:t>]</a:t>
            </a:r>
            <a:endParaRPr lang="en-US" sz="1200" dirty="0" smtClean="0">
              <a:solidFill>
                <a:schemeClr val="tx1"/>
              </a:solidFill>
              <a:latin typeface="+mj-lt"/>
              <a:cs typeface="Arial" pitchFamily="34" charset="0"/>
            </a:endParaRPr>
          </a:p>
          <a:p>
            <a:pPr marL="97212" indent="-97212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12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Percentage </a:t>
            </a:r>
            <a:r>
              <a:rPr lang="en-US" sz="1200" dirty="0">
                <a:solidFill>
                  <a:schemeClr val="tx1"/>
                </a:solidFill>
                <a:latin typeface="+mj-lt"/>
                <a:cs typeface="Arial" pitchFamily="34" charset="0"/>
              </a:rPr>
              <a:t>of population that are </a:t>
            </a:r>
            <a:r>
              <a:rPr lang="en-US" sz="1200" b="1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Loyal </a:t>
            </a:r>
            <a:r>
              <a:rPr lang="en-US" sz="1200" b="1" dirty="0">
                <a:solidFill>
                  <a:schemeClr val="tx1"/>
                </a:solidFill>
                <a:latin typeface="+mj-lt"/>
                <a:cs typeface="Arial" pitchFamily="34" charset="0"/>
              </a:rPr>
              <a:t>M</a:t>
            </a:r>
            <a:r>
              <a:rPr lang="en-US" sz="1200" b="1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embers</a:t>
            </a:r>
            <a:r>
              <a:rPr lang="en-US" sz="1200" dirty="0">
                <a:solidFill>
                  <a:schemeClr val="tx1"/>
                </a:solidFill>
                <a:latin typeface="+mj-lt"/>
                <a:cs typeface="Arial" pitchFamily="34" charset="0"/>
              </a:rPr>
              <a:t>, with </a:t>
            </a:r>
            <a:r>
              <a:rPr lang="en-US" sz="1200" b="1" dirty="0">
                <a:solidFill>
                  <a:schemeClr val="tx1"/>
                </a:solidFill>
                <a:latin typeface="+mj-lt"/>
                <a:cs typeface="Arial" pitchFamily="34" charset="0"/>
              </a:rPr>
              <a:t>95% confidence</a:t>
            </a:r>
            <a:r>
              <a:rPr lang="en-US" sz="1200" dirty="0">
                <a:solidFill>
                  <a:schemeClr val="tx1"/>
                </a:solidFill>
                <a:latin typeface="+mj-lt"/>
                <a:cs typeface="Arial" pitchFamily="34" charset="0"/>
              </a:rPr>
              <a:t>, is </a:t>
            </a:r>
            <a:r>
              <a:rPr lang="en-US" sz="1200" b="1" dirty="0">
                <a:solidFill>
                  <a:schemeClr val="tx1"/>
                </a:solidFill>
                <a:latin typeface="+mj-lt"/>
                <a:cs typeface="Arial" pitchFamily="34" charset="0"/>
              </a:rPr>
              <a:t>[81.05%, 82%</a:t>
            </a:r>
            <a:r>
              <a:rPr lang="en-US" sz="1200" b="1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]</a:t>
            </a:r>
            <a:endParaRPr lang="en-US" sz="1200" b="1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="" xmlns:a16="http://schemas.microsoft.com/office/drawing/2014/main" id="{2832E03E-F765-40BC-B4B0-100CD3553C3E}"/>
              </a:ext>
            </a:extLst>
          </p:cNvPr>
          <p:cNvSpPr txBox="1"/>
          <p:nvPr/>
        </p:nvSpPr>
        <p:spPr>
          <a:xfrm>
            <a:off x="244474" y="1628140"/>
            <a:ext cx="6840220" cy="249299"/>
          </a:xfrm>
          <a:prstGeom prst="rect">
            <a:avLst/>
          </a:prstGeom>
          <a:noFill/>
          <a:ln w="6350" cap="flat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A5FFFF"/>
                </a:solidFill>
              </a14:hiddenFill>
            </a:ext>
          </a:extLst>
        </p:spPr>
        <p:txBody>
          <a:bodyPr vert="horz" wrap="square" lIns="365760" tIns="0" rIns="0" bIns="0" rtlCol="0" anchor="t" anchorCtr="0">
            <a:sp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2"/>
              </a:buClr>
            </a:pP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Data Exploration &amp; Analysis</a:t>
            </a:r>
          </a:p>
        </p:txBody>
      </p:sp>
      <p:sp>
        <p:nvSpPr>
          <p:cNvPr id="30" name="Oval 29">
            <a:extLst>
              <a:ext uri="{FF2B5EF4-FFF2-40B4-BE49-F238E27FC236}">
                <a16:creationId xmlns="" xmlns:a16="http://schemas.microsoft.com/office/drawing/2014/main" id="{DC48E21B-E7CF-4857-8EC3-34B8AB7CC034}"/>
              </a:ext>
            </a:extLst>
          </p:cNvPr>
          <p:cNvSpPr/>
          <p:nvPr/>
        </p:nvSpPr>
        <p:spPr>
          <a:xfrm>
            <a:off x="246380" y="1600200"/>
            <a:ext cx="279400" cy="279400"/>
          </a:xfrm>
          <a:prstGeom prst="ellipse">
            <a:avLst/>
          </a:prstGeom>
          <a:solidFill>
            <a:schemeClr val="accent1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1600" b="1" dirty="0">
                <a:solidFill>
                  <a:schemeClr val="bg1"/>
                </a:solidFill>
                <a:latin typeface="Arial" panose="020B0604020202020204" pitchFamily="34" charset="0"/>
                <a:cs typeface="Arial" pitchFamily="34" charset="0"/>
              </a:rPr>
              <a:t>3</a:t>
            </a:r>
          </a:p>
        </p:txBody>
      </p:sp>
      <p:grpSp>
        <p:nvGrpSpPr>
          <p:cNvPr id="368" name="Google Shape;969;p43">
            <a:extLst>
              <a:ext uri="{FF2B5EF4-FFF2-40B4-BE49-F238E27FC236}">
                <a16:creationId xmlns="" xmlns:a16="http://schemas.microsoft.com/office/drawing/2014/main" id="{00BE0E9E-105F-42E7-BECF-AFA20FE4F109}"/>
              </a:ext>
            </a:extLst>
          </p:cNvPr>
          <p:cNvGrpSpPr/>
          <p:nvPr/>
        </p:nvGrpSpPr>
        <p:grpSpPr>
          <a:xfrm>
            <a:off x="4383327" y="4065324"/>
            <a:ext cx="4512995" cy="2712048"/>
            <a:chOff x="3512825" y="0"/>
            <a:chExt cx="7141465" cy="4291605"/>
          </a:xfrm>
        </p:grpSpPr>
        <p:sp>
          <p:nvSpPr>
            <p:cNvPr id="369" name="Google Shape;970;p43">
              <a:extLst>
                <a:ext uri="{FF2B5EF4-FFF2-40B4-BE49-F238E27FC236}">
                  <a16:creationId xmlns="" xmlns:a16="http://schemas.microsoft.com/office/drawing/2014/main" id="{2BF9A234-4EA8-4944-B81F-C695F19E46E2}"/>
                </a:ext>
              </a:extLst>
            </p:cNvPr>
            <p:cNvSpPr/>
            <p:nvPr/>
          </p:nvSpPr>
          <p:spPr>
            <a:xfrm>
              <a:off x="3928750" y="65950"/>
              <a:ext cx="5419133" cy="4225655"/>
            </a:xfrm>
            <a:custGeom>
              <a:avLst/>
              <a:gdLst/>
              <a:ahLst/>
              <a:cxnLst/>
              <a:rect l="l" t="t" r="r" b="b"/>
              <a:pathLst>
                <a:path w="68236" h="57036" extrusionOk="0">
                  <a:moveTo>
                    <a:pt x="43484" y="0"/>
                  </a:moveTo>
                  <a:cubicBezTo>
                    <a:pt x="42409" y="0"/>
                    <a:pt x="41298" y="75"/>
                    <a:pt x="40151" y="233"/>
                  </a:cubicBezTo>
                  <a:cubicBezTo>
                    <a:pt x="28284" y="1867"/>
                    <a:pt x="27156" y="9955"/>
                    <a:pt x="14048" y="13005"/>
                  </a:cubicBezTo>
                  <a:cubicBezTo>
                    <a:pt x="2745" y="15632"/>
                    <a:pt x="0" y="22498"/>
                    <a:pt x="0" y="30686"/>
                  </a:cubicBezTo>
                  <a:cubicBezTo>
                    <a:pt x="0" y="41019"/>
                    <a:pt x="9358" y="49395"/>
                    <a:pt x="20902" y="49395"/>
                  </a:cubicBezTo>
                  <a:cubicBezTo>
                    <a:pt x="21519" y="49395"/>
                    <a:pt x="22136" y="49371"/>
                    <a:pt x="22741" y="49324"/>
                  </a:cubicBezTo>
                  <a:cubicBezTo>
                    <a:pt x="23189" y="49289"/>
                    <a:pt x="23636" y="49272"/>
                    <a:pt x="24082" y="49272"/>
                  </a:cubicBezTo>
                  <a:cubicBezTo>
                    <a:pt x="27919" y="49272"/>
                    <a:pt x="31648" y="50549"/>
                    <a:pt x="34750" y="52851"/>
                  </a:cubicBezTo>
                  <a:cubicBezTo>
                    <a:pt x="38276" y="55472"/>
                    <a:pt x="42732" y="57036"/>
                    <a:pt x="47587" y="57036"/>
                  </a:cubicBezTo>
                  <a:cubicBezTo>
                    <a:pt x="58990" y="57036"/>
                    <a:pt x="68236" y="48395"/>
                    <a:pt x="68236" y="37739"/>
                  </a:cubicBezTo>
                  <a:cubicBezTo>
                    <a:pt x="68236" y="34588"/>
                    <a:pt x="67419" y="31497"/>
                    <a:pt x="65867" y="28758"/>
                  </a:cubicBezTo>
                  <a:cubicBezTo>
                    <a:pt x="64215" y="25825"/>
                    <a:pt x="63463" y="22486"/>
                    <a:pt x="63545" y="19118"/>
                  </a:cubicBezTo>
                  <a:cubicBezTo>
                    <a:pt x="63545" y="19012"/>
                    <a:pt x="63551" y="18906"/>
                    <a:pt x="63551" y="18801"/>
                  </a:cubicBezTo>
                  <a:cubicBezTo>
                    <a:pt x="63551" y="10136"/>
                    <a:pt x="55981" y="0"/>
                    <a:pt x="43484" y="0"/>
                  </a:cubicBezTo>
                  <a:close/>
                </a:path>
              </a:pathLst>
            </a:custGeom>
            <a:solidFill>
              <a:srgbClr val="87B7FF">
                <a:alpha val="4134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/>
                <a:sym typeface="Arial"/>
              </a:endParaRPr>
            </a:p>
          </p:txBody>
        </p:sp>
        <p:sp>
          <p:nvSpPr>
            <p:cNvPr id="370" name="Google Shape;971;p43">
              <a:extLst>
                <a:ext uri="{FF2B5EF4-FFF2-40B4-BE49-F238E27FC236}">
                  <a16:creationId xmlns="" xmlns:a16="http://schemas.microsoft.com/office/drawing/2014/main" id="{8F672283-5786-4B50-929E-5AC985204C62}"/>
                </a:ext>
              </a:extLst>
            </p:cNvPr>
            <p:cNvSpPr/>
            <p:nvPr/>
          </p:nvSpPr>
          <p:spPr>
            <a:xfrm>
              <a:off x="7039336" y="2911948"/>
              <a:ext cx="77125" cy="243970"/>
            </a:xfrm>
            <a:custGeom>
              <a:avLst/>
              <a:gdLst/>
              <a:ahLst/>
              <a:cxnLst/>
              <a:rect l="l" t="t" r="r" b="b"/>
              <a:pathLst>
                <a:path w="1041" h="3293" extrusionOk="0">
                  <a:moveTo>
                    <a:pt x="0" y="1"/>
                  </a:moveTo>
                  <a:lnTo>
                    <a:pt x="0" y="3292"/>
                  </a:lnTo>
                  <a:lnTo>
                    <a:pt x="1041" y="3292"/>
                  </a:lnTo>
                  <a:lnTo>
                    <a:pt x="1041" y="1"/>
                  </a:lnTo>
                  <a:close/>
                </a:path>
              </a:pathLst>
            </a:custGeom>
            <a:solidFill>
              <a:srgbClr val="4A6CB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/>
                <a:sym typeface="Arial"/>
              </a:endParaRPr>
            </a:p>
          </p:txBody>
        </p:sp>
        <p:sp>
          <p:nvSpPr>
            <p:cNvPr id="371" name="Google Shape;972;p43">
              <a:extLst>
                <a:ext uri="{FF2B5EF4-FFF2-40B4-BE49-F238E27FC236}">
                  <a16:creationId xmlns="" xmlns:a16="http://schemas.microsoft.com/office/drawing/2014/main" id="{D7D6A734-FC8E-47E4-972E-BCF391769508}"/>
                </a:ext>
              </a:extLst>
            </p:cNvPr>
            <p:cNvSpPr/>
            <p:nvPr/>
          </p:nvSpPr>
          <p:spPr>
            <a:xfrm>
              <a:off x="6907830" y="3141472"/>
              <a:ext cx="340136" cy="58011"/>
            </a:xfrm>
            <a:custGeom>
              <a:avLst/>
              <a:gdLst/>
              <a:ahLst/>
              <a:cxnLst/>
              <a:rect l="l" t="t" r="r" b="b"/>
              <a:pathLst>
                <a:path w="4591" h="783" extrusionOk="0">
                  <a:moveTo>
                    <a:pt x="0" y="0"/>
                  </a:moveTo>
                  <a:lnTo>
                    <a:pt x="0" y="782"/>
                  </a:lnTo>
                  <a:lnTo>
                    <a:pt x="4591" y="782"/>
                  </a:lnTo>
                  <a:lnTo>
                    <a:pt x="4591" y="0"/>
                  </a:lnTo>
                  <a:close/>
                </a:path>
              </a:pathLst>
            </a:custGeom>
            <a:solidFill>
              <a:srgbClr val="4A6CB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/>
                <a:sym typeface="Arial"/>
              </a:endParaRPr>
            </a:p>
          </p:txBody>
        </p:sp>
        <p:sp>
          <p:nvSpPr>
            <p:cNvPr id="372" name="Google Shape;973;p43">
              <a:extLst>
                <a:ext uri="{FF2B5EF4-FFF2-40B4-BE49-F238E27FC236}">
                  <a16:creationId xmlns="" xmlns:a16="http://schemas.microsoft.com/office/drawing/2014/main" id="{A240AC79-0E48-4969-A2AC-160D4F943B9F}"/>
                </a:ext>
              </a:extLst>
            </p:cNvPr>
            <p:cNvSpPr/>
            <p:nvPr/>
          </p:nvSpPr>
          <p:spPr>
            <a:xfrm>
              <a:off x="6768471" y="2996926"/>
              <a:ext cx="172920" cy="346211"/>
            </a:xfrm>
            <a:custGeom>
              <a:avLst/>
              <a:gdLst/>
              <a:ahLst/>
              <a:cxnLst/>
              <a:rect l="l" t="t" r="r" b="b"/>
              <a:pathLst>
                <a:path w="2334" h="4673" extrusionOk="0">
                  <a:moveTo>
                    <a:pt x="441" y="0"/>
                  </a:moveTo>
                  <a:cubicBezTo>
                    <a:pt x="194" y="0"/>
                    <a:pt x="0" y="200"/>
                    <a:pt x="0" y="441"/>
                  </a:cubicBezTo>
                  <a:lnTo>
                    <a:pt x="0" y="4232"/>
                  </a:lnTo>
                  <a:cubicBezTo>
                    <a:pt x="0" y="4479"/>
                    <a:pt x="194" y="4673"/>
                    <a:pt x="441" y="4673"/>
                  </a:cubicBezTo>
                  <a:lnTo>
                    <a:pt x="1893" y="4673"/>
                  </a:lnTo>
                  <a:cubicBezTo>
                    <a:pt x="2140" y="4673"/>
                    <a:pt x="2334" y="4479"/>
                    <a:pt x="2334" y="4232"/>
                  </a:cubicBezTo>
                  <a:lnTo>
                    <a:pt x="2334" y="441"/>
                  </a:lnTo>
                  <a:cubicBezTo>
                    <a:pt x="2334" y="200"/>
                    <a:pt x="2140" y="0"/>
                    <a:pt x="1893" y="0"/>
                  </a:cubicBezTo>
                  <a:close/>
                </a:path>
              </a:pathLst>
            </a:custGeom>
            <a:solidFill>
              <a:srgbClr val="4A6CB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/>
                <a:sym typeface="Arial"/>
              </a:endParaRPr>
            </a:p>
          </p:txBody>
        </p:sp>
        <p:sp>
          <p:nvSpPr>
            <p:cNvPr id="373" name="Google Shape;974;p43">
              <a:extLst>
                <a:ext uri="{FF2B5EF4-FFF2-40B4-BE49-F238E27FC236}">
                  <a16:creationId xmlns="" xmlns:a16="http://schemas.microsoft.com/office/drawing/2014/main" id="{7393812D-1427-4888-A371-A6FB10F9A464}"/>
                </a:ext>
              </a:extLst>
            </p:cNvPr>
            <p:cNvSpPr/>
            <p:nvPr/>
          </p:nvSpPr>
          <p:spPr>
            <a:xfrm>
              <a:off x="7214406" y="2997297"/>
              <a:ext cx="172920" cy="345840"/>
            </a:xfrm>
            <a:custGeom>
              <a:avLst/>
              <a:gdLst/>
              <a:ahLst/>
              <a:cxnLst/>
              <a:rect l="l" t="t" r="r" b="b"/>
              <a:pathLst>
                <a:path w="2334" h="4668" extrusionOk="0">
                  <a:moveTo>
                    <a:pt x="441" y="1"/>
                  </a:moveTo>
                  <a:cubicBezTo>
                    <a:pt x="194" y="1"/>
                    <a:pt x="0" y="201"/>
                    <a:pt x="0" y="442"/>
                  </a:cubicBezTo>
                  <a:lnTo>
                    <a:pt x="0" y="4233"/>
                  </a:lnTo>
                  <a:cubicBezTo>
                    <a:pt x="0" y="4474"/>
                    <a:pt x="194" y="4668"/>
                    <a:pt x="441" y="4668"/>
                  </a:cubicBezTo>
                  <a:lnTo>
                    <a:pt x="1893" y="4668"/>
                  </a:lnTo>
                  <a:cubicBezTo>
                    <a:pt x="2134" y="4668"/>
                    <a:pt x="2334" y="4474"/>
                    <a:pt x="2334" y="4233"/>
                  </a:cubicBezTo>
                  <a:lnTo>
                    <a:pt x="2334" y="442"/>
                  </a:lnTo>
                  <a:cubicBezTo>
                    <a:pt x="2334" y="201"/>
                    <a:pt x="2134" y="1"/>
                    <a:pt x="1893" y="1"/>
                  </a:cubicBezTo>
                  <a:close/>
                </a:path>
              </a:pathLst>
            </a:custGeom>
            <a:solidFill>
              <a:srgbClr val="4A6CB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/>
                <a:sym typeface="Arial"/>
              </a:endParaRPr>
            </a:p>
          </p:txBody>
        </p:sp>
        <p:sp>
          <p:nvSpPr>
            <p:cNvPr id="374" name="Google Shape;975;p43">
              <a:extLst>
                <a:ext uri="{FF2B5EF4-FFF2-40B4-BE49-F238E27FC236}">
                  <a16:creationId xmlns="" xmlns:a16="http://schemas.microsoft.com/office/drawing/2014/main" id="{01EB15F9-DDCA-49DD-B6E5-63B9421CC2CF}"/>
                </a:ext>
              </a:extLst>
            </p:cNvPr>
            <p:cNvSpPr/>
            <p:nvPr/>
          </p:nvSpPr>
          <p:spPr>
            <a:xfrm>
              <a:off x="7619815" y="1959178"/>
              <a:ext cx="3034476" cy="689829"/>
            </a:xfrm>
            <a:custGeom>
              <a:avLst/>
              <a:gdLst/>
              <a:ahLst/>
              <a:cxnLst/>
              <a:rect l="l" t="t" r="r" b="b"/>
              <a:pathLst>
                <a:path w="40958" h="9311" extrusionOk="0">
                  <a:moveTo>
                    <a:pt x="3751" y="0"/>
                  </a:moveTo>
                  <a:lnTo>
                    <a:pt x="2363" y="3450"/>
                  </a:lnTo>
                  <a:lnTo>
                    <a:pt x="0" y="9311"/>
                  </a:lnTo>
                  <a:cubicBezTo>
                    <a:pt x="0" y="9311"/>
                    <a:pt x="40957" y="4121"/>
                    <a:pt x="40892" y="3797"/>
                  </a:cubicBezTo>
                  <a:lnTo>
                    <a:pt x="40892" y="3791"/>
                  </a:lnTo>
                  <a:cubicBezTo>
                    <a:pt x="40863" y="3668"/>
                    <a:pt x="40822" y="3545"/>
                    <a:pt x="40781" y="3427"/>
                  </a:cubicBezTo>
                  <a:cubicBezTo>
                    <a:pt x="40599" y="2957"/>
                    <a:pt x="40222" y="2298"/>
                    <a:pt x="39588" y="2298"/>
                  </a:cubicBezTo>
                  <a:cubicBezTo>
                    <a:pt x="38741" y="2298"/>
                    <a:pt x="3751" y="0"/>
                    <a:pt x="3751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/>
                <a:sym typeface="Arial"/>
              </a:endParaRPr>
            </a:p>
          </p:txBody>
        </p:sp>
        <p:sp>
          <p:nvSpPr>
            <p:cNvPr id="375" name="Google Shape;976;p43">
              <a:extLst>
                <a:ext uri="{FF2B5EF4-FFF2-40B4-BE49-F238E27FC236}">
                  <a16:creationId xmlns="" xmlns:a16="http://schemas.microsoft.com/office/drawing/2014/main" id="{83C85D79-28CF-43E5-87EA-3B00FAB18980}"/>
                </a:ext>
              </a:extLst>
            </p:cNvPr>
            <p:cNvSpPr/>
            <p:nvPr/>
          </p:nvSpPr>
          <p:spPr>
            <a:xfrm>
              <a:off x="7619815" y="2148325"/>
              <a:ext cx="3034476" cy="500683"/>
            </a:xfrm>
            <a:custGeom>
              <a:avLst/>
              <a:gdLst/>
              <a:ahLst/>
              <a:cxnLst/>
              <a:rect l="l" t="t" r="r" b="b"/>
              <a:pathLst>
                <a:path w="40958" h="6758" extrusionOk="0">
                  <a:moveTo>
                    <a:pt x="39600" y="0"/>
                  </a:moveTo>
                  <a:cubicBezTo>
                    <a:pt x="39571" y="0"/>
                    <a:pt x="39541" y="1"/>
                    <a:pt x="39511" y="4"/>
                  </a:cubicBezTo>
                  <a:cubicBezTo>
                    <a:pt x="38712" y="75"/>
                    <a:pt x="9528" y="733"/>
                    <a:pt x="2363" y="897"/>
                  </a:cubicBezTo>
                  <a:lnTo>
                    <a:pt x="0" y="6758"/>
                  </a:lnTo>
                  <a:cubicBezTo>
                    <a:pt x="0" y="6758"/>
                    <a:pt x="40957" y="1568"/>
                    <a:pt x="40892" y="1244"/>
                  </a:cubicBezTo>
                  <a:lnTo>
                    <a:pt x="40892" y="1238"/>
                  </a:lnTo>
                  <a:cubicBezTo>
                    <a:pt x="40863" y="1115"/>
                    <a:pt x="40822" y="992"/>
                    <a:pt x="40781" y="874"/>
                  </a:cubicBezTo>
                  <a:cubicBezTo>
                    <a:pt x="40530" y="450"/>
                    <a:pt x="40136" y="0"/>
                    <a:pt x="39600" y="0"/>
                  </a:cubicBezTo>
                  <a:close/>
                </a:path>
              </a:pathLst>
            </a:custGeom>
            <a:solidFill>
              <a:srgbClr val="EEEEE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/>
                <a:sym typeface="Arial"/>
              </a:endParaRPr>
            </a:p>
          </p:txBody>
        </p:sp>
        <p:sp>
          <p:nvSpPr>
            <p:cNvPr id="376" name="Google Shape;977;p43">
              <a:extLst>
                <a:ext uri="{FF2B5EF4-FFF2-40B4-BE49-F238E27FC236}">
                  <a16:creationId xmlns="" xmlns:a16="http://schemas.microsoft.com/office/drawing/2014/main" id="{A23C1812-A2A1-469B-9ABD-420B9C3FF3AF}"/>
                </a:ext>
              </a:extLst>
            </p:cNvPr>
            <p:cNvSpPr/>
            <p:nvPr/>
          </p:nvSpPr>
          <p:spPr>
            <a:xfrm>
              <a:off x="8817817" y="2129432"/>
              <a:ext cx="983363" cy="946171"/>
            </a:xfrm>
            <a:custGeom>
              <a:avLst/>
              <a:gdLst/>
              <a:ahLst/>
              <a:cxnLst/>
              <a:rect l="l" t="t" r="r" b="b"/>
              <a:pathLst>
                <a:path w="13273" h="12771" extrusionOk="0">
                  <a:moveTo>
                    <a:pt x="6889" y="0"/>
                  </a:moveTo>
                  <a:cubicBezTo>
                    <a:pt x="4309" y="0"/>
                    <a:pt x="1975" y="1552"/>
                    <a:pt x="988" y="3939"/>
                  </a:cubicBezTo>
                  <a:cubicBezTo>
                    <a:pt x="0" y="6325"/>
                    <a:pt x="547" y="9070"/>
                    <a:pt x="2375" y="10898"/>
                  </a:cubicBezTo>
                  <a:cubicBezTo>
                    <a:pt x="3598" y="12121"/>
                    <a:pt x="5232" y="12771"/>
                    <a:pt x="6894" y="12771"/>
                  </a:cubicBezTo>
                  <a:cubicBezTo>
                    <a:pt x="7716" y="12771"/>
                    <a:pt x="8545" y="12612"/>
                    <a:pt x="9334" y="12285"/>
                  </a:cubicBezTo>
                  <a:cubicBezTo>
                    <a:pt x="11721" y="11298"/>
                    <a:pt x="13272" y="8964"/>
                    <a:pt x="13272" y="6384"/>
                  </a:cubicBezTo>
                  <a:cubicBezTo>
                    <a:pt x="13272" y="2857"/>
                    <a:pt x="10416" y="0"/>
                    <a:pt x="6889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/>
                <a:sym typeface="Arial"/>
              </a:endParaRPr>
            </a:p>
          </p:txBody>
        </p:sp>
        <p:sp>
          <p:nvSpPr>
            <p:cNvPr id="377" name="Google Shape;978;p43">
              <a:extLst>
                <a:ext uri="{FF2B5EF4-FFF2-40B4-BE49-F238E27FC236}">
                  <a16:creationId xmlns="" xmlns:a16="http://schemas.microsoft.com/office/drawing/2014/main" id="{E1E93B08-2643-487A-AB28-119CA926DA3A}"/>
                </a:ext>
              </a:extLst>
            </p:cNvPr>
            <p:cNvSpPr/>
            <p:nvPr/>
          </p:nvSpPr>
          <p:spPr>
            <a:xfrm>
              <a:off x="8868789" y="2223524"/>
              <a:ext cx="885346" cy="852154"/>
            </a:xfrm>
            <a:custGeom>
              <a:avLst/>
              <a:gdLst/>
              <a:ahLst/>
              <a:cxnLst/>
              <a:rect l="l" t="t" r="r" b="b"/>
              <a:pathLst>
                <a:path w="11950" h="11502" extrusionOk="0">
                  <a:moveTo>
                    <a:pt x="6201" y="0"/>
                  </a:moveTo>
                  <a:cubicBezTo>
                    <a:pt x="3874" y="0"/>
                    <a:pt x="1781" y="1399"/>
                    <a:pt x="888" y="3550"/>
                  </a:cubicBezTo>
                  <a:cubicBezTo>
                    <a:pt x="0" y="5702"/>
                    <a:pt x="488" y="8170"/>
                    <a:pt x="2134" y="9816"/>
                  </a:cubicBezTo>
                  <a:cubicBezTo>
                    <a:pt x="3234" y="10916"/>
                    <a:pt x="4705" y="11502"/>
                    <a:pt x="6201" y="11502"/>
                  </a:cubicBezTo>
                  <a:cubicBezTo>
                    <a:pt x="6942" y="11502"/>
                    <a:pt x="7689" y="11358"/>
                    <a:pt x="8399" y="11062"/>
                  </a:cubicBezTo>
                  <a:cubicBezTo>
                    <a:pt x="10551" y="10175"/>
                    <a:pt x="11950" y="8076"/>
                    <a:pt x="11950" y="5749"/>
                  </a:cubicBezTo>
                  <a:cubicBezTo>
                    <a:pt x="11950" y="2575"/>
                    <a:pt x="9375" y="0"/>
                    <a:pt x="6201" y="0"/>
                  </a:cubicBezTo>
                  <a:close/>
                </a:path>
              </a:pathLst>
            </a:custGeom>
            <a:solidFill>
              <a:srgbClr val="D2DBFA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/>
                <a:sym typeface="Arial"/>
              </a:endParaRPr>
            </a:p>
          </p:txBody>
        </p:sp>
        <p:sp>
          <p:nvSpPr>
            <p:cNvPr id="378" name="Google Shape;979;p43">
              <a:extLst>
                <a:ext uri="{FF2B5EF4-FFF2-40B4-BE49-F238E27FC236}">
                  <a16:creationId xmlns="" xmlns:a16="http://schemas.microsoft.com/office/drawing/2014/main" id="{AFABF870-F01C-404B-9BB2-987918AB0775}"/>
                </a:ext>
              </a:extLst>
            </p:cNvPr>
            <p:cNvSpPr/>
            <p:nvPr/>
          </p:nvSpPr>
          <p:spPr>
            <a:xfrm>
              <a:off x="8985033" y="2259234"/>
              <a:ext cx="686347" cy="686791"/>
            </a:xfrm>
            <a:custGeom>
              <a:avLst/>
              <a:gdLst/>
              <a:ahLst/>
              <a:cxnLst/>
              <a:rect l="l" t="t" r="r" b="b"/>
              <a:pathLst>
                <a:path w="9264" h="9270" extrusionOk="0">
                  <a:moveTo>
                    <a:pt x="4632" y="0"/>
                  </a:moveTo>
                  <a:cubicBezTo>
                    <a:pt x="4544" y="0"/>
                    <a:pt x="4456" y="6"/>
                    <a:pt x="4368" y="12"/>
                  </a:cubicBezTo>
                  <a:cubicBezTo>
                    <a:pt x="3457" y="59"/>
                    <a:pt x="2581" y="376"/>
                    <a:pt x="1852" y="929"/>
                  </a:cubicBezTo>
                  <a:cubicBezTo>
                    <a:pt x="1717" y="1029"/>
                    <a:pt x="1582" y="1140"/>
                    <a:pt x="1458" y="1258"/>
                  </a:cubicBezTo>
                  <a:cubicBezTo>
                    <a:pt x="1194" y="1511"/>
                    <a:pt x="953" y="1793"/>
                    <a:pt x="753" y="2104"/>
                  </a:cubicBezTo>
                  <a:cubicBezTo>
                    <a:pt x="659" y="2245"/>
                    <a:pt x="571" y="2392"/>
                    <a:pt x="494" y="2551"/>
                  </a:cubicBezTo>
                  <a:cubicBezTo>
                    <a:pt x="330" y="2874"/>
                    <a:pt x="200" y="3221"/>
                    <a:pt x="118" y="3580"/>
                  </a:cubicBezTo>
                  <a:cubicBezTo>
                    <a:pt x="83" y="3750"/>
                    <a:pt x="53" y="3921"/>
                    <a:pt x="36" y="4091"/>
                  </a:cubicBezTo>
                  <a:cubicBezTo>
                    <a:pt x="12" y="4273"/>
                    <a:pt x="0" y="4455"/>
                    <a:pt x="0" y="4638"/>
                  </a:cubicBezTo>
                  <a:cubicBezTo>
                    <a:pt x="0" y="4820"/>
                    <a:pt x="12" y="5008"/>
                    <a:pt x="36" y="5190"/>
                  </a:cubicBezTo>
                  <a:cubicBezTo>
                    <a:pt x="53" y="5361"/>
                    <a:pt x="83" y="5531"/>
                    <a:pt x="124" y="5696"/>
                  </a:cubicBezTo>
                  <a:cubicBezTo>
                    <a:pt x="206" y="6054"/>
                    <a:pt x="330" y="6401"/>
                    <a:pt x="500" y="6724"/>
                  </a:cubicBezTo>
                  <a:cubicBezTo>
                    <a:pt x="576" y="6883"/>
                    <a:pt x="665" y="7030"/>
                    <a:pt x="759" y="7171"/>
                  </a:cubicBezTo>
                  <a:cubicBezTo>
                    <a:pt x="959" y="7482"/>
                    <a:pt x="1194" y="7765"/>
                    <a:pt x="1464" y="8011"/>
                  </a:cubicBezTo>
                  <a:cubicBezTo>
                    <a:pt x="1587" y="8135"/>
                    <a:pt x="1723" y="8247"/>
                    <a:pt x="1858" y="8346"/>
                  </a:cubicBezTo>
                  <a:cubicBezTo>
                    <a:pt x="2152" y="8570"/>
                    <a:pt x="2475" y="8752"/>
                    <a:pt x="2810" y="8893"/>
                  </a:cubicBezTo>
                  <a:cubicBezTo>
                    <a:pt x="2969" y="8964"/>
                    <a:pt x="3133" y="9022"/>
                    <a:pt x="3298" y="9069"/>
                  </a:cubicBezTo>
                  <a:cubicBezTo>
                    <a:pt x="3651" y="9181"/>
                    <a:pt x="4009" y="9240"/>
                    <a:pt x="4374" y="9263"/>
                  </a:cubicBezTo>
                  <a:cubicBezTo>
                    <a:pt x="4462" y="9269"/>
                    <a:pt x="4544" y="9269"/>
                    <a:pt x="4632" y="9269"/>
                  </a:cubicBezTo>
                  <a:cubicBezTo>
                    <a:pt x="4720" y="9269"/>
                    <a:pt x="4808" y="9269"/>
                    <a:pt x="4897" y="9263"/>
                  </a:cubicBezTo>
                  <a:cubicBezTo>
                    <a:pt x="5261" y="9240"/>
                    <a:pt x="5620" y="9175"/>
                    <a:pt x="5972" y="9069"/>
                  </a:cubicBezTo>
                  <a:cubicBezTo>
                    <a:pt x="6137" y="9022"/>
                    <a:pt x="6301" y="8964"/>
                    <a:pt x="6460" y="8893"/>
                  </a:cubicBezTo>
                  <a:cubicBezTo>
                    <a:pt x="6795" y="8746"/>
                    <a:pt x="7118" y="8564"/>
                    <a:pt x="7412" y="8341"/>
                  </a:cubicBezTo>
                  <a:cubicBezTo>
                    <a:pt x="7548" y="8241"/>
                    <a:pt x="7677" y="8129"/>
                    <a:pt x="7806" y="8011"/>
                  </a:cubicBezTo>
                  <a:cubicBezTo>
                    <a:pt x="8071" y="7759"/>
                    <a:pt x="8312" y="7477"/>
                    <a:pt x="8506" y="7165"/>
                  </a:cubicBezTo>
                  <a:cubicBezTo>
                    <a:pt x="8606" y="7024"/>
                    <a:pt x="8694" y="6877"/>
                    <a:pt x="8770" y="6718"/>
                  </a:cubicBezTo>
                  <a:cubicBezTo>
                    <a:pt x="9011" y="6236"/>
                    <a:pt x="9170" y="5713"/>
                    <a:pt x="9234" y="5178"/>
                  </a:cubicBezTo>
                  <a:cubicBezTo>
                    <a:pt x="9252" y="4996"/>
                    <a:pt x="9264" y="4814"/>
                    <a:pt x="9264" y="4632"/>
                  </a:cubicBezTo>
                  <a:cubicBezTo>
                    <a:pt x="9264" y="4450"/>
                    <a:pt x="9252" y="4261"/>
                    <a:pt x="9234" y="4079"/>
                  </a:cubicBezTo>
                  <a:cubicBezTo>
                    <a:pt x="9211" y="3909"/>
                    <a:pt x="9182" y="3738"/>
                    <a:pt x="9140" y="3574"/>
                  </a:cubicBezTo>
                  <a:cubicBezTo>
                    <a:pt x="9058" y="3215"/>
                    <a:pt x="8935" y="2868"/>
                    <a:pt x="8764" y="2545"/>
                  </a:cubicBezTo>
                  <a:cubicBezTo>
                    <a:pt x="8523" y="2063"/>
                    <a:pt x="8194" y="1628"/>
                    <a:pt x="7800" y="1258"/>
                  </a:cubicBezTo>
                  <a:cubicBezTo>
                    <a:pt x="7677" y="1134"/>
                    <a:pt x="7542" y="1023"/>
                    <a:pt x="7406" y="923"/>
                  </a:cubicBezTo>
                  <a:cubicBezTo>
                    <a:pt x="7113" y="705"/>
                    <a:pt x="6789" y="517"/>
                    <a:pt x="6454" y="376"/>
                  </a:cubicBezTo>
                  <a:cubicBezTo>
                    <a:pt x="6296" y="306"/>
                    <a:pt x="6137" y="247"/>
                    <a:pt x="5972" y="200"/>
                  </a:cubicBezTo>
                  <a:cubicBezTo>
                    <a:pt x="5620" y="94"/>
                    <a:pt x="5255" y="29"/>
                    <a:pt x="4891" y="12"/>
                  </a:cubicBezTo>
                  <a:cubicBezTo>
                    <a:pt x="4803" y="0"/>
                    <a:pt x="4720" y="0"/>
                    <a:pt x="4632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/>
                <a:sym typeface="Arial"/>
              </a:endParaRPr>
            </a:p>
          </p:txBody>
        </p:sp>
        <p:sp>
          <p:nvSpPr>
            <p:cNvPr id="379" name="Google Shape;980;p43">
              <a:extLst>
                <a:ext uri="{FF2B5EF4-FFF2-40B4-BE49-F238E27FC236}">
                  <a16:creationId xmlns="" xmlns:a16="http://schemas.microsoft.com/office/drawing/2014/main" id="{F93BC913-7AC8-4C2C-9935-6E3C91C661E3}"/>
                </a:ext>
              </a:extLst>
            </p:cNvPr>
            <p:cNvSpPr/>
            <p:nvPr/>
          </p:nvSpPr>
          <p:spPr>
            <a:xfrm>
              <a:off x="9312057" y="2317986"/>
              <a:ext cx="31858" cy="284422"/>
            </a:xfrm>
            <a:custGeom>
              <a:avLst/>
              <a:gdLst/>
              <a:ahLst/>
              <a:cxnLst/>
              <a:rect l="l" t="t" r="r" b="b"/>
              <a:pathLst>
                <a:path w="430" h="3839" extrusionOk="0">
                  <a:moveTo>
                    <a:pt x="1" y="1"/>
                  </a:moveTo>
                  <a:lnTo>
                    <a:pt x="224" y="3839"/>
                  </a:lnTo>
                  <a:lnTo>
                    <a:pt x="430" y="48"/>
                  </a:lnTo>
                  <a:cubicBezTo>
                    <a:pt x="289" y="24"/>
                    <a:pt x="148" y="6"/>
                    <a:pt x="7" y="1"/>
                  </a:cubicBezTo>
                  <a:close/>
                </a:path>
              </a:pathLst>
            </a:custGeom>
            <a:solidFill>
              <a:srgbClr val="EDF0F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/>
                <a:sym typeface="Arial"/>
              </a:endParaRPr>
            </a:p>
          </p:txBody>
        </p:sp>
        <p:sp>
          <p:nvSpPr>
            <p:cNvPr id="380" name="Google Shape;981;p43">
              <a:extLst>
                <a:ext uri="{FF2B5EF4-FFF2-40B4-BE49-F238E27FC236}">
                  <a16:creationId xmlns="" xmlns:a16="http://schemas.microsoft.com/office/drawing/2014/main" id="{769639A4-D857-436A-AFA1-18E7C30F612E}"/>
                </a:ext>
              </a:extLst>
            </p:cNvPr>
            <p:cNvSpPr/>
            <p:nvPr/>
          </p:nvSpPr>
          <p:spPr>
            <a:xfrm>
              <a:off x="9209742" y="2320579"/>
              <a:ext cx="118540" cy="281829"/>
            </a:xfrm>
            <a:custGeom>
              <a:avLst/>
              <a:gdLst/>
              <a:ahLst/>
              <a:cxnLst/>
              <a:rect l="l" t="t" r="r" b="b"/>
              <a:pathLst>
                <a:path w="1600" h="3804" extrusionOk="0">
                  <a:moveTo>
                    <a:pt x="447" y="1"/>
                  </a:moveTo>
                  <a:cubicBezTo>
                    <a:pt x="294" y="18"/>
                    <a:pt x="147" y="48"/>
                    <a:pt x="0" y="83"/>
                  </a:cubicBezTo>
                  <a:lnTo>
                    <a:pt x="1599" y="3804"/>
                  </a:lnTo>
                  <a:lnTo>
                    <a:pt x="1599" y="3804"/>
                  </a:lnTo>
                  <a:lnTo>
                    <a:pt x="447" y="1"/>
                  </a:lnTo>
                  <a:close/>
                </a:path>
              </a:pathLst>
            </a:custGeom>
            <a:solidFill>
              <a:srgbClr val="EDF0F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/>
                <a:sym typeface="Arial"/>
              </a:endParaRPr>
            </a:p>
          </p:txBody>
        </p:sp>
        <p:sp>
          <p:nvSpPr>
            <p:cNvPr id="381" name="Google Shape;982;p43">
              <a:extLst>
                <a:ext uri="{FF2B5EF4-FFF2-40B4-BE49-F238E27FC236}">
                  <a16:creationId xmlns="" xmlns:a16="http://schemas.microsoft.com/office/drawing/2014/main" id="{19C1CF6F-AF22-4D74-9F5E-5C58B4FC94DF}"/>
                </a:ext>
              </a:extLst>
            </p:cNvPr>
            <p:cNvSpPr/>
            <p:nvPr/>
          </p:nvSpPr>
          <p:spPr>
            <a:xfrm>
              <a:off x="9108241" y="2351103"/>
              <a:ext cx="220040" cy="251305"/>
            </a:xfrm>
            <a:custGeom>
              <a:avLst/>
              <a:gdLst/>
              <a:ahLst/>
              <a:cxnLst/>
              <a:rect l="l" t="t" r="r" b="b"/>
              <a:pathLst>
                <a:path w="2970" h="3392" extrusionOk="0">
                  <a:moveTo>
                    <a:pt x="430" y="0"/>
                  </a:moveTo>
                  <a:cubicBezTo>
                    <a:pt x="283" y="71"/>
                    <a:pt x="142" y="153"/>
                    <a:pt x="1" y="235"/>
                  </a:cubicBezTo>
                  <a:lnTo>
                    <a:pt x="2969" y="3392"/>
                  </a:lnTo>
                  <a:lnTo>
                    <a:pt x="2969" y="3392"/>
                  </a:lnTo>
                  <a:lnTo>
                    <a:pt x="430" y="0"/>
                  </a:lnTo>
                  <a:close/>
                </a:path>
              </a:pathLst>
            </a:custGeom>
            <a:solidFill>
              <a:srgbClr val="EDF0F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/>
                <a:sym typeface="Arial"/>
              </a:endParaRPr>
            </a:p>
          </p:txBody>
        </p:sp>
        <p:sp>
          <p:nvSpPr>
            <p:cNvPr id="382" name="Google Shape;983;p43">
              <a:extLst>
                <a:ext uri="{FF2B5EF4-FFF2-40B4-BE49-F238E27FC236}">
                  <a16:creationId xmlns="" xmlns:a16="http://schemas.microsoft.com/office/drawing/2014/main" id="{8FA42903-659E-4154-9C08-1CDCD04DEE9C}"/>
                </a:ext>
              </a:extLst>
            </p:cNvPr>
            <p:cNvSpPr/>
            <p:nvPr/>
          </p:nvSpPr>
          <p:spPr>
            <a:xfrm>
              <a:off x="9021632" y="2418597"/>
              <a:ext cx="306648" cy="184256"/>
            </a:xfrm>
            <a:custGeom>
              <a:avLst/>
              <a:gdLst/>
              <a:ahLst/>
              <a:cxnLst/>
              <a:rect l="l" t="t" r="r" b="b"/>
              <a:pathLst>
                <a:path w="4139" h="2487" extrusionOk="0">
                  <a:moveTo>
                    <a:pt x="206" y="36"/>
                  </a:moveTo>
                  <a:cubicBezTo>
                    <a:pt x="152" y="116"/>
                    <a:pt x="103" y="202"/>
                    <a:pt x="59" y="288"/>
                  </a:cubicBezTo>
                  <a:lnTo>
                    <a:pt x="59" y="288"/>
                  </a:lnTo>
                  <a:cubicBezTo>
                    <a:pt x="105" y="203"/>
                    <a:pt x="153" y="118"/>
                    <a:pt x="206" y="36"/>
                  </a:cubicBezTo>
                  <a:close/>
                  <a:moveTo>
                    <a:pt x="335" y="0"/>
                  </a:moveTo>
                  <a:cubicBezTo>
                    <a:pt x="229" y="100"/>
                    <a:pt x="135" y="206"/>
                    <a:pt x="47" y="312"/>
                  </a:cubicBezTo>
                  <a:cubicBezTo>
                    <a:pt x="51" y="304"/>
                    <a:pt x="55" y="296"/>
                    <a:pt x="59" y="288"/>
                  </a:cubicBezTo>
                  <a:lnTo>
                    <a:pt x="59" y="288"/>
                  </a:lnTo>
                  <a:cubicBezTo>
                    <a:pt x="39" y="326"/>
                    <a:pt x="20" y="363"/>
                    <a:pt x="0" y="400"/>
                  </a:cubicBezTo>
                  <a:lnTo>
                    <a:pt x="4138" y="2487"/>
                  </a:lnTo>
                  <a:lnTo>
                    <a:pt x="335" y="0"/>
                  </a:lnTo>
                  <a:close/>
                </a:path>
              </a:pathLst>
            </a:custGeom>
            <a:solidFill>
              <a:srgbClr val="EDF0F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/>
                <a:sym typeface="Arial"/>
              </a:endParaRPr>
            </a:p>
          </p:txBody>
        </p:sp>
        <p:sp>
          <p:nvSpPr>
            <p:cNvPr id="383" name="Google Shape;984;p43">
              <a:extLst>
                <a:ext uri="{FF2B5EF4-FFF2-40B4-BE49-F238E27FC236}">
                  <a16:creationId xmlns="" xmlns:a16="http://schemas.microsoft.com/office/drawing/2014/main" id="{CE2C5EEC-4217-485C-9BDD-2E99E6762D93}"/>
                </a:ext>
              </a:extLst>
            </p:cNvPr>
            <p:cNvSpPr/>
            <p:nvPr/>
          </p:nvSpPr>
          <p:spPr>
            <a:xfrm>
              <a:off x="8987626" y="2523950"/>
              <a:ext cx="340654" cy="78459"/>
            </a:xfrm>
            <a:custGeom>
              <a:avLst/>
              <a:gdLst/>
              <a:ahLst/>
              <a:cxnLst/>
              <a:rect l="l" t="t" r="r" b="b"/>
              <a:pathLst>
                <a:path w="4598" h="1059" extrusionOk="0">
                  <a:moveTo>
                    <a:pt x="83" y="1"/>
                  </a:moveTo>
                  <a:cubicBezTo>
                    <a:pt x="48" y="171"/>
                    <a:pt x="18" y="342"/>
                    <a:pt x="1" y="518"/>
                  </a:cubicBezTo>
                  <a:lnTo>
                    <a:pt x="4597" y="1059"/>
                  </a:lnTo>
                  <a:lnTo>
                    <a:pt x="83" y="7"/>
                  </a:lnTo>
                  <a:lnTo>
                    <a:pt x="83" y="1"/>
                  </a:lnTo>
                  <a:close/>
                </a:path>
              </a:pathLst>
            </a:custGeom>
            <a:solidFill>
              <a:srgbClr val="EDF0F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/>
                <a:sym typeface="Arial"/>
              </a:endParaRPr>
            </a:p>
          </p:txBody>
        </p:sp>
        <p:sp>
          <p:nvSpPr>
            <p:cNvPr id="384" name="Google Shape;985;p43">
              <a:extLst>
                <a:ext uri="{FF2B5EF4-FFF2-40B4-BE49-F238E27FC236}">
                  <a16:creationId xmlns="" xmlns:a16="http://schemas.microsoft.com/office/drawing/2014/main" id="{43694232-33CE-41F9-9921-90501A952260}"/>
                </a:ext>
              </a:extLst>
            </p:cNvPr>
            <p:cNvSpPr/>
            <p:nvPr/>
          </p:nvSpPr>
          <p:spPr>
            <a:xfrm>
              <a:off x="8987626" y="2602335"/>
              <a:ext cx="340654" cy="78903"/>
            </a:xfrm>
            <a:custGeom>
              <a:avLst/>
              <a:gdLst/>
              <a:ahLst/>
              <a:cxnLst/>
              <a:rect l="l" t="t" r="r" b="b"/>
              <a:pathLst>
                <a:path w="4598" h="1065" extrusionOk="0">
                  <a:moveTo>
                    <a:pt x="4597" y="1"/>
                  </a:moveTo>
                  <a:lnTo>
                    <a:pt x="1" y="553"/>
                  </a:lnTo>
                  <a:cubicBezTo>
                    <a:pt x="18" y="724"/>
                    <a:pt x="48" y="894"/>
                    <a:pt x="89" y="1065"/>
                  </a:cubicBezTo>
                  <a:lnTo>
                    <a:pt x="4597" y="1"/>
                  </a:lnTo>
                  <a:close/>
                </a:path>
              </a:pathLst>
            </a:custGeom>
            <a:solidFill>
              <a:srgbClr val="EDF0F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/>
                <a:sym typeface="Arial"/>
              </a:endParaRPr>
            </a:p>
          </p:txBody>
        </p:sp>
        <p:sp>
          <p:nvSpPr>
            <p:cNvPr id="385" name="Google Shape;986;p43">
              <a:extLst>
                <a:ext uri="{FF2B5EF4-FFF2-40B4-BE49-F238E27FC236}">
                  <a16:creationId xmlns="" xmlns:a16="http://schemas.microsoft.com/office/drawing/2014/main" id="{C1BC0C3D-DC4A-4716-8EE9-98CE73904454}"/>
                </a:ext>
              </a:extLst>
            </p:cNvPr>
            <p:cNvSpPr/>
            <p:nvPr/>
          </p:nvSpPr>
          <p:spPr>
            <a:xfrm>
              <a:off x="9022077" y="2602335"/>
              <a:ext cx="306204" cy="188182"/>
            </a:xfrm>
            <a:custGeom>
              <a:avLst/>
              <a:gdLst/>
              <a:ahLst/>
              <a:cxnLst/>
              <a:rect l="l" t="t" r="r" b="b"/>
              <a:pathLst>
                <a:path w="4133" h="2540" extrusionOk="0">
                  <a:moveTo>
                    <a:pt x="4132" y="1"/>
                  </a:moveTo>
                  <a:lnTo>
                    <a:pt x="0" y="2093"/>
                  </a:lnTo>
                  <a:cubicBezTo>
                    <a:pt x="76" y="2246"/>
                    <a:pt x="165" y="2393"/>
                    <a:pt x="259" y="2540"/>
                  </a:cubicBezTo>
                  <a:lnTo>
                    <a:pt x="4132" y="1"/>
                  </a:lnTo>
                  <a:close/>
                </a:path>
              </a:pathLst>
            </a:custGeom>
            <a:solidFill>
              <a:srgbClr val="EDF0F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/>
                <a:sym typeface="Arial"/>
              </a:endParaRPr>
            </a:p>
          </p:txBody>
        </p:sp>
        <p:sp>
          <p:nvSpPr>
            <p:cNvPr id="386" name="Google Shape;987;p43">
              <a:extLst>
                <a:ext uri="{FF2B5EF4-FFF2-40B4-BE49-F238E27FC236}">
                  <a16:creationId xmlns="" xmlns:a16="http://schemas.microsoft.com/office/drawing/2014/main" id="{A10FF4A9-7BD4-480D-992C-BEE00B99F996}"/>
                </a:ext>
              </a:extLst>
            </p:cNvPr>
            <p:cNvSpPr/>
            <p:nvPr/>
          </p:nvSpPr>
          <p:spPr>
            <a:xfrm>
              <a:off x="9093424" y="2602335"/>
              <a:ext cx="234857" cy="275309"/>
            </a:xfrm>
            <a:custGeom>
              <a:avLst/>
              <a:gdLst/>
              <a:ahLst/>
              <a:cxnLst/>
              <a:rect l="l" t="t" r="r" b="b"/>
              <a:pathLst>
                <a:path w="3170" h="3716" extrusionOk="0">
                  <a:moveTo>
                    <a:pt x="3169" y="1"/>
                  </a:moveTo>
                  <a:lnTo>
                    <a:pt x="1" y="3380"/>
                  </a:lnTo>
                  <a:cubicBezTo>
                    <a:pt x="124" y="3498"/>
                    <a:pt x="260" y="3610"/>
                    <a:pt x="395" y="3715"/>
                  </a:cubicBezTo>
                  <a:lnTo>
                    <a:pt x="3169" y="1"/>
                  </a:lnTo>
                  <a:close/>
                </a:path>
              </a:pathLst>
            </a:custGeom>
            <a:solidFill>
              <a:srgbClr val="EDF0F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/>
                <a:sym typeface="Arial"/>
              </a:endParaRPr>
            </a:p>
          </p:txBody>
        </p:sp>
        <p:sp>
          <p:nvSpPr>
            <p:cNvPr id="387" name="Google Shape;988;p43">
              <a:extLst>
                <a:ext uri="{FF2B5EF4-FFF2-40B4-BE49-F238E27FC236}">
                  <a16:creationId xmlns="" xmlns:a16="http://schemas.microsoft.com/office/drawing/2014/main" id="{51445600-CA33-42E3-A15D-3BE00C340D40}"/>
                </a:ext>
              </a:extLst>
            </p:cNvPr>
            <p:cNvSpPr/>
            <p:nvPr/>
          </p:nvSpPr>
          <p:spPr>
            <a:xfrm>
              <a:off x="9193220" y="2602335"/>
              <a:ext cx="135062" cy="328874"/>
            </a:xfrm>
            <a:custGeom>
              <a:avLst/>
              <a:gdLst/>
              <a:ahLst/>
              <a:cxnLst/>
              <a:rect l="l" t="t" r="r" b="b"/>
              <a:pathLst>
                <a:path w="1823" h="4439" extrusionOk="0">
                  <a:moveTo>
                    <a:pt x="1822" y="1"/>
                  </a:moveTo>
                  <a:lnTo>
                    <a:pt x="0" y="4262"/>
                  </a:lnTo>
                  <a:cubicBezTo>
                    <a:pt x="159" y="4333"/>
                    <a:pt x="323" y="4391"/>
                    <a:pt x="488" y="4438"/>
                  </a:cubicBezTo>
                  <a:lnTo>
                    <a:pt x="1822" y="1"/>
                  </a:lnTo>
                  <a:close/>
                </a:path>
              </a:pathLst>
            </a:custGeom>
            <a:solidFill>
              <a:srgbClr val="EDF0F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/>
                <a:sym typeface="Arial"/>
              </a:endParaRPr>
            </a:p>
          </p:txBody>
        </p:sp>
        <p:sp>
          <p:nvSpPr>
            <p:cNvPr id="388" name="Google Shape;989;p43">
              <a:extLst>
                <a:ext uri="{FF2B5EF4-FFF2-40B4-BE49-F238E27FC236}">
                  <a16:creationId xmlns="" xmlns:a16="http://schemas.microsoft.com/office/drawing/2014/main" id="{B440E12B-F6D0-4337-BCC5-C05A5C884CEC}"/>
                </a:ext>
              </a:extLst>
            </p:cNvPr>
            <p:cNvSpPr/>
            <p:nvPr/>
          </p:nvSpPr>
          <p:spPr>
            <a:xfrm>
              <a:off x="9309019" y="2602335"/>
              <a:ext cx="38822" cy="343692"/>
            </a:xfrm>
            <a:custGeom>
              <a:avLst/>
              <a:gdLst/>
              <a:ahLst/>
              <a:cxnLst/>
              <a:rect l="l" t="t" r="r" b="b"/>
              <a:pathLst>
                <a:path w="524" h="4639" extrusionOk="0">
                  <a:moveTo>
                    <a:pt x="259" y="1"/>
                  </a:moveTo>
                  <a:lnTo>
                    <a:pt x="1" y="4627"/>
                  </a:lnTo>
                  <a:cubicBezTo>
                    <a:pt x="89" y="4632"/>
                    <a:pt x="171" y="4638"/>
                    <a:pt x="259" y="4638"/>
                  </a:cubicBezTo>
                  <a:cubicBezTo>
                    <a:pt x="347" y="4638"/>
                    <a:pt x="435" y="4638"/>
                    <a:pt x="524" y="4627"/>
                  </a:cubicBezTo>
                  <a:lnTo>
                    <a:pt x="259" y="1"/>
                  </a:lnTo>
                  <a:close/>
                </a:path>
              </a:pathLst>
            </a:custGeom>
            <a:solidFill>
              <a:srgbClr val="EDF0F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/>
                <a:sym typeface="Arial"/>
              </a:endParaRPr>
            </a:p>
          </p:txBody>
        </p:sp>
        <p:sp>
          <p:nvSpPr>
            <p:cNvPr id="389" name="Google Shape;990;p43">
              <a:extLst>
                <a:ext uri="{FF2B5EF4-FFF2-40B4-BE49-F238E27FC236}">
                  <a16:creationId xmlns="" xmlns:a16="http://schemas.microsoft.com/office/drawing/2014/main" id="{73EB017A-D54D-45B2-B4FA-1E7B65405420}"/>
                </a:ext>
              </a:extLst>
            </p:cNvPr>
            <p:cNvSpPr/>
            <p:nvPr/>
          </p:nvSpPr>
          <p:spPr>
            <a:xfrm>
              <a:off x="9328208" y="2601890"/>
              <a:ext cx="135506" cy="329319"/>
            </a:xfrm>
            <a:custGeom>
              <a:avLst/>
              <a:gdLst/>
              <a:ahLst/>
              <a:cxnLst/>
              <a:rect l="l" t="t" r="r" b="b"/>
              <a:pathLst>
                <a:path w="1829" h="4445" extrusionOk="0">
                  <a:moveTo>
                    <a:pt x="0" y="1"/>
                  </a:moveTo>
                  <a:lnTo>
                    <a:pt x="0" y="7"/>
                  </a:lnTo>
                  <a:lnTo>
                    <a:pt x="1340" y="4444"/>
                  </a:lnTo>
                  <a:cubicBezTo>
                    <a:pt x="1505" y="4392"/>
                    <a:pt x="1669" y="4333"/>
                    <a:pt x="1828" y="4262"/>
                  </a:cubicBezTo>
                  <a:lnTo>
                    <a:pt x="0" y="1"/>
                  </a:lnTo>
                  <a:close/>
                </a:path>
              </a:pathLst>
            </a:custGeom>
            <a:solidFill>
              <a:srgbClr val="EDF0F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/>
                <a:sym typeface="Arial"/>
              </a:endParaRPr>
            </a:p>
          </p:txBody>
        </p:sp>
        <p:sp>
          <p:nvSpPr>
            <p:cNvPr id="390" name="Google Shape;991;p43">
              <a:extLst>
                <a:ext uri="{FF2B5EF4-FFF2-40B4-BE49-F238E27FC236}">
                  <a16:creationId xmlns="" xmlns:a16="http://schemas.microsoft.com/office/drawing/2014/main" id="{BB05C311-990D-4F35-A4E0-7072A567755C}"/>
                </a:ext>
              </a:extLst>
            </p:cNvPr>
            <p:cNvSpPr/>
            <p:nvPr/>
          </p:nvSpPr>
          <p:spPr>
            <a:xfrm>
              <a:off x="9328208" y="2601890"/>
              <a:ext cx="235228" cy="275309"/>
            </a:xfrm>
            <a:custGeom>
              <a:avLst/>
              <a:gdLst/>
              <a:ahLst/>
              <a:cxnLst/>
              <a:rect l="l" t="t" r="r" b="b"/>
              <a:pathLst>
                <a:path w="3175" h="3716" extrusionOk="0">
                  <a:moveTo>
                    <a:pt x="0" y="1"/>
                  </a:moveTo>
                  <a:lnTo>
                    <a:pt x="0" y="7"/>
                  </a:lnTo>
                  <a:lnTo>
                    <a:pt x="2780" y="3716"/>
                  </a:lnTo>
                  <a:cubicBezTo>
                    <a:pt x="2916" y="3610"/>
                    <a:pt x="3045" y="3498"/>
                    <a:pt x="3174" y="3381"/>
                  </a:cubicBezTo>
                  <a:lnTo>
                    <a:pt x="0" y="1"/>
                  </a:lnTo>
                  <a:close/>
                </a:path>
              </a:pathLst>
            </a:custGeom>
            <a:solidFill>
              <a:srgbClr val="EDF0F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/>
                <a:sym typeface="Arial"/>
              </a:endParaRPr>
            </a:p>
          </p:txBody>
        </p:sp>
        <p:sp>
          <p:nvSpPr>
            <p:cNvPr id="391" name="Google Shape;992;p43">
              <a:extLst>
                <a:ext uri="{FF2B5EF4-FFF2-40B4-BE49-F238E27FC236}">
                  <a16:creationId xmlns="" xmlns:a16="http://schemas.microsoft.com/office/drawing/2014/main" id="{E3FAE45F-B140-4360-84FD-8929DFD605FC}"/>
                </a:ext>
              </a:extLst>
            </p:cNvPr>
            <p:cNvSpPr/>
            <p:nvPr/>
          </p:nvSpPr>
          <p:spPr>
            <a:xfrm>
              <a:off x="9328208" y="2602335"/>
              <a:ext cx="293090" cy="183885"/>
            </a:xfrm>
            <a:custGeom>
              <a:avLst/>
              <a:gdLst/>
              <a:ahLst/>
              <a:cxnLst/>
              <a:rect l="l" t="t" r="r" b="b"/>
              <a:pathLst>
                <a:path w="3956" h="2482" extrusionOk="0">
                  <a:moveTo>
                    <a:pt x="0" y="1"/>
                  </a:moveTo>
                  <a:lnTo>
                    <a:pt x="3791" y="2481"/>
                  </a:lnTo>
                  <a:cubicBezTo>
                    <a:pt x="3856" y="2322"/>
                    <a:pt x="3909" y="2158"/>
                    <a:pt x="3956" y="1993"/>
                  </a:cubicBezTo>
                  <a:lnTo>
                    <a:pt x="0" y="1"/>
                  </a:lnTo>
                  <a:close/>
                </a:path>
              </a:pathLst>
            </a:custGeom>
            <a:solidFill>
              <a:srgbClr val="EDF0F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/>
                <a:sym typeface="Arial"/>
              </a:endParaRPr>
            </a:p>
          </p:txBody>
        </p:sp>
        <p:sp>
          <p:nvSpPr>
            <p:cNvPr id="392" name="Google Shape;993;p43">
              <a:extLst>
                <a:ext uri="{FF2B5EF4-FFF2-40B4-BE49-F238E27FC236}">
                  <a16:creationId xmlns="" xmlns:a16="http://schemas.microsoft.com/office/drawing/2014/main" id="{96218907-00A5-431F-9C22-7A0B4856F1FE}"/>
                </a:ext>
              </a:extLst>
            </p:cNvPr>
            <p:cNvSpPr/>
            <p:nvPr/>
          </p:nvSpPr>
          <p:spPr>
            <a:xfrm>
              <a:off x="9328208" y="2602335"/>
              <a:ext cx="304426" cy="71494"/>
            </a:xfrm>
            <a:custGeom>
              <a:avLst/>
              <a:gdLst/>
              <a:ahLst/>
              <a:cxnLst/>
              <a:rect l="l" t="t" r="r" b="b"/>
              <a:pathLst>
                <a:path w="4109" h="965" extrusionOk="0">
                  <a:moveTo>
                    <a:pt x="0" y="1"/>
                  </a:moveTo>
                  <a:lnTo>
                    <a:pt x="4109" y="965"/>
                  </a:lnTo>
                  <a:lnTo>
                    <a:pt x="4109" y="782"/>
                  </a:lnTo>
                  <a:cubicBezTo>
                    <a:pt x="4109" y="683"/>
                    <a:pt x="4109" y="583"/>
                    <a:pt x="4103" y="489"/>
                  </a:cubicBezTo>
                  <a:lnTo>
                    <a:pt x="0" y="1"/>
                  </a:lnTo>
                  <a:close/>
                </a:path>
              </a:pathLst>
            </a:custGeom>
            <a:solidFill>
              <a:srgbClr val="EDF0F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/>
                <a:sym typeface="Arial"/>
              </a:endParaRPr>
            </a:p>
          </p:txBody>
        </p:sp>
        <p:sp>
          <p:nvSpPr>
            <p:cNvPr id="393" name="Google Shape;994;p43">
              <a:extLst>
                <a:ext uri="{FF2B5EF4-FFF2-40B4-BE49-F238E27FC236}">
                  <a16:creationId xmlns="" xmlns:a16="http://schemas.microsoft.com/office/drawing/2014/main" id="{4732F2AF-13DB-49AA-95D2-96548C9F84CF}"/>
                </a:ext>
              </a:extLst>
            </p:cNvPr>
            <p:cNvSpPr/>
            <p:nvPr/>
          </p:nvSpPr>
          <p:spPr>
            <a:xfrm>
              <a:off x="9328208" y="2536619"/>
              <a:ext cx="292275" cy="66234"/>
            </a:xfrm>
            <a:custGeom>
              <a:avLst/>
              <a:gdLst/>
              <a:ahLst/>
              <a:cxnLst/>
              <a:rect l="l" t="t" r="r" b="b"/>
              <a:pathLst>
                <a:path w="3945" h="894" extrusionOk="0">
                  <a:moveTo>
                    <a:pt x="3803" y="0"/>
                  </a:moveTo>
                  <a:lnTo>
                    <a:pt x="0" y="894"/>
                  </a:lnTo>
                  <a:lnTo>
                    <a:pt x="3944" y="417"/>
                  </a:lnTo>
                  <a:cubicBezTo>
                    <a:pt x="3903" y="276"/>
                    <a:pt x="3856" y="135"/>
                    <a:pt x="3803" y="0"/>
                  </a:cubicBezTo>
                  <a:close/>
                </a:path>
              </a:pathLst>
            </a:custGeom>
            <a:solidFill>
              <a:srgbClr val="EDF0F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/>
                <a:sym typeface="Arial"/>
              </a:endParaRPr>
            </a:p>
          </p:txBody>
        </p:sp>
        <p:sp>
          <p:nvSpPr>
            <p:cNvPr id="394" name="Google Shape;995;p43">
              <a:extLst>
                <a:ext uri="{FF2B5EF4-FFF2-40B4-BE49-F238E27FC236}">
                  <a16:creationId xmlns="" xmlns:a16="http://schemas.microsoft.com/office/drawing/2014/main" id="{99D266EB-E504-46E7-9683-00BD15EF7365}"/>
                </a:ext>
              </a:extLst>
            </p:cNvPr>
            <p:cNvSpPr/>
            <p:nvPr/>
          </p:nvSpPr>
          <p:spPr>
            <a:xfrm>
              <a:off x="9328208" y="2449936"/>
              <a:ext cx="250860" cy="152472"/>
            </a:xfrm>
            <a:custGeom>
              <a:avLst/>
              <a:gdLst/>
              <a:ahLst/>
              <a:cxnLst/>
              <a:rect l="l" t="t" r="r" b="b"/>
              <a:pathLst>
                <a:path w="3386" h="2058" extrusionOk="0">
                  <a:moveTo>
                    <a:pt x="3139" y="0"/>
                  </a:moveTo>
                  <a:lnTo>
                    <a:pt x="0" y="2058"/>
                  </a:lnTo>
                  <a:lnTo>
                    <a:pt x="0" y="2058"/>
                  </a:lnTo>
                  <a:lnTo>
                    <a:pt x="3386" y="347"/>
                  </a:lnTo>
                  <a:cubicBezTo>
                    <a:pt x="3309" y="224"/>
                    <a:pt x="3227" y="112"/>
                    <a:pt x="3139" y="0"/>
                  </a:cubicBezTo>
                  <a:close/>
                </a:path>
              </a:pathLst>
            </a:custGeom>
            <a:solidFill>
              <a:srgbClr val="EDF0F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/>
                <a:sym typeface="Arial"/>
              </a:endParaRPr>
            </a:p>
          </p:txBody>
        </p:sp>
        <p:sp>
          <p:nvSpPr>
            <p:cNvPr id="395" name="Google Shape;996;p43">
              <a:extLst>
                <a:ext uri="{FF2B5EF4-FFF2-40B4-BE49-F238E27FC236}">
                  <a16:creationId xmlns="" xmlns:a16="http://schemas.microsoft.com/office/drawing/2014/main" id="{7D3D4630-4E2E-400D-B4F5-0B44A1602402}"/>
                </a:ext>
              </a:extLst>
            </p:cNvPr>
            <p:cNvSpPr/>
            <p:nvPr/>
          </p:nvSpPr>
          <p:spPr>
            <a:xfrm>
              <a:off x="9328208" y="2382887"/>
              <a:ext cx="187738" cy="219521"/>
            </a:xfrm>
            <a:custGeom>
              <a:avLst/>
              <a:gdLst/>
              <a:ahLst/>
              <a:cxnLst/>
              <a:rect l="l" t="t" r="r" b="b"/>
              <a:pathLst>
                <a:path w="2534" h="2963" extrusionOk="0">
                  <a:moveTo>
                    <a:pt x="2210" y="0"/>
                  </a:moveTo>
                  <a:lnTo>
                    <a:pt x="0" y="2963"/>
                  </a:lnTo>
                  <a:lnTo>
                    <a:pt x="2533" y="259"/>
                  </a:lnTo>
                  <a:cubicBezTo>
                    <a:pt x="2428" y="171"/>
                    <a:pt x="2322" y="83"/>
                    <a:pt x="2210" y="0"/>
                  </a:cubicBezTo>
                  <a:close/>
                </a:path>
              </a:pathLst>
            </a:custGeom>
            <a:solidFill>
              <a:srgbClr val="EDF0F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/>
                <a:sym typeface="Arial"/>
              </a:endParaRPr>
            </a:p>
          </p:txBody>
        </p:sp>
        <p:sp>
          <p:nvSpPr>
            <p:cNvPr id="396" name="Google Shape;997;p43">
              <a:extLst>
                <a:ext uri="{FF2B5EF4-FFF2-40B4-BE49-F238E27FC236}">
                  <a16:creationId xmlns="" xmlns:a16="http://schemas.microsoft.com/office/drawing/2014/main" id="{EA9B1B1D-EFA3-481A-9377-EE641903C7F7}"/>
                </a:ext>
              </a:extLst>
            </p:cNvPr>
            <p:cNvSpPr/>
            <p:nvPr/>
          </p:nvSpPr>
          <p:spPr>
            <a:xfrm>
              <a:off x="9328208" y="2337989"/>
              <a:ext cx="108020" cy="264418"/>
            </a:xfrm>
            <a:custGeom>
              <a:avLst/>
              <a:gdLst/>
              <a:ahLst/>
              <a:cxnLst/>
              <a:rect l="l" t="t" r="r" b="b"/>
              <a:pathLst>
                <a:path w="1458" h="3569" extrusionOk="0">
                  <a:moveTo>
                    <a:pt x="1076" y="1"/>
                  </a:moveTo>
                  <a:lnTo>
                    <a:pt x="0" y="3569"/>
                  </a:lnTo>
                  <a:lnTo>
                    <a:pt x="1458" y="160"/>
                  </a:lnTo>
                  <a:cubicBezTo>
                    <a:pt x="1334" y="101"/>
                    <a:pt x="1205" y="48"/>
                    <a:pt x="1076" y="1"/>
                  </a:cubicBezTo>
                  <a:close/>
                </a:path>
              </a:pathLst>
            </a:custGeom>
            <a:solidFill>
              <a:srgbClr val="EDF0F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/>
                <a:sym typeface="Arial"/>
              </a:endParaRPr>
            </a:p>
          </p:txBody>
        </p:sp>
        <p:sp>
          <p:nvSpPr>
            <p:cNvPr id="397" name="Google Shape;998;p43">
              <a:extLst>
                <a:ext uri="{FF2B5EF4-FFF2-40B4-BE49-F238E27FC236}">
                  <a16:creationId xmlns="" xmlns:a16="http://schemas.microsoft.com/office/drawing/2014/main" id="{D67669E1-C433-48BE-8F79-2EB14DCB3F7B}"/>
                </a:ext>
              </a:extLst>
            </p:cNvPr>
            <p:cNvSpPr/>
            <p:nvPr/>
          </p:nvSpPr>
          <p:spPr>
            <a:xfrm>
              <a:off x="9240636" y="2537063"/>
              <a:ext cx="152917" cy="130913"/>
            </a:xfrm>
            <a:custGeom>
              <a:avLst/>
              <a:gdLst/>
              <a:ahLst/>
              <a:cxnLst/>
              <a:rect l="l" t="t" r="r" b="b"/>
              <a:pathLst>
                <a:path w="2064" h="1767" extrusionOk="0">
                  <a:moveTo>
                    <a:pt x="1182" y="0"/>
                  </a:moveTo>
                  <a:cubicBezTo>
                    <a:pt x="395" y="0"/>
                    <a:pt x="1" y="952"/>
                    <a:pt x="559" y="1505"/>
                  </a:cubicBezTo>
                  <a:cubicBezTo>
                    <a:pt x="738" y="1686"/>
                    <a:pt x="959" y="1767"/>
                    <a:pt x="1176" y="1767"/>
                  </a:cubicBezTo>
                  <a:cubicBezTo>
                    <a:pt x="1629" y="1767"/>
                    <a:pt x="2064" y="1414"/>
                    <a:pt x="2064" y="882"/>
                  </a:cubicBezTo>
                  <a:cubicBezTo>
                    <a:pt x="2064" y="394"/>
                    <a:pt x="1664" y="0"/>
                    <a:pt x="1182" y="0"/>
                  </a:cubicBezTo>
                  <a:close/>
                </a:path>
              </a:pathLst>
            </a:custGeom>
            <a:solidFill>
              <a:srgbClr val="D2DBFA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/>
                <a:sym typeface="Arial"/>
              </a:endParaRPr>
            </a:p>
          </p:txBody>
        </p:sp>
        <p:sp>
          <p:nvSpPr>
            <p:cNvPr id="398" name="Google Shape;999;p43">
              <a:extLst>
                <a:ext uri="{FF2B5EF4-FFF2-40B4-BE49-F238E27FC236}">
                  <a16:creationId xmlns="" xmlns:a16="http://schemas.microsoft.com/office/drawing/2014/main" id="{2F4D3E76-D70C-41BE-8209-8899AA1700F8}"/>
                </a:ext>
              </a:extLst>
            </p:cNvPr>
            <p:cNvSpPr/>
            <p:nvPr/>
          </p:nvSpPr>
          <p:spPr>
            <a:xfrm>
              <a:off x="9037265" y="2258789"/>
              <a:ext cx="634559" cy="561806"/>
            </a:xfrm>
            <a:custGeom>
              <a:avLst/>
              <a:gdLst/>
              <a:ahLst/>
              <a:cxnLst/>
              <a:rect l="l" t="t" r="r" b="b"/>
              <a:pathLst>
                <a:path w="8565" h="7583" extrusionOk="0">
                  <a:moveTo>
                    <a:pt x="4080" y="0"/>
                  </a:moveTo>
                  <a:cubicBezTo>
                    <a:pt x="4116" y="2"/>
                    <a:pt x="4152" y="3"/>
                    <a:pt x="4188" y="6"/>
                  </a:cubicBezTo>
                  <a:lnTo>
                    <a:pt x="4188" y="6"/>
                  </a:lnTo>
                  <a:cubicBezTo>
                    <a:pt x="4149" y="0"/>
                    <a:pt x="4114" y="0"/>
                    <a:pt x="4080" y="0"/>
                  </a:cubicBezTo>
                  <a:close/>
                  <a:moveTo>
                    <a:pt x="3739" y="0"/>
                  </a:moveTo>
                  <a:cubicBezTo>
                    <a:pt x="3591" y="6"/>
                    <a:pt x="3443" y="20"/>
                    <a:pt x="3298" y="40"/>
                  </a:cubicBezTo>
                  <a:lnTo>
                    <a:pt x="3298" y="40"/>
                  </a:lnTo>
                  <a:cubicBezTo>
                    <a:pt x="3421" y="23"/>
                    <a:pt x="3545" y="12"/>
                    <a:pt x="3669" y="6"/>
                  </a:cubicBezTo>
                  <a:cubicBezTo>
                    <a:pt x="3692" y="6"/>
                    <a:pt x="3716" y="6"/>
                    <a:pt x="3745" y="0"/>
                  </a:cubicBezTo>
                  <a:close/>
                  <a:moveTo>
                    <a:pt x="4188" y="6"/>
                  </a:moveTo>
                  <a:cubicBezTo>
                    <a:pt x="4189" y="6"/>
                    <a:pt x="4190" y="6"/>
                    <a:pt x="4192" y="6"/>
                  </a:cubicBezTo>
                  <a:cubicBezTo>
                    <a:pt x="4324" y="15"/>
                    <a:pt x="4456" y="28"/>
                    <a:pt x="4589" y="46"/>
                  </a:cubicBezTo>
                  <a:lnTo>
                    <a:pt x="4589" y="46"/>
                  </a:lnTo>
                  <a:cubicBezTo>
                    <a:pt x="4456" y="28"/>
                    <a:pt x="4322" y="14"/>
                    <a:pt x="4188" y="6"/>
                  </a:cubicBezTo>
                  <a:close/>
                  <a:moveTo>
                    <a:pt x="4589" y="46"/>
                  </a:moveTo>
                  <a:cubicBezTo>
                    <a:pt x="4721" y="65"/>
                    <a:pt x="4853" y="89"/>
                    <a:pt x="4985" y="118"/>
                  </a:cubicBezTo>
                  <a:cubicBezTo>
                    <a:pt x="4853" y="88"/>
                    <a:pt x="4721" y="65"/>
                    <a:pt x="4589" y="46"/>
                  </a:cubicBezTo>
                  <a:close/>
                  <a:moveTo>
                    <a:pt x="3298" y="40"/>
                  </a:moveTo>
                  <a:cubicBezTo>
                    <a:pt x="3058" y="72"/>
                    <a:pt x="2820" y="124"/>
                    <a:pt x="2587" y="194"/>
                  </a:cubicBezTo>
                  <a:cubicBezTo>
                    <a:pt x="2482" y="228"/>
                    <a:pt x="2378" y="264"/>
                    <a:pt x="2274" y="304"/>
                  </a:cubicBezTo>
                  <a:lnTo>
                    <a:pt x="2274" y="304"/>
                  </a:lnTo>
                  <a:cubicBezTo>
                    <a:pt x="2602" y="178"/>
                    <a:pt x="2945" y="89"/>
                    <a:pt x="3298" y="40"/>
                  </a:cubicBezTo>
                  <a:close/>
                  <a:moveTo>
                    <a:pt x="5344" y="223"/>
                  </a:moveTo>
                  <a:cubicBezTo>
                    <a:pt x="5439" y="253"/>
                    <a:pt x="5533" y="286"/>
                    <a:pt x="5625" y="322"/>
                  </a:cubicBezTo>
                  <a:lnTo>
                    <a:pt x="5625" y="322"/>
                  </a:lnTo>
                  <a:cubicBezTo>
                    <a:pt x="5533" y="285"/>
                    <a:pt x="5440" y="252"/>
                    <a:pt x="5344" y="223"/>
                  </a:cubicBezTo>
                  <a:close/>
                  <a:moveTo>
                    <a:pt x="2274" y="304"/>
                  </a:moveTo>
                  <a:cubicBezTo>
                    <a:pt x="2170" y="344"/>
                    <a:pt x="2067" y="387"/>
                    <a:pt x="1966" y="435"/>
                  </a:cubicBezTo>
                  <a:lnTo>
                    <a:pt x="1966" y="435"/>
                  </a:lnTo>
                  <a:cubicBezTo>
                    <a:pt x="2010" y="415"/>
                    <a:pt x="2055" y="395"/>
                    <a:pt x="2099" y="376"/>
                  </a:cubicBezTo>
                  <a:cubicBezTo>
                    <a:pt x="2157" y="351"/>
                    <a:pt x="2215" y="327"/>
                    <a:pt x="2274" y="304"/>
                  </a:cubicBezTo>
                  <a:close/>
                  <a:moveTo>
                    <a:pt x="5625" y="322"/>
                  </a:moveTo>
                  <a:cubicBezTo>
                    <a:pt x="5669" y="339"/>
                    <a:pt x="5712" y="358"/>
                    <a:pt x="5755" y="376"/>
                  </a:cubicBezTo>
                  <a:cubicBezTo>
                    <a:pt x="5978" y="470"/>
                    <a:pt x="6196" y="588"/>
                    <a:pt x="6408" y="717"/>
                  </a:cubicBezTo>
                  <a:cubicBezTo>
                    <a:pt x="6158" y="559"/>
                    <a:pt x="5898" y="428"/>
                    <a:pt x="5625" y="322"/>
                  </a:cubicBezTo>
                  <a:close/>
                  <a:moveTo>
                    <a:pt x="6496" y="776"/>
                  </a:moveTo>
                  <a:lnTo>
                    <a:pt x="6496" y="776"/>
                  </a:lnTo>
                  <a:cubicBezTo>
                    <a:pt x="6607" y="852"/>
                    <a:pt x="6719" y="935"/>
                    <a:pt x="6831" y="1023"/>
                  </a:cubicBezTo>
                  <a:cubicBezTo>
                    <a:pt x="6790" y="988"/>
                    <a:pt x="6748" y="952"/>
                    <a:pt x="6701" y="923"/>
                  </a:cubicBezTo>
                  <a:cubicBezTo>
                    <a:pt x="6637" y="870"/>
                    <a:pt x="6566" y="823"/>
                    <a:pt x="6496" y="776"/>
                  </a:cubicBezTo>
                  <a:close/>
                  <a:moveTo>
                    <a:pt x="1966" y="435"/>
                  </a:moveTo>
                  <a:cubicBezTo>
                    <a:pt x="1680" y="567"/>
                    <a:pt x="1408" y="729"/>
                    <a:pt x="1153" y="923"/>
                  </a:cubicBezTo>
                  <a:cubicBezTo>
                    <a:pt x="1051" y="998"/>
                    <a:pt x="950" y="1080"/>
                    <a:pt x="853" y="1168"/>
                  </a:cubicBezTo>
                  <a:lnTo>
                    <a:pt x="853" y="1168"/>
                  </a:lnTo>
                  <a:cubicBezTo>
                    <a:pt x="1187" y="871"/>
                    <a:pt x="1563" y="624"/>
                    <a:pt x="1966" y="435"/>
                  </a:cubicBezTo>
                  <a:close/>
                  <a:moveTo>
                    <a:pt x="853" y="1168"/>
                  </a:moveTo>
                  <a:cubicBezTo>
                    <a:pt x="759" y="1252"/>
                    <a:pt x="668" y="1339"/>
                    <a:pt x="581" y="1431"/>
                  </a:cubicBezTo>
                  <a:lnTo>
                    <a:pt x="581" y="1431"/>
                  </a:lnTo>
                  <a:cubicBezTo>
                    <a:pt x="638" y="1372"/>
                    <a:pt x="698" y="1314"/>
                    <a:pt x="759" y="1258"/>
                  </a:cubicBezTo>
                  <a:cubicBezTo>
                    <a:pt x="790" y="1227"/>
                    <a:pt x="821" y="1197"/>
                    <a:pt x="853" y="1168"/>
                  </a:cubicBezTo>
                  <a:close/>
                  <a:moveTo>
                    <a:pt x="581" y="1431"/>
                  </a:moveTo>
                  <a:cubicBezTo>
                    <a:pt x="407" y="1610"/>
                    <a:pt x="249" y="1806"/>
                    <a:pt x="108" y="2015"/>
                  </a:cubicBezTo>
                  <a:lnTo>
                    <a:pt x="108" y="2015"/>
                  </a:lnTo>
                  <a:cubicBezTo>
                    <a:pt x="251" y="1806"/>
                    <a:pt x="409" y="1611"/>
                    <a:pt x="581" y="1431"/>
                  </a:cubicBezTo>
                  <a:close/>
                  <a:moveTo>
                    <a:pt x="108" y="2015"/>
                  </a:moveTo>
                  <a:lnTo>
                    <a:pt x="108" y="2015"/>
                  </a:lnTo>
                  <a:cubicBezTo>
                    <a:pt x="71" y="2069"/>
                    <a:pt x="36" y="2125"/>
                    <a:pt x="1" y="2181"/>
                  </a:cubicBezTo>
                  <a:lnTo>
                    <a:pt x="54" y="2099"/>
                  </a:lnTo>
                  <a:cubicBezTo>
                    <a:pt x="72" y="2070"/>
                    <a:pt x="90" y="2043"/>
                    <a:pt x="108" y="2015"/>
                  </a:cubicBezTo>
                  <a:close/>
                  <a:moveTo>
                    <a:pt x="6989" y="1152"/>
                  </a:moveTo>
                  <a:lnTo>
                    <a:pt x="6989" y="1158"/>
                  </a:lnTo>
                  <a:cubicBezTo>
                    <a:pt x="7025" y="1187"/>
                    <a:pt x="7060" y="1223"/>
                    <a:pt x="7101" y="1258"/>
                  </a:cubicBezTo>
                  <a:cubicBezTo>
                    <a:pt x="7366" y="1511"/>
                    <a:pt x="7607" y="1793"/>
                    <a:pt x="7806" y="2099"/>
                  </a:cubicBezTo>
                  <a:cubicBezTo>
                    <a:pt x="7901" y="2240"/>
                    <a:pt x="7989" y="2392"/>
                    <a:pt x="8065" y="2545"/>
                  </a:cubicBezTo>
                  <a:cubicBezTo>
                    <a:pt x="8230" y="2874"/>
                    <a:pt x="8359" y="3215"/>
                    <a:pt x="8441" y="3574"/>
                  </a:cubicBezTo>
                  <a:cubicBezTo>
                    <a:pt x="8459" y="3656"/>
                    <a:pt x="8477" y="3738"/>
                    <a:pt x="8494" y="3821"/>
                  </a:cubicBezTo>
                  <a:cubicBezTo>
                    <a:pt x="8306" y="2786"/>
                    <a:pt x="7777" y="1846"/>
                    <a:pt x="6989" y="1152"/>
                  </a:cubicBezTo>
                  <a:close/>
                  <a:moveTo>
                    <a:pt x="8494" y="3844"/>
                  </a:moveTo>
                  <a:lnTo>
                    <a:pt x="8494" y="3844"/>
                  </a:lnTo>
                  <a:cubicBezTo>
                    <a:pt x="8502" y="3893"/>
                    <a:pt x="8509" y="3945"/>
                    <a:pt x="8517" y="3998"/>
                  </a:cubicBezTo>
                  <a:lnTo>
                    <a:pt x="8517" y="3998"/>
                  </a:lnTo>
                  <a:cubicBezTo>
                    <a:pt x="8510" y="3946"/>
                    <a:pt x="8502" y="3895"/>
                    <a:pt x="8494" y="3844"/>
                  </a:cubicBezTo>
                  <a:close/>
                  <a:moveTo>
                    <a:pt x="8517" y="3998"/>
                  </a:moveTo>
                  <a:cubicBezTo>
                    <a:pt x="8526" y="4064"/>
                    <a:pt x="8533" y="4130"/>
                    <a:pt x="8540" y="4196"/>
                  </a:cubicBezTo>
                  <a:lnTo>
                    <a:pt x="8540" y="4196"/>
                  </a:lnTo>
                  <a:cubicBezTo>
                    <a:pt x="8537" y="4159"/>
                    <a:pt x="8533" y="4122"/>
                    <a:pt x="8529" y="4085"/>
                  </a:cubicBezTo>
                  <a:cubicBezTo>
                    <a:pt x="8525" y="4056"/>
                    <a:pt x="8521" y="4027"/>
                    <a:pt x="8517" y="3998"/>
                  </a:cubicBezTo>
                  <a:close/>
                  <a:moveTo>
                    <a:pt x="8540" y="4196"/>
                  </a:moveTo>
                  <a:cubicBezTo>
                    <a:pt x="8552" y="4336"/>
                    <a:pt x="8560" y="4475"/>
                    <a:pt x="8565" y="4614"/>
                  </a:cubicBezTo>
                  <a:cubicBezTo>
                    <a:pt x="8562" y="4475"/>
                    <a:pt x="8553" y="4335"/>
                    <a:pt x="8540" y="4196"/>
                  </a:cubicBezTo>
                  <a:close/>
                  <a:moveTo>
                    <a:pt x="8565" y="4655"/>
                  </a:moveTo>
                  <a:lnTo>
                    <a:pt x="8565" y="4655"/>
                  </a:lnTo>
                  <a:cubicBezTo>
                    <a:pt x="8559" y="4832"/>
                    <a:pt x="8547" y="5008"/>
                    <a:pt x="8529" y="5184"/>
                  </a:cubicBezTo>
                  <a:cubicBezTo>
                    <a:pt x="8528" y="5203"/>
                    <a:pt x="8525" y="5222"/>
                    <a:pt x="8523" y="5241"/>
                  </a:cubicBezTo>
                  <a:lnTo>
                    <a:pt x="8523" y="5241"/>
                  </a:lnTo>
                  <a:cubicBezTo>
                    <a:pt x="8549" y="5047"/>
                    <a:pt x="8563" y="4852"/>
                    <a:pt x="8565" y="4655"/>
                  </a:cubicBezTo>
                  <a:close/>
                  <a:moveTo>
                    <a:pt x="8523" y="5241"/>
                  </a:moveTo>
                  <a:cubicBezTo>
                    <a:pt x="8484" y="5535"/>
                    <a:pt x="8418" y="5826"/>
                    <a:pt x="8322" y="6108"/>
                  </a:cubicBezTo>
                  <a:lnTo>
                    <a:pt x="8322" y="6108"/>
                  </a:lnTo>
                  <a:cubicBezTo>
                    <a:pt x="8369" y="5972"/>
                    <a:pt x="8410" y="5834"/>
                    <a:pt x="8441" y="5696"/>
                  </a:cubicBezTo>
                  <a:cubicBezTo>
                    <a:pt x="8478" y="5544"/>
                    <a:pt x="8505" y="5392"/>
                    <a:pt x="8523" y="5241"/>
                  </a:cubicBezTo>
                  <a:close/>
                  <a:moveTo>
                    <a:pt x="8322" y="6108"/>
                  </a:moveTo>
                  <a:cubicBezTo>
                    <a:pt x="8308" y="6151"/>
                    <a:pt x="8292" y="6194"/>
                    <a:pt x="8277" y="6236"/>
                  </a:cubicBezTo>
                  <a:cubicBezTo>
                    <a:pt x="8293" y="6194"/>
                    <a:pt x="8308" y="6151"/>
                    <a:pt x="8322" y="6108"/>
                  </a:cubicBezTo>
                  <a:close/>
                  <a:moveTo>
                    <a:pt x="8277" y="6236"/>
                  </a:moveTo>
                  <a:cubicBezTo>
                    <a:pt x="8262" y="6276"/>
                    <a:pt x="8247" y="6316"/>
                    <a:pt x="8231" y="6355"/>
                  </a:cubicBezTo>
                  <a:lnTo>
                    <a:pt x="8231" y="6355"/>
                  </a:lnTo>
                  <a:cubicBezTo>
                    <a:pt x="8247" y="6318"/>
                    <a:pt x="8262" y="6280"/>
                    <a:pt x="8277" y="6242"/>
                  </a:cubicBezTo>
                  <a:lnTo>
                    <a:pt x="8277" y="6236"/>
                  </a:lnTo>
                  <a:close/>
                  <a:moveTo>
                    <a:pt x="8231" y="6355"/>
                  </a:moveTo>
                  <a:lnTo>
                    <a:pt x="8231" y="6355"/>
                  </a:lnTo>
                  <a:cubicBezTo>
                    <a:pt x="8179" y="6480"/>
                    <a:pt x="8124" y="6602"/>
                    <a:pt x="8065" y="6724"/>
                  </a:cubicBezTo>
                  <a:lnTo>
                    <a:pt x="8065" y="6724"/>
                  </a:lnTo>
                  <a:cubicBezTo>
                    <a:pt x="8126" y="6604"/>
                    <a:pt x="8181" y="6481"/>
                    <a:pt x="8231" y="6355"/>
                  </a:cubicBezTo>
                  <a:close/>
                  <a:moveTo>
                    <a:pt x="8065" y="6724"/>
                  </a:moveTo>
                  <a:cubicBezTo>
                    <a:pt x="8046" y="6762"/>
                    <a:pt x="8027" y="6800"/>
                    <a:pt x="8006" y="6837"/>
                  </a:cubicBezTo>
                  <a:lnTo>
                    <a:pt x="8006" y="6837"/>
                  </a:lnTo>
                  <a:cubicBezTo>
                    <a:pt x="8027" y="6800"/>
                    <a:pt x="8046" y="6762"/>
                    <a:pt x="8065" y="6724"/>
                  </a:cubicBezTo>
                  <a:cubicBezTo>
                    <a:pt x="8065" y="6724"/>
                    <a:pt x="8065" y="6724"/>
                    <a:pt x="8065" y="6724"/>
                  </a:cubicBezTo>
                  <a:close/>
                  <a:moveTo>
                    <a:pt x="8006" y="6837"/>
                  </a:moveTo>
                  <a:cubicBezTo>
                    <a:pt x="7945" y="6952"/>
                    <a:pt x="7876" y="7065"/>
                    <a:pt x="7801" y="7171"/>
                  </a:cubicBezTo>
                  <a:cubicBezTo>
                    <a:pt x="7712" y="7312"/>
                    <a:pt x="7613" y="7447"/>
                    <a:pt x="7507" y="7582"/>
                  </a:cubicBezTo>
                  <a:cubicBezTo>
                    <a:pt x="7697" y="7351"/>
                    <a:pt x="7864" y="7102"/>
                    <a:pt x="8006" y="6837"/>
                  </a:cubicBezTo>
                  <a:close/>
                </a:path>
              </a:pathLst>
            </a:custGeom>
            <a:solidFill>
              <a:srgbClr val="A9B9E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/>
                <a:sym typeface="Arial"/>
              </a:endParaRPr>
            </a:p>
          </p:txBody>
        </p:sp>
        <p:sp>
          <p:nvSpPr>
            <p:cNvPr id="399" name="Google Shape;1000;p43">
              <a:extLst>
                <a:ext uri="{FF2B5EF4-FFF2-40B4-BE49-F238E27FC236}">
                  <a16:creationId xmlns="" xmlns:a16="http://schemas.microsoft.com/office/drawing/2014/main" id="{E6650627-9C64-4AD5-81A9-55C851EF334C}"/>
                </a:ext>
              </a:extLst>
            </p:cNvPr>
            <p:cNvSpPr/>
            <p:nvPr/>
          </p:nvSpPr>
          <p:spPr>
            <a:xfrm>
              <a:off x="9040747" y="2260493"/>
              <a:ext cx="630633" cy="559657"/>
            </a:xfrm>
            <a:custGeom>
              <a:avLst/>
              <a:gdLst/>
              <a:ahLst/>
              <a:cxnLst/>
              <a:rect l="l" t="t" r="r" b="b"/>
              <a:pathLst>
                <a:path w="8512" h="7554" extrusionOk="0">
                  <a:moveTo>
                    <a:pt x="3622" y="1"/>
                  </a:moveTo>
                  <a:cubicBezTo>
                    <a:pt x="3257" y="18"/>
                    <a:pt x="2893" y="83"/>
                    <a:pt x="2540" y="189"/>
                  </a:cubicBezTo>
                  <a:lnTo>
                    <a:pt x="2728" y="818"/>
                  </a:lnTo>
                  <a:cubicBezTo>
                    <a:pt x="2940" y="788"/>
                    <a:pt x="3151" y="771"/>
                    <a:pt x="3363" y="771"/>
                  </a:cubicBezTo>
                  <a:cubicBezTo>
                    <a:pt x="3463" y="771"/>
                    <a:pt x="3563" y="771"/>
                    <a:pt x="3669" y="782"/>
                  </a:cubicBezTo>
                  <a:lnTo>
                    <a:pt x="3622" y="1"/>
                  </a:lnTo>
                  <a:close/>
                  <a:moveTo>
                    <a:pt x="4133" y="1"/>
                  </a:moveTo>
                  <a:lnTo>
                    <a:pt x="4092" y="829"/>
                  </a:lnTo>
                  <a:cubicBezTo>
                    <a:pt x="4386" y="876"/>
                    <a:pt x="4674" y="953"/>
                    <a:pt x="4956" y="1053"/>
                  </a:cubicBezTo>
                  <a:lnTo>
                    <a:pt x="5214" y="189"/>
                  </a:lnTo>
                  <a:cubicBezTo>
                    <a:pt x="5120" y="159"/>
                    <a:pt x="5026" y="136"/>
                    <a:pt x="4932" y="112"/>
                  </a:cubicBezTo>
                  <a:cubicBezTo>
                    <a:pt x="4668" y="54"/>
                    <a:pt x="4403" y="12"/>
                    <a:pt x="4133" y="1"/>
                  </a:cubicBezTo>
                  <a:close/>
                  <a:moveTo>
                    <a:pt x="2052" y="359"/>
                  </a:moveTo>
                  <a:cubicBezTo>
                    <a:pt x="1711" y="500"/>
                    <a:pt x="1394" y="682"/>
                    <a:pt x="1100" y="906"/>
                  </a:cubicBezTo>
                  <a:lnTo>
                    <a:pt x="1341" y="1223"/>
                  </a:lnTo>
                  <a:cubicBezTo>
                    <a:pt x="1641" y="1076"/>
                    <a:pt x="1952" y="965"/>
                    <a:pt x="2275" y="888"/>
                  </a:cubicBezTo>
                  <a:lnTo>
                    <a:pt x="2052" y="359"/>
                  </a:lnTo>
                  <a:close/>
                  <a:moveTo>
                    <a:pt x="5702" y="359"/>
                  </a:moveTo>
                  <a:lnTo>
                    <a:pt x="5338" y="1206"/>
                  </a:lnTo>
                  <a:cubicBezTo>
                    <a:pt x="5602" y="1335"/>
                    <a:pt x="5855" y="1482"/>
                    <a:pt x="6090" y="1658"/>
                  </a:cubicBezTo>
                  <a:lnTo>
                    <a:pt x="6649" y="906"/>
                  </a:lnTo>
                  <a:cubicBezTo>
                    <a:pt x="6584" y="853"/>
                    <a:pt x="6513" y="806"/>
                    <a:pt x="6443" y="759"/>
                  </a:cubicBezTo>
                  <a:lnTo>
                    <a:pt x="6437" y="759"/>
                  </a:lnTo>
                  <a:lnTo>
                    <a:pt x="6431" y="753"/>
                  </a:lnTo>
                  <a:lnTo>
                    <a:pt x="6425" y="747"/>
                  </a:lnTo>
                  <a:lnTo>
                    <a:pt x="6378" y="718"/>
                  </a:lnTo>
                  <a:lnTo>
                    <a:pt x="6372" y="712"/>
                  </a:lnTo>
                  <a:lnTo>
                    <a:pt x="6361" y="712"/>
                  </a:lnTo>
                  <a:cubicBezTo>
                    <a:pt x="6149" y="577"/>
                    <a:pt x="5931" y="465"/>
                    <a:pt x="5702" y="365"/>
                  </a:cubicBezTo>
                  <a:lnTo>
                    <a:pt x="5702" y="359"/>
                  </a:lnTo>
                  <a:close/>
                  <a:moveTo>
                    <a:pt x="706" y="1241"/>
                  </a:moveTo>
                  <a:cubicBezTo>
                    <a:pt x="436" y="1488"/>
                    <a:pt x="201" y="1770"/>
                    <a:pt x="1" y="2081"/>
                  </a:cubicBezTo>
                  <a:lnTo>
                    <a:pt x="71" y="2128"/>
                  </a:lnTo>
                  <a:cubicBezTo>
                    <a:pt x="324" y="1870"/>
                    <a:pt x="606" y="1646"/>
                    <a:pt x="912" y="1458"/>
                  </a:cubicBezTo>
                  <a:lnTo>
                    <a:pt x="706" y="1241"/>
                  </a:lnTo>
                  <a:close/>
                  <a:moveTo>
                    <a:pt x="7048" y="1241"/>
                  </a:moveTo>
                  <a:lnTo>
                    <a:pt x="6413" y="1917"/>
                  </a:lnTo>
                  <a:cubicBezTo>
                    <a:pt x="6631" y="2111"/>
                    <a:pt x="6837" y="2322"/>
                    <a:pt x="7019" y="2557"/>
                  </a:cubicBezTo>
                  <a:lnTo>
                    <a:pt x="7754" y="2076"/>
                  </a:lnTo>
                  <a:cubicBezTo>
                    <a:pt x="7554" y="1770"/>
                    <a:pt x="7313" y="1488"/>
                    <a:pt x="7048" y="1241"/>
                  </a:cubicBezTo>
                  <a:close/>
                  <a:moveTo>
                    <a:pt x="8012" y="2516"/>
                  </a:moveTo>
                  <a:lnTo>
                    <a:pt x="7260" y="2898"/>
                  </a:lnTo>
                  <a:cubicBezTo>
                    <a:pt x="7424" y="3157"/>
                    <a:pt x="7566" y="3433"/>
                    <a:pt x="7677" y="3715"/>
                  </a:cubicBezTo>
                  <a:lnTo>
                    <a:pt x="8388" y="3551"/>
                  </a:lnTo>
                  <a:cubicBezTo>
                    <a:pt x="8306" y="3192"/>
                    <a:pt x="8177" y="2846"/>
                    <a:pt x="8012" y="2522"/>
                  </a:cubicBezTo>
                  <a:lnTo>
                    <a:pt x="8012" y="2516"/>
                  </a:lnTo>
                  <a:close/>
                  <a:moveTo>
                    <a:pt x="8477" y="4062"/>
                  </a:moveTo>
                  <a:cubicBezTo>
                    <a:pt x="8477" y="4062"/>
                    <a:pt x="8477" y="4063"/>
                    <a:pt x="8477" y="4063"/>
                  </a:cubicBezTo>
                  <a:lnTo>
                    <a:pt x="8477" y="4063"/>
                  </a:lnTo>
                  <a:lnTo>
                    <a:pt x="8482" y="4062"/>
                  </a:lnTo>
                  <a:close/>
                  <a:moveTo>
                    <a:pt x="8477" y="4063"/>
                  </a:moveTo>
                  <a:lnTo>
                    <a:pt x="7818" y="4144"/>
                  </a:lnTo>
                  <a:cubicBezTo>
                    <a:pt x="7906" y="4456"/>
                    <a:pt x="7959" y="4779"/>
                    <a:pt x="7983" y="5103"/>
                  </a:cubicBezTo>
                  <a:lnTo>
                    <a:pt x="8476" y="5161"/>
                  </a:lnTo>
                  <a:lnTo>
                    <a:pt x="8476" y="5161"/>
                  </a:lnTo>
                  <a:cubicBezTo>
                    <a:pt x="8476" y="5159"/>
                    <a:pt x="8476" y="5157"/>
                    <a:pt x="8477" y="5155"/>
                  </a:cubicBezTo>
                  <a:cubicBezTo>
                    <a:pt x="8500" y="4985"/>
                    <a:pt x="8506" y="4809"/>
                    <a:pt x="8512" y="4632"/>
                  </a:cubicBezTo>
                  <a:lnTo>
                    <a:pt x="8512" y="4615"/>
                  </a:lnTo>
                  <a:lnTo>
                    <a:pt x="8512" y="4591"/>
                  </a:lnTo>
                  <a:cubicBezTo>
                    <a:pt x="8506" y="4415"/>
                    <a:pt x="8500" y="4239"/>
                    <a:pt x="8477" y="4063"/>
                  </a:cubicBezTo>
                  <a:close/>
                  <a:moveTo>
                    <a:pt x="8476" y="5161"/>
                  </a:moveTo>
                  <a:lnTo>
                    <a:pt x="8476" y="5161"/>
                  </a:lnTo>
                  <a:cubicBezTo>
                    <a:pt x="8458" y="5336"/>
                    <a:pt x="8429" y="5504"/>
                    <a:pt x="8388" y="5667"/>
                  </a:cubicBezTo>
                  <a:cubicBezTo>
                    <a:pt x="8388" y="5669"/>
                    <a:pt x="8388" y="5671"/>
                    <a:pt x="8387" y="5672"/>
                  </a:cubicBezTo>
                  <a:lnTo>
                    <a:pt x="8387" y="5672"/>
                  </a:lnTo>
                  <a:lnTo>
                    <a:pt x="7989" y="5579"/>
                  </a:lnTo>
                  <a:cubicBezTo>
                    <a:pt x="7971" y="5925"/>
                    <a:pt x="7924" y="6266"/>
                    <a:pt x="7830" y="6607"/>
                  </a:cubicBezTo>
                  <a:lnTo>
                    <a:pt x="8012" y="6695"/>
                  </a:lnTo>
                  <a:cubicBezTo>
                    <a:pt x="8095" y="6543"/>
                    <a:pt x="8165" y="6378"/>
                    <a:pt x="8224" y="6213"/>
                  </a:cubicBezTo>
                  <a:cubicBezTo>
                    <a:pt x="8294" y="6039"/>
                    <a:pt x="8346" y="5859"/>
                    <a:pt x="8387" y="5672"/>
                  </a:cubicBezTo>
                  <a:lnTo>
                    <a:pt x="8387" y="5672"/>
                  </a:lnTo>
                  <a:lnTo>
                    <a:pt x="8388" y="5673"/>
                  </a:lnTo>
                  <a:cubicBezTo>
                    <a:pt x="8430" y="5502"/>
                    <a:pt x="8459" y="5332"/>
                    <a:pt x="8477" y="5161"/>
                  </a:cubicBezTo>
                  <a:lnTo>
                    <a:pt x="8476" y="5161"/>
                  </a:lnTo>
                  <a:close/>
                  <a:moveTo>
                    <a:pt x="7671" y="7089"/>
                  </a:moveTo>
                  <a:cubicBezTo>
                    <a:pt x="7607" y="7248"/>
                    <a:pt x="7536" y="7407"/>
                    <a:pt x="7454" y="7554"/>
                  </a:cubicBezTo>
                  <a:cubicBezTo>
                    <a:pt x="7560" y="7424"/>
                    <a:pt x="7660" y="7289"/>
                    <a:pt x="7754" y="7142"/>
                  </a:cubicBezTo>
                  <a:lnTo>
                    <a:pt x="7671" y="7089"/>
                  </a:lnTo>
                  <a:close/>
                </a:path>
              </a:pathLst>
            </a:custGeom>
            <a:solidFill>
              <a:srgbClr val="C8D3EA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/>
                <a:sym typeface="Arial"/>
              </a:endParaRPr>
            </a:p>
          </p:txBody>
        </p:sp>
        <p:sp>
          <p:nvSpPr>
            <p:cNvPr id="400" name="Google Shape;1001;p43">
              <a:extLst>
                <a:ext uri="{FF2B5EF4-FFF2-40B4-BE49-F238E27FC236}">
                  <a16:creationId xmlns="" xmlns:a16="http://schemas.microsoft.com/office/drawing/2014/main" id="{B852FF19-22DD-47A4-A158-09D6C540D98D}"/>
                </a:ext>
              </a:extLst>
            </p:cNvPr>
            <p:cNvSpPr/>
            <p:nvPr/>
          </p:nvSpPr>
          <p:spPr>
            <a:xfrm>
              <a:off x="9308575" y="2259234"/>
              <a:ext cx="38377" cy="61863"/>
            </a:xfrm>
            <a:custGeom>
              <a:avLst/>
              <a:gdLst/>
              <a:ahLst/>
              <a:cxnLst/>
              <a:rect l="l" t="t" r="r" b="b"/>
              <a:pathLst>
                <a:path w="518" h="835" extrusionOk="0">
                  <a:moveTo>
                    <a:pt x="77" y="0"/>
                  </a:moveTo>
                  <a:cubicBezTo>
                    <a:pt x="54" y="0"/>
                    <a:pt x="24" y="0"/>
                    <a:pt x="1" y="6"/>
                  </a:cubicBezTo>
                  <a:lnTo>
                    <a:pt x="48" y="788"/>
                  </a:lnTo>
                  <a:cubicBezTo>
                    <a:pt x="189" y="794"/>
                    <a:pt x="330" y="811"/>
                    <a:pt x="471" y="835"/>
                  </a:cubicBezTo>
                  <a:lnTo>
                    <a:pt x="518" y="6"/>
                  </a:lnTo>
                  <a:cubicBezTo>
                    <a:pt x="483" y="6"/>
                    <a:pt x="447" y="0"/>
                    <a:pt x="412" y="0"/>
                  </a:cubicBezTo>
                  <a:close/>
                </a:path>
              </a:pathLst>
            </a:custGeom>
            <a:solidFill>
              <a:srgbClr val="BCC8E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/>
                <a:sym typeface="Arial"/>
              </a:endParaRPr>
            </a:p>
          </p:txBody>
        </p:sp>
        <p:sp>
          <p:nvSpPr>
            <p:cNvPr id="401" name="Google Shape;1002;p43">
              <a:extLst>
                <a:ext uri="{FF2B5EF4-FFF2-40B4-BE49-F238E27FC236}">
                  <a16:creationId xmlns="" xmlns:a16="http://schemas.microsoft.com/office/drawing/2014/main" id="{31A9540E-F270-45D1-B9AD-234B1C5FF3CB}"/>
                </a:ext>
              </a:extLst>
            </p:cNvPr>
            <p:cNvSpPr/>
            <p:nvPr/>
          </p:nvSpPr>
          <p:spPr>
            <a:xfrm>
              <a:off x="9192776" y="2273533"/>
              <a:ext cx="50157" cy="52824"/>
            </a:xfrm>
            <a:custGeom>
              <a:avLst/>
              <a:gdLst/>
              <a:ahLst/>
              <a:cxnLst/>
              <a:rect l="l" t="t" r="r" b="b"/>
              <a:pathLst>
                <a:path w="677" h="713" extrusionOk="0">
                  <a:moveTo>
                    <a:pt x="488" y="1"/>
                  </a:moveTo>
                  <a:cubicBezTo>
                    <a:pt x="318" y="54"/>
                    <a:pt x="159" y="113"/>
                    <a:pt x="0" y="183"/>
                  </a:cubicBezTo>
                  <a:lnTo>
                    <a:pt x="229" y="712"/>
                  </a:lnTo>
                  <a:cubicBezTo>
                    <a:pt x="376" y="677"/>
                    <a:pt x="523" y="653"/>
                    <a:pt x="676" y="630"/>
                  </a:cubicBezTo>
                  <a:lnTo>
                    <a:pt x="488" y="1"/>
                  </a:lnTo>
                  <a:close/>
                </a:path>
              </a:pathLst>
            </a:custGeom>
            <a:solidFill>
              <a:srgbClr val="BCC8E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/>
                <a:sym typeface="Arial"/>
              </a:endParaRPr>
            </a:p>
          </p:txBody>
        </p:sp>
        <p:sp>
          <p:nvSpPr>
            <p:cNvPr id="402" name="Google Shape;1003;p43">
              <a:extLst>
                <a:ext uri="{FF2B5EF4-FFF2-40B4-BE49-F238E27FC236}">
                  <a16:creationId xmlns="" xmlns:a16="http://schemas.microsoft.com/office/drawing/2014/main" id="{9AF11214-B4D2-46E1-B358-63E47CD6A3BC}"/>
                </a:ext>
              </a:extLst>
            </p:cNvPr>
            <p:cNvSpPr/>
            <p:nvPr/>
          </p:nvSpPr>
          <p:spPr>
            <a:xfrm>
              <a:off x="9093053" y="2327543"/>
              <a:ext cx="47046" cy="41044"/>
            </a:xfrm>
            <a:custGeom>
              <a:avLst/>
              <a:gdLst/>
              <a:ahLst/>
              <a:cxnLst/>
              <a:rect l="l" t="t" r="r" b="b"/>
              <a:pathLst>
                <a:path w="635" h="554" extrusionOk="0">
                  <a:moveTo>
                    <a:pt x="394" y="1"/>
                  </a:moveTo>
                  <a:cubicBezTo>
                    <a:pt x="259" y="107"/>
                    <a:pt x="124" y="218"/>
                    <a:pt x="0" y="336"/>
                  </a:cubicBezTo>
                  <a:lnTo>
                    <a:pt x="206" y="553"/>
                  </a:lnTo>
                  <a:cubicBezTo>
                    <a:pt x="347" y="471"/>
                    <a:pt x="488" y="389"/>
                    <a:pt x="635" y="318"/>
                  </a:cubicBezTo>
                  <a:lnTo>
                    <a:pt x="394" y="1"/>
                  </a:lnTo>
                  <a:close/>
                </a:path>
              </a:pathLst>
            </a:custGeom>
            <a:solidFill>
              <a:srgbClr val="BCC8E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/>
                <a:sym typeface="Arial"/>
              </a:endParaRPr>
            </a:p>
          </p:txBody>
        </p:sp>
        <p:sp>
          <p:nvSpPr>
            <p:cNvPr id="403" name="Google Shape;1004;p43">
              <a:extLst>
                <a:ext uri="{FF2B5EF4-FFF2-40B4-BE49-F238E27FC236}">
                  <a16:creationId xmlns="" xmlns:a16="http://schemas.microsoft.com/office/drawing/2014/main" id="{F1DEC73F-BE89-4A12-9D2C-198D4DF48F89}"/>
                </a:ext>
              </a:extLst>
            </p:cNvPr>
            <p:cNvSpPr/>
            <p:nvPr/>
          </p:nvSpPr>
          <p:spPr>
            <a:xfrm>
              <a:off x="9025115" y="2414670"/>
              <a:ext cx="21411" cy="27042"/>
            </a:xfrm>
            <a:custGeom>
              <a:avLst/>
              <a:gdLst/>
              <a:ahLst/>
              <a:cxnLst/>
              <a:rect l="l" t="t" r="r" b="b"/>
              <a:pathLst>
                <a:path w="289" h="365" extrusionOk="0">
                  <a:moveTo>
                    <a:pt x="212" y="0"/>
                  </a:moveTo>
                  <a:lnTo>
                    <a:pt x="159" y="83"/>
                  </a:lnTo>
                  <a:cubicBezTo>
                    <a:pt x="100" y="177"/>
                    <a:pt x="47" y="271"/>
                    <a:pt x="0" y="365"/>
                  </a:cubicBezTo>
                  <a:cubicBezTo>
                    <a:pt x="88" y="253"/>
                    <a:pt x="182" y="147"/>
                    <a:pt x="288" y="47"/>
                  </a:cubicBezTo>
                  <a:lnTo>
                    <a:pt x="212" y="0"/>
                  </a:lnTo>
                  <a:close/>
                </a:path>
              </a:pathLst>
            </a:custGeom>
            <a:solidFill>
              <a:srgbClr val="BCC8E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/>
                <a:sym typeface="Arial"/>
              </a:endParaRPr>
            </a:p>
          </p:txBody>
        </p:sp>
        <p:sp>
          <p:nvSpPr>
            <p:cNvPr id="404" name="Google Shape;1005;p43">
              <a:extLst>
                <a:ext uri="{FF2B5EF4-FFF2-40B4-BE49-F238E27FC236}">
                  <a16:creationId xmlns="" xmlns:a16="http://schemas.microsoft.com/office/drawing/2014/main" id="{1E7369B5-6EE8-4DD9-A892-AA141F2CD91C}"/>
                </a:ext>
              </a:extLst>
            </p:cNvPr>
            <p:cNvSpPr/>
            <p:nvPr/>
          </p:nvSpPr>
          <p:spPr>
            <a:xfrm>
              <a:off x="9609076" y="2749992"/>
              <a:ext cx="25782" cy="40155"/>
            </a:xfrm>
            <a:custGeom>
              <a:avLst/>
              <a:gdLst/>
              <a:ahLst/>
              <a:cxnLst/>
              <a:rect l="l" t="t" r="r" b="b"/>
              <a:pathLst>
                <a:path w="348" h="542" extrusionOk="0">
                  <a:moveTo>
                    <a:pt x="165" y="0"/>
                  </a:moveTo>
                  <a:cubicBezTo>
                    <a:pt x="118" y="165"/>
                    <a:pt x="65" y="329"/>
                    <a:pt x="0" y="488"/>
                  </a:cubicBezTo>
                  <a:lnTo>
                    <a:pt x="83" y="541"/>
                  </a:lnTo>
                  <a:cubicBezTo>
                    <a:pt x="183" y="400"/>
                    <a:pt x="271" y="247"/>
                    <a:pt x="347" y="94"/>
                  </a:cubicBezTo>
                  <a:lnTo>
                    <a:pt x="165" y="0"/>
                  </a:lnTo>
                  <a:close/>
                </a:path>
              </a:pathLst>
            </a:custGeom>
            <a:solidFill>
              <a:srgbClr val="BCC8E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/>
                <a:sym typeface="Arial"/>
              </a:endParaRPr>
            </a:p>
          </p:txBody>
        </p:sp>
        <p:sp>
          <p:nvSpPr>
            <p:cNvPr id="405" name="Google Shape;1006;p43">
              <a:extLst>
                <a:ext uri="{FF2B5EF4-FFF2-40B4-BE49-F238E27FC236}">
                  <a16:creationId xmlns="" xmlns:a16="http://schemas.microsoft.com/office/drawing/2014/main" id="{7CB9D671-7ED7-4240-BFB4-1EE8981546F2}"/>
                </a:ext>
              </a:extLst>
            </p:cNvPr>
            <p:cNvSpPr/>
            <p:nvPr/>
          </p:nvSpPr>
          <p:spPr>
            <a:xfrm>
              <a:off x="9632117" y="2638490"/>
              <a:ext cx="37118" cy="41859"/>
            </a:xfrm>
            <a:custGeom>
              <a:avLst/>
              <a:gdLst/>
              <a:ahLst/>
              <a:cxnLst/>
              <a:rect l="l" t="t" r="r" b="b"/>
              <a:pathLst>
                <a:path w="501" h="565" extrusionOk="0">
                  <a:moveTo>
                    <a:pt x="1" y="1"/>
                  </a:moveTo>
                  <a:cubicBezTo>
                    <a:pt x="7" y="95"/>
                    <a:pt x="13" y="195"/>
                    <a:pt x="13" y="294"/>
                  </a:cubicBezTo>
                  <a:lnTo>
                    <a:pt x="13" y="471"/>
                  </a:lnTo>
                  <a:lnTo>
                    <a:pt x="412" y="565"/>
                  </a:lnTo>
                  <a:cubicBezTo>
                    <a:pt x="453" y="400"/>
                    <a:pt x="483" y="230"/>
                    <a:pt x="500" y="59"/>
                  </a:cubicBezTo>
                  <a:lnTo>
                    <a:pt x="7" y="1"/>
                  </a:lnTo>
                  <a:close/>
                </a:path>
              </a:pathLst>
            </a:custGeom>
            <a:solidFill>
              <a:srgbClr val="BCC8E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/>
                <a:sym typeface="Arial"/>
              </a:endParaRPr>
            </a:p>
          </p:txBody>
        </p:sp>
        <p:sp>
          <p:nvSpPr>
            <p:cNvPr id="406" name="Google Shape;1007;p43">
              <a:extLst>
                <a:ext uri="{FF2B5EF4-FFF2-40B4-BE49-F238E27FC236}">
                  <a16:creationId xmlns="" xmlns:a16="http://schemas.microsoft.com/office/drawing/2014/main" id="{4102DE6F-CC4C-404A-8B2A-643FFE6B50FD}"/>
                </a:ext>
              </a:extLst>
            </p:cNvPr>
            <p:cNvSpPr/>
            <p:nvPr/>
          </p:nvSpPr>
          <p:spPr>
            <a:xfrm>
              <a:off x="9609520" y="2523950"/>
              <a:ext cx="59715" cy="43638"/>
            </a:xfrm>
            <a:custGeom>
              <a:avLst/>
              <a:gdLst/>
              <a:ahLst/>
              <a:cxnLst/>
              <a:rect l="l" t="t" r="r" b="b"/>
              <a:pathLst>
                <a:path w="806" h="589" extrusionOk="0">
                  <a:moveTo>
                    <a:pt x="711" y="1"/>
                  </a:moveTo>
                  <a:lnTo>
                    <a:pt x="0" y="165"/>
                  </a:lnTo>
                  <a:cubicBezTo>
                    <a:pt x="59" y="300"/>
                    <a:pt x="106" y="442"/>
                    <a:pt x="141" y="588"/>
                  </a:cubicBezTo>
                  <a:lnTo>
                    <a:pt x="805" y="506"/>
                  </a:lnTo>
                  <a:cubicBezTo>
                    <a:pt x="794" y="424"/>
                    <a:pt x="782" y="342"/>
                    <a:pt x="770" y="265"/>
                  </a:cubicBezTo>
                  <a:lnTo>
                    <a:pt x="770" y="253"/>
                  </a:lnTo>
                  <a:lnTo>
                    <a:pt x="770" y="242"/>
                  </a:lnTo>
                  <a:cubicBezTo>
                    <a:pt x="753" y="159"/>
                    <a:pt x="735" y="77"/>
                    <a:pt x="717" y="1"/>
                  </a:cubicBezTo>
                  <a:close/>
                </a:path>
              </a:pathLst>
            </a:custGeom>
            <a:solidFill>
              <a:srgbClr val="BCC8E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/>
                <a:sym typeface="Arial"/>
              </a:endParaRPr>
            </a:p>
          </p:txBody>
        </p:sp>
        <p:sp>
          <p:nvSpPr>
            <p:cNvPr id="407" name="Google Shape;1008;p43">
              <a:extLst>
                <a:ext uri="{FF2B5EF4-FFF2-40B4-BE49-F238E27FC236}">
                  <a16:creationId xmlns="" xmlns:a16="http://schemas.microsoft.com/office/drawing/2014/main" id="{292C5411-5D90-470B-AA63-89EF636D28CC}"/>
                </a:ext>
              </a:extLst>
            </p:cNvPr>
            <p:cNvSpPr/>
            <p:nvPr/>
          </p:nvSpPr>
          <p:spPr>
            <a:xfrm>
              <a:off x="9560696" y="2414226"/>
              <a:ext cx="73717" cy="61493"/>
            </a:xfrm>
            <a:custGeom>
              <a:avLst/>
              <a:gdLst/>
              <a:ahLst/>
              <a:cxnLst/>
              <a:rect l="l" t="t" r="r" b="b"/>
              <a:pathLst>
                <a:path w="995" h="830" extrusionOk="0">
                  <a:moveTo>
                    <a:pt x="736" y="1"/>
                  </a:moveTo>
                  <a:lnTo>
                    <a:pt x="1" y="482"/>
                  </a:lnTo>
                  <a:cubicBezTo>
                    <a:pt x="89" y="594"/>
                    <a:pt x="171" y="706"/>
                    <a:pt x="248" y="829"/>
                  </a:cubicBezTo>
                  <a:lnTo>
                    <a:pt x="994" y="447"/>
                  </a:lnTo>
                  <a:cubicBezTo>
                    <a:pt x="918" y="294"/>
                    <a:pt x="830" y="142"/>
                    <a:pt x="736" y="1"/>
                  </a:cubicBezTo>
                  <a:close/>
                </a:path>
              </a:pathLst>
            </a:custGeom>
            <a:solidFill>
              <a:srgbClr val="BCC8E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/>
                <a:sym typeface="Arial"/>
              </a:endParaRPr>
            </a:p>
          </p:txBody>
        </p:sp>
        <p:sp>
          <p:nvSpPr>
            <p:cNvPr id="408" name="Google Shape;1009;p43">
              <a:extLst>
                <a:ext uri="{FF2B5EF4-FFF2-40B4-BE49-F238E27FC236}">
                  <a16:creationId xmlns="" xmlns:a16="http://schemas.microsoft.com/office/drawing/2014/main" id="{80529827-BEC8-46A8-8F57-BED5757704B0}"/>
                </a:ext>
              </a:extLst>
            </p:cNvPr>
            <p:cNvSpPr/>
            <p:nvPr/>
          </p:nvSpPr>
          <p:spPr>
            <a:xfrm>
              <a:off x="9491943" y="2327098"/>
              <a:ext cx="71050" cy="74977"/>
            </a:xfrm>
            <a:custGeom>
              <a:avLst/>
              <a:gdLst/>
              <a:ahLst/>
              <a:cxnLst/>
              <a:rect l="l" t="t" r="r" b="b"/>
              <a:pathLst>
                <a:path w="959" h="1012" extrusionOk="0">
                  <a:moveTo>
                    <a:pt x="564" y="1"/>
                  </a:moveTo>
                  <a:lnTo>
                    <a:pt x="0" y="753"/>
                  </a:lnTo>
                  <a:cubicBezTo>
                    <a:pt x="112" y="836"/>
                    <a:pt x="218" y="924"/>
                    <a:pt x="323" y="1012"/>
                  </a:cubicBezTo>
                  <a:lnTo>
                    <a:pt x="958" y="336"/>
                  </a:lnTo>
                  <a:cubicBezTo>
                    <a:pt x="923" y="301"/>
                    <a:pt x="888" y="265"/>
                    <a:pt x="847" y="236"/>
                  </a:cubicBezTo>
                  <a:cubicBezTo>
                    <a:pt x="794" y="189"/>
                    <a:pt x="741" y="142"/>
                    <a:pt x="688" y="101"/>
                  </a:cubicBezTo>
                  <a:cubicBezTo>
                    <a:pt x="647" y="66"/>
                    <a:pt x="606" y="36"/>
                    <a:pt x="564" y="1"/>
                  </a:cubicBezTo>
                  <a:close/>
                </a:path>
              </a:pathLst>
            </a:custGeom>
            <a:solidFill>
              <a:srgbClr val="BCC8E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/>
                <a:sym typeface="Arial"/>
              </a:endParaRPr>
            </a:p>
          </p:txBody>
        </p:sp>
        <p:sp>
          <p:nvSpPr>
            <p:cNvPr id="409" name="Google Shape;1010;p43">
              <a:extLst>
                <a:ext uri="{FF2B5EF4-FFF2-40B4-BE49-F238E27FC236}">
                  <a16:creationId xmlns="" xmlns:a16="http://schemas.microsoft.com/office/drawing/2014/main" id="{E3157D3A-64A7-4A81-ABF0-7AE257836299}"/>
                </a:ext>
              </a:extLst>
            </p:cNvPr>
            <p:cNvSpPr/>
            <p:nvPr/>
          </p:nvSpPr>
          <p:spPr>
            <a:xfrm>
              <a:off x="9407853" y="2273533"/>
              <a:ext cx="55417" cy="76310"/>
            </a:xfrm>
            <a:custGeom>
              <a:avLst/>
              <a:gdLst/>
              <a:ahLst/>
              <a:cxnLst/>
              <a:rect l="l" t="t" r="r" b="b"/>
              <a:pathLst>
                <a:path w="748" h="1030" extrusionOk="0">
                  <a:moveTo>
                    <a:pt x="259" y="1"/>
                  </a:moveTo>
                  <a:lnTo>
                    <a:pt x="1" y="871"/>
                  </a:lnTo>
                  <a:cubicBezTo>
                    <a:pt x="130" y="918"/>
                    <a:pt x="259" y="971"/>
                    <a:pt x="383" y="1030"/>
                  </a:cubicBezTo>
                  <a:lnTo>
                    <a:pt x="747" y="177"/>
                  </a:lnTo>
                  <a:cubicBezTo>
                    <a:pt x="618" y="124"/>
                    <a:pt x="477" y="72"/>
                    <a:pt x="342" y="24"/>
                  </a:cubicBezTo>
                  <a:lnTo>
                    <a:pt x="259" y="1"/>
                  </a:lnTo>
                  <a:close/>
                </a:path>
              </a:pathLst>
            </a:custGeom>
            <a:solidFill>
              <a:srgbClr val="BCC8E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/>
                <a:sym typeface="Arial"/>
              </a:endParaRPr>
            </a:p>
          </p:txBody>
        </p:sp>
        <p:sp>
          <p:nvSpPr>
            <p:cNvPr id="410" name="Google Shape;1011;p43">
              <a:extLst>
                <a:ext uri="{FF2B5EF4-FFF2-40B4-BE49-F238E27FC236}">
                  <a16:creationId xmlns="" xmlns:a16="http://schemas.microsoft.com/office/drawing/2014/main" id="{1DE8266C-3C1B-4CF5-8023-ADAFC61BA5B1}"/>
                </a:ext>
              </a:extLst>
            </p:cNvPr>
            <p:cNvSpPr/>
            <p:nvPr/>
          </p:nvSpPr>
          <p:spPr>
            <a:xfrm>
              <a:off x="3512825" y="1959178"/>
              <a:ext cx="3034476" cy="689829"/>
            </a:xfrm>
            <a:custGeom>
              <a:avLst/>
              <a:gdLst/>
              <a:ahLst/>
              <a:cxnLst/>
              <a:rect l="l" t="t" r="r" b="b"/>
              <a:pathLst>
                <a:path w="40958" h="9311" extrusionOk="0">
                  <a:moveTo>
                    <a:pt x="37207" y="0"/>
                  </a:moveTo>
                  <a:cubicBezTo>
                    <a:pt x="37207" y="0"/>
                    <a:pt x="2217" y="2298"/>
                    <a:pt x="1376" y="2298"/>
                  </a:cubicBezTo>
                  <a:cubicBezTo>
                    <a:pt x="736" y="2298"/>
                    <a:pt x="359" y="2957"/>
                    <a:pt x="183" y="3427"/>
                  </a:cubicBezTo>
                  <a:cubicBezTo>
                    <a:pt x="136" y="3545"/>
                    <a:pt x="95" y="3668"/>
                    <a:pt x="71" y="3791"/>
                  </a:cubicBezTo>
                  <a:lnTo>
                    <a:pt x="65" y="3797"/>
                  </a:lnTo>
                  <a:cubicBezTo>
                    <a:pt x="1" y="4121"/>
                    <a:pt x="40957" y="9311"/>
                    <a:pt x="40957" y="9311"/>
                  </a:cubicBezTo>
                  <a:lnTo>
                    <a:pt x="38595" y="3450"/>
                  </a:lnTo>
                  <a:lnTo>
                    <a:pt x="3720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/>
                <a:sym typeface="Arial"/>
              </a:endParaRPr>
            </a:p>
          </p:txBody>
        </p:sp>
        <p:sp>
          <p:nvSpPr>
            <p:cNvPr id="411" name="Google Shape;1012;p43">
              <a:extLst>
                <a:ext uri="{FF2B5EF4-FFF2-40B4-BE49-F238E27FC236}">
                  <a16:creationId xmlns="" xmlns:a16="http://schemas.microsoft.com/office/drawing/2014/main" id="{BAD8BD01-085C-4DB5-B93B-0C509DD90DEB}"/>
                </a:ext>
              </a:extLst>
            </p:cNvPr>
            <p:cNvSpPr/>
            <p:nvPr/>
          </p:nvSpPr>
          <p:spPr>
            <a:xfrm>
              <a:off x="3512825" y="2148325"/>
              <a:ext cx="3034476" cy="500683"/>
            </a:xfrm>
            <a:custGeom>
              <a:avLst/>
              <a:gdLst/>
              <a:ahLst/>
              <a:cxnLst/>
              <a:rect l="l" t="t" r="r" b="b"/>
              <a:pathLst>
                <a:path w="40958" h="6758" extrusionOk="0">
                  <a:moveTo>
                    <a:pt x="1353" y="0"/>
                  </a:moveTo>
                  <a:cubicBezTo>
                    <a:pt x="821" y="0"/>
                    <a:pt x="422" y="450"/>
                    <a:pt x="177" y="874"/>
                  </a:cubicBezTo>
                  <a:cubicBezTo>
                    <a:pt x="130" y="992"/>
                    <a:pt x="95" y="1115"/>
                    <a:pt x="65" y="1238"/>
                  </a:cubicBezTo>
                  <a:lnTo>
                    <a:pt x="65" y="1244"/>
                  </a:lnTo>
                  <a:cubicBezTo>
                    <a:pt x="1" y="1568"/>
                    <a:pt x="40957" y="6758"/>
                    <a:pt x="40957" y="6758"/>
                  </a:cubicBezTo>
                  <a:lnTo>
                    <a:pt x="38595" y="897"/>
                  </a:lnTo>
                  <a:cubicBezTo>
                    <a:pt x="31429" y="733"/>
                    <a:pt x="2240" y="75"/>
                    <a:pt x="1441" y="4"/>
                  </a:cubicBezTo>
                  <a:cubicBezTo>
                    <a:pt x="1411" y="1"/>
                    <a:pt x="1382" y="0"/>
                    <a:pt x="1353" y="0"/>
                  </a:cubicBezTo>
                  <a:close/>
                </a:path>
              </a:pathLst>
            </a:custGeom>
            <a:solidFill>
              <a:srgbClr val="EEEEE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/>
                <a:sym typeface="Arial"/>
              </a:endParaRPr>
            </a:p>
          </p:txBody>
        </p:sp>
        <p:sp>
          <p:nvSpPr>
            <p:cNvPr id="412" name="Google Shape;1013;p43">
              <a:extLst>
                <a:ext uri="{FF2B5EF4-FFF2-40B4-BE49-F238E27FC236}">
                  <a16:creationId xmlns="" xmlns:a16="http://schemas.microsoft.com/office/drawing/2014/main" id="{A5720EB9-03B0-4487-9EC8-AB18BC31C7B5}"/>
                </a:ext>
              </a:extLst>
            </p:cNvPr>
            <p:cNvSpPr/>
            <p:nvPr/>
          </p:nvSpPr>
          <p:spPr>
            <a:xfrm>
              <a:off x="4295416" y="2129432"/>
              <a:ext cx="983808" cy="946171"/>
            </a:xfrm>
            <a:custGeom>
              <a:avLst/>
              <a:gdLst/>
              <a:ahLst/>
              <a:cxnLst/>
              <a:rect l="l" t="t" r="r" b="b"/>
              <a:pathLst>
                <a:path w="13279" h="12771" extrusionOk="0">
                  <a:moveTo>
                    <a:pt x="6889" y="0"/>
                  </a:moveTo>
                  <a:cubicBezTo>
                    <a:pt x="4309" y="0"/>
                    <a:pt x="1981" y="1552"/>
                    <a:pt x="988" y="3939"/>
                  </a:cubicBezTo>
                  <a:cubicBezTo>
                    <a:pt x="0" y="6325"/>
                    <a:pt x="547" y="9070"/>
                    <a:pt x="2375" y="10898"/>
                  </a:cubicBezTo>
                  <a:cubicBezTo>
                    <a:pt x="3598" y="12121"/>
                    <a:pt x="5232" y="12771"/>
                    <a:pt x="6894" y="12771"/>
                  </a:cubicBezTo>
                  <a:cubicBezTo>
                    <a:pt x="7716" y="12771"/>
                    <a:pt x="8545" y="12612"/>
                    <a:pt x="9334" y="12285"/>
                  </a:cubicBezTo>
                  <a:cubicBezTo>
                    <a:pt x="11721" y="11298"/>
                    <a:pt x="13272" y="8964"/>
                    <a:pt x="13278" y="6384"/>
                  </a:cubicBezTo>
                  <a:cubicBezTo>
                    <a:pt x="13272" y="2857"/>
                    <a:pt x="10416" y="0"/>
                    <a:pt x="6889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/>
                <a:sym typeface="Arial"/>
              </a:endParaRPr>
            </a:p>
          </p:txBody>
        </p:sp>
        <p:sp>
          <p:nvSpPr>
            <p:cNvPr id="413" name="Google Shape;1014;p43">
              <a:extLst>
                <a:ext uri="{FF2B5EF4-FFF2-40B4-BE49-F238E27FC236}">
                  <a16:creationId xmlns="" xmlns:a16="http://schemas.microsoft.com/office/drawing/2014/main" id="{12E07FCC-46E4-4C4D-B1BC-EE9F29CE68A8}"/>
                </a:ext>
              </a:extLst>
            </p:cNvPr>
            <p:cNvSpPr/>
            <p:nvPr/>
          </p:nvSpPr>
          <p:spPr>
            <a:xfrm>
              <a:off x="4346315" y="2223524"/>
              <a:ext cx="885420" cy="852006"/>
            </a:xfrm>
            <a:custGeom>
              <a:avLst/>
              <a:gdLst/>
              <a:ahLst/>
              <a:cxnLst/>
              <a:rect l="l" t="t" r="r" b="b"/>
              <a:pathLst>
                <a:path w="11951" h="11500" extrusionOk="0">
                  <a:moveTo>
                    <a:pt x="6202" y="0"/>
                  </a:moveTo>
                  <a:cubicBezTo>
                    <a:pt x="3880" y="0"/>
                    <a:pt x="1782" y="1399"/>
                    <a:pt x="888" y="3550"/>
                  </a:cubicBezTo>
                  <a:cubicBezTo>
                    <a:pt x="1" y="5696"/>
                    <a:pt x="495" y="8170"/>
                    <a:pt x="2140" y="9816"/>
                  </a:cubicBezTo>
                  <a:cubicBezTo>
                    <a:pt x="3237" y="10916"/>
                    <a:pt x="4707" y="11499"/>
                    <a:pt x="6202" y="11499"/>
                  </a:cubicBezTo>
                  <a:cubicBezTo>
                    <a:pt x="6943" y="11499"/>
                    <a:pt x="7689" y="11356"/>
                    <a:pt x="8400" y="11062"/>
                  </a:cubicBezTo>
                  <a:cubicBezTo>
                    <a:pt x="10552" y="10175"/>
                    <a:pt x="11951" y="8076"/>
                    <a:pt x="11951" y="5749"/>
                  </a:cubicBezTo>
                  <a:cubicBezTo>
                    <a:pt x="11951" y="2575"/>
                    <a:pt x="9376" y="0"/>
                    <a:pt x="6202" y="0"/>
                  </a:cubicBezTo>
                  <a:close/>
                </a:path>
              </a:pathLst>
            </a:custGeom>
            <a:solidFill>
              <a:srgbClr val="D2DBFA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/>
                <a:sym typeface="Arial"/>
              </a:endParaRPr>
            </a:p>
          </p:txBody>
        </p:sp>
        <p:sp>
          <p:nvSpPr>
            <p:cNvPr id="414" name="Google Shape;1015;p43">
              <a:extLst>
                <a:ext uri="{FF2B5EF4-FFF2-40B4-BE49-F238E27FC236}">
                  <a16:creationId xmlns="" xmlns:a16="http://schemas.microsoft.com/office/drawing/2014/main" id="{FD4EB10F-4D57-407B-A4AA-C506920DA272}"/>
                </a:ext>
              </a:extLst>
            </p:cNvPr>
            <p:cNvSpPr/>
            <p:nvPr/>
          </p:nvSpPr>
          <p:spPr>
            <a:xfrm>
              <a:off x="4462633" y="2259234"/>
              <a:ext cx="686347" cy="686347"/>
            </a:xfrm>
            <a:custGeom>
              <a:avLst/>
              <a:gdLst/>
              <a:ahLst/>
              <a:cxnLst/>
              <a:rect l="l" t="t" r="r" b="b"/>
              <a:pathLst>
                <a:path w="9264" h="9264" extrusionOk="0">
                  <a:moveTo>
                    <a:pt x="4632" y="0"/>
                  </a:moveTo>
                  <a:cubicBezTo>
                    <a:pt x="4544" y="0"/>
                    <a:pt x="4456" y="0"/>
                    <a:pt x="4368" y="6"/>
                  </a:cubicBezTo>
                  <a:cubicBezTo>
                    <a:pt x="3462" y="53"/>
                    <a:pt x="2587" y="376"/>
                    <a:pt x="1852" y="923"/>
                  </a:cubicBezTo>
                  <a:cubicBezTo>
                    <a:pt x="1717" y="1023"/>
                    <a:pt x="1587" y="1134"/>
                    <a:pt x="1458" y="1258"/>
                  </a:cubicBezTo>
                  <a:cubicBezTo>
                    <a:pt x="1194" y="1505"/>
                    <a:pt x="953" y="1787"/>
                    <a:pt x="753" y="2098"/>
                  </a:cubicBezTo>
                  <a:cubicBezTo>
                    <a:pt x="659" y="2239"/>
                    <a:pt x="570" y="2392"/>
                    <a:pt x="494" y="2545"/>
                  </a:cubicBezTo>
                  <a:cubicBezTo>
                    <a:pt x="329" y="2868"/>
                    <a:pt x="206" y="3215"/>
                    <a:pt x="124" y="3574"/>
                  </a:cubicBezTo>
                  <a:cubicBezTo>
                    <a:pt x="83" y="3744"/>
                    <a:pt x="53" y="3915"/>
                    <a:pt x="36" y="4091"/>
                  </a:cubicBezTo>
                  <a:cubicBezTo>
                    <a:pt x="12" y="4267"/>
                    <a:pt x="0" y="4450"/>
                    <a:pt x="0" y="4632"/>
                  </a:cubicBezTo>
                  <a:cubicBezTo>
                    <a:pt x="0" y="4814"/>
                    <a:pt x="12" y="5002"/>
                    <a:pt x="36" y="5184"/>
                  </a:cubicBezTo>
                  <a:cubicBezTo>
                    <a:pt x="53" y="5355"/>
                    <a:pt x="83" y="5525"/>
                    <a:pt x="124" y="5696"/>
                  </a:cubicBezTo>
                  <a:cubicBezTo>
                    <a:pt x="206" y="6048"/>
                    <a:pt x="335" y="6395"/>
                    <a:pt x="500" y="6724"/>
                  </a:cubicBezTo>
                  <a:cubicBezTo>
                    <a:pt x="576" y="6877"/>
                    <a:pt x="664" y="7024"/>
                    <a:pt x="759" y="7171"/>
                  </a:cubicBezTo>
                  <a:cubicBezTo>
                    <a:pt x="958" y="7477"/>
                    <a:pt x="1194" y="7759"/>
                    <a:pt x="1464" y="8011"/>
                  </a:cubicBezTo>
                  <a:cubicBezTo>
                    <a:pt x="1587" y="8129"/>
                    <a:pt x="1723" y="8241"/>
                    <a:pt x="1864" y="8341"/>
                  </a:cubicBezTo>
                  <a:cubicBezTo>
                    <a:pt x="2152" y="8564"/>
                    <a:pt x="2475" y="8746"/>
                    <a:pt x="2810" y="8887"/>
                  </a:cubicBezTo>
                  <a:cubicBezTo>
                    <a:pt x="2969" y="8958"/>
                    <a:pt x="3133" y="9017"/>
                    <a:pt x="3298" y="9069"/>
                  </a:cubicBezTo>
                  <a:cubicBezTo>
                    <a:pt x="3650" y="9175"/>
                    <a:pt x="4009" y="9240"/>
                    <a:pt x="4379" y="9258"/>
                  </a:cubicBezTo>
                  <a:cubicBezTo>
                    <a:pt x="4462" y="9263"/>
                    <a:pt x="4544" y="9263"/>
                    <a:pt x="4632" y="9263"/>
                  </a:cubicBezTo>
                  <a:cubicBezTo>
                    <a:pt x="4720" y="9263"/>
                    <a:pt x="4808" y="9263"/>
                    <a:pt x="4897" y="9258"/>
                  </a:cubicBezTo>
                  <a:cubicBezTo>
                    <a:pt x="5261" y="9240"/>
                    <a:pt x="5625" y="9175"/>
                    <a:pt x="5972" y="9064"/>
                  </a:cubicBezTo>
                  <a:cubicBezTo>
                    <a:pt x="6143" y="9017"/>
                    <a:pt x="6301" y="8958"/>
                    <a:pt x="6460" y="8887"/>
                  </a:cubicBezTo>
                  <a:cubicBezTo>
                    <a:pt x="6801" y="8740"/>
                    <a:pt x="7118" y="8558"/>
                    <a:pt x="7412" y="8341"/>
                  </a:cubicBezTo>
                  <a:cubicBezTo>
                    <a:pt x="7547" y="8235"/>
                    <a:pt x="7683" y="8123"/>
                    <a:pt x="7806" y="8006"/>
                  </a:cubicBezTo>
                  <a:cubicBezTo>
                    <a:pt x="8071" y="7753"/>
                    <a:pt x="8312" y="7471"/>
                    <a:pt x="8511" y="7165"/>
                  </a:cubicBezTo>
                  <a:cubicBezTo>
                    <a:pt x="8605" y="7018"/>
                    <a:pt x="8694" y="6871"/>
                    <a:pt x="8770" y="6718"/>
                  </a:cubicBezTo>
                  <a:cubicBezTo>
                    <a:pt x="8935" y="6389"/>
                    <a:pt x="9064" y="6042"/>
                    <a:pt x="9146" y="5690"/>
                  </a:cubicBezTo>
                  <a:cubicBezTo>
                    <a:pt x="9181" y="5519"/>
                    <a:pt x="9211" y="5349"/>
                    <a:pt x="9234" y="5178"/>
                  </a:cubicBezTo>
                  <a:cubicBezTo>
                    <a:pt x="9252" y="4996"/>
                    <a:pt x="9264" y="4814"/>
                    <a:pt x="9264" y="4632"/>
                  </a:cubicBezTo>
                  <a:lnTo>
                    <a:pt x="9264" y="4626"/>
                  </a:lnTo>
                  <a:cubicBezTo>
                    <a:pt x="9264" y="4444"/>
                    <a:pt x="9252" y="4261"/>
                    <a:pt x="9234" y="4079"/>
                  </a:cubicBezTo>
                  <a:cubicBezTo>
                    <a:pt x="9211" y="3903"/>
                    <a:pt x="9181" y="3732"/>
                    <a:pt x="9140" y="3568"/>
                  </a:cubicBezTo>
                  <a:cubicBezTo>
                    <a:pt x="9058" y="3209"/>
                    <a:pt x="8935" y="2868"/>
                    <a:pt x="8764" y="2539"/>
                  </a:cubicBezTo>
                  <a:cubicBezTo>
                    <a:pt x="8523" y="2057"/>
                    <a:pt x="8194" y="1622"/>
                    <a:pt x="7800" y="1252"/>
                  </a:cubicBezTo>
                  <a:cubicBezTo>
                    <a:pt x="7677" y="1134"/>
                    <a:pt x="7542" y="1023"/>
                    <a:pt x="7406" y="917"/>
                  </a:cubicBezTo>
                  <a:cubicBezTo>
                    <a:pt x="7112" y="699"/>
                    <a:pt x="6795" y="517"/>
                    <a:pt x="6454" y="370"/>
                  </a:cubicBezTo>
                  <a:cubicBezTo>
                    <a:pt x="6295" y="300"/>
                    <a:pt x="6137" y="241"/>
                    <a:pt x="5972" y="194"/>
                  </a:cubicBezTo>
                  <a:cubicBezTo>
                    <a:pt x="5619" y="88"/>
                    <a:pt x="5255" y="24"/>
                    <a:pt x="4891" y="6"/>
                  </a:cubicBezTo>
                  <a:cubicBezTo>
                    <a:pt x="4802" y="0"/>
                    <a:pt x="4720" y="0"/>
                    <a:pt x="4632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/>
                <a:sym typeface="Arial"/>
              </a:endParaRPr>
            </a:p>
          </p:txBody>
        </p:sp>
        <p:sp>
          <p:nvSpPr>
            <p:cNvPr id="415" name="Google Shape;1016;p43">
              <a:extLst>
                <a:ext uri="{FF2B5EF4-FFF2-40B4-BE49-F238E27FC236}">
                  <a16:creationId xmlns="" xmlns:a16="http://schemas.microsoft.com/office/drawing/2014/main" id="{EFBD7AAA-BBC6-4082-A969-159C7D5DA455}"/>
                </a:ext>
              </a:extLst>
            </p:cNvPr>
            <p:cNvSpPr/>
            <p:nvPr/>
          </p:nvSpPr>
          <p:spPr>
            <a:xfrm>
              <a:off x="4068286" y="2896315"/>
              <a:ext cx="5279596" cy="1395290"/>
            </a:xfrm>
            <a:custGeom>
              <a:avLst/>
              <a:gdLst/>
              <a:ahLst/>
              <a:cxnLst/>
              <a:rect l="l" t="t" r="r" b="b"/>
              <a:pathLst>
                <a:path w="66479" h="18833" extrusionOk="0">
                  <a:moveTo>
                    <a:pt x="1" y="0"/>
                  </a:moveTo>
                  <a:cubicBezTo>
                    <a:pt x="3233" y="6589"/>
                    <a:pt x="10587" y="11192"/>
                    <a:pt x="19145" y="11192"/>
                  </a:cubicBezTo>
                  <a:cubicBezTo>
                    <a:pt x="19762" y="11192"/>
                    <a:pt x="20379" y="11168"/>
                    <a:pt x="20984" y="11121"/>
                  </a:cubicBezTo>
                  <a:cubicBezTo>
                    <a:pt x="21431" y="11086"/>
                    <a:pt x="21878" y="11069"/>
                    <a:pt x="22323" y="11069"/>
                  </a:cubicBezTo>
                  <a:cubicBezTo>
                    <a:pt x="26157" y="11069"/>
                    <a:pt x="29891" y="12346"/>
                    <a:pt x="32993" y="14648"/>
                  </a:cubicBezTo>
                  <a:cubicBezTo>
                    <a:pt x="36519" y="17269"/>
                    <a:pt x="40975" y="18833"/>
                    <a:pt x="45830" y="18833"/>
                  </a:cubicBezTo>
                  <a:cubicBezTo>
                    <a:pt x="57074" y="18833"/>
                    <a:pt x="66214" y="10445"/>
                    <a:pt x="66479" y="0"/>
                  </a:cubicBezTo>
                  <a:close/>
                </a:path>
              </a:pathLst>
            </a:custGeom>
            <a:solidFill>
              <a:srgbClr val="1C4587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/>
                <a:sym typeface="Arial"/>
              </a:endParaRPr>
            </a:p>
          </p:txBody>
        </p:sp>
        <p:sp>
          <p:nvSpPr>
            <p:cNvPr id="416" name="Google Shape;1017;p43">
              <a:extLst>
                <a:ext uri="{FF2B5EF4-FFF2-40B4-BE49-F238E27FC236}">
                  <a16:creationId xmlns="" xmlns:a16="http://schemas.microsoft.com/office/drawing/2014/main" id="{5EC44652-2FE0-40A1-8FBD-B0AD25D38913}"/>
                </a:ext>
              </a:extLst>
            </p:cNvPr>
            <p:cNvSpPr/>
            <p:nvPr/>
          </p:nvSpPr>
          <p:spPr>
            <a:xfrm>
              <a:off x="4287717" y="3200222"/>
              <a:ext cx="5013944" cy="1091383"/>
            </a:xfrm>
            <a:custGeom>
              <a:avLst/>
              <a:gdLst/>
              <a:ahLst/>
              <a:cxnLst/>
              <a:rect l="l" t="t" r="r" b="b"/>
              <a:pathLst>
                <a:path w="63134" h="14731" extrusionOk="0">
                  <a:moveTo>
                    <a:pt x="0" y="1"/>
                  </a:moveTo>
                  <a:cubicBezTo>
                    <a:pt x="3827" y="4321"/>
                    <a:pt x="9740" y="7090"/>
                    <a:pt x="16382" y="7090"/>
                  </a:cubicBezTo>
                  <a:cubicBezTo>
                    <a:pt x="16999" y="7090"/>
                    <a:pt x="17616" y="7066"/>
                    <a:pt x="18221" y="7019"/>
                  </a:cubicBezTo>
                  <a:cubicBezTo>
                    <a:pt x="18668" y="6984"/>
                    <a:pt x="19115" y="6967"/>
                    <a:pt x="19560" y="6967"/>
                  </a:cubicBezTo>
                  <a:cubicBezTo>
                    <a:pt x="23394" y="6967"/>
                    <a:pt x="27128" y="8244"/>
                    <a:pt x="30230" y="10546"/>
                  </a:cubicBezTo>
                  <a:cubicBezTo>
                    <a:pt x="33756" y="13167"/>
                    <a:pt x="38212" y="14731"/>
                    <a:pt x="43067" y="14731"/>
                  </a:cubicBezTo>
                  <a:cubicBezTo>
                    <a:pt x="52789" y="14731"/>
                    <a:pt x="60941" y="8453"/>
                    <a:pt x="63134" y="1"/>
                  </a:cubicBezTo>
                  <a:close/>
                </a:path>
              </a:pathLst>
            </a:custGeom>
            <a:solidFill>
              <a:srgbClr val="87B7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/>
                <a:sym typeface="Arial"/>
              </a:endParaRPr>
            </a:p>
          </p:txBody>
        </p:sp>
        <p:sp>
          <p:nvSpPr>
            <p:cNvPr id="417" name="Google Shape;1018;p43">
              <a:extLst>
                <a:ext uri="{FF2B5EF4-FFF2-40B4-BE49-F238E27FC236}">
                  <a16:creationId xmlns="" xmlns:a16="http://schemas.microsoft.com/office/drawing/2014/main" id="{0CA4A90C-C7A3-4048-8134-1E9E0C15AB7A}"/>
                </a:ext>
              </a:extLst>
            </p:cNvPr>
            <p:cNvSpPr/>
            <p:nvPr/>
          </p:nvSpPr>
          <p:spPr>
            <a:xfrm>
              <a:off x="4789657" y="2317986"/>
              <a:ext cx="31858" cy="284422"/>
            </a:xfrm>
            <a:custGeom>
              <a:avLst/>
              <a:gdLst/>
              <a:ahLst/>
              <a:cxnLst/>
              <a:rect l="l" t="t" r="r" b="b"/>
              <a:pathLst>
                <a:path w="430" h="3839" extrusionOk="0">
                  <a:moveTo>
                    <a:pt x="1" y="1"/>
                  </a:moveTo>
                  <a:lnTo>
                    <a:pt x="224" y="3839"/>
                  </a:lnTo>
                  <a:lnTo>
                    <a:pt x="430" y="48"/>
                  </a:lnTo>
                  <a:cubicBezTo>
                    <a:pt x="294" y="24"/>
                    <a:pt x="147" y="6"/>
                    <a:pt x="6" y="1"/>
                  </a:cubicBezTo>
                  <a:close/>
                </a:path>
              </a:pathLst>
            </a:custGeom>
            <a:solidFill>
              <a:srgbClr val="EDF0F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/>
                <a:sym typeface="Arial"/>
              </a:endParaRPr>
            </a:p>
          </p:txBody>
        </p:sp>
        <p:sp>
          <p:nvSpPr>
            <p:cNvPr id="418" name="Google Shape;1019;p43">
              <a:extLst>
                <a:ext uri="{FF2B5EF4-FFF2-40B4-BE49-F238E27FC236}">
                  <a16:creationId xmlns="" xmlns:a16="http://schemas.microsoft.com/office/drawing/2014/main" id="{DDB78825-221C-4A75-861F-69F793A20F5B}"/>
                </a:ext>
              </a:extLst>
            </p:cNvPr>
            <p:cNvSpPr/>
            <p:nvPr/>
          </p:nvSpPr>
          <p:spPr>
            <a:xfrm>
              <a:off x="4687341" y="2320579"/>
              <a:ext cx="118540" cy="281829"/>
            </a:xfrm>
            <a:custGeom>
              <a:avLst/>
              <a:gdLst/>
              <a:ahLst/>
              <a:cxnLst/>
              <a:rect l="l" t="t" r="r" b="b"/>
              <a:pathLst>
                <a:path w="1600" h="3804" extrusionOk="0">
                  <a:moveTo>
                    <a:pt x="447" y="1"/>
                  </a:moveTo>
                  <a:cubicBezTo>
                    <a:pt x="294" y="18"/>
                    <a:pt x="147" y="48"/>
                    <a:pt x="0" y="83"/>
                  </a:cubicBezTo>
                  <a:lnTo>
                    <a:pt x="1599" y="3804"/>
                  </a:lnTo>
                  <a:lnTo>
                    <a:pt x="447" y="1"/>
                  </a:lnTo>
                  <a:close/>
                </a:path>
              </a:pathLst>
            </a:custGeom>
            <a:solidFill>
              <a:srgbClr val="EDF0F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/>
                <a:sym typeface="Arial"/>
              </a:endParaRPr>
            </a:p>
          </p:txBody>
        </p:sp>
        <p:sp>
          <p:nvSpPr>
            <p:cNvPr id="419" name="Google Shape;1020;p43">
              <a:extLst>
                <a:ext uri="{FF2B5EF4-FFF2-40B4-BE49-F238E27FC236}">
                  <a16:creationId xmlns="" xmlns:a16="http://schemas.microsoft.com/office/drawing/2014/main" id="{652314BE-DB34-4226-8E5E-8EBF94E9CF62}"/>
                </a:ext>
              </a:extLst>
            </p:cNvPr>
            <p:cNvSpPr/>
            <p:nvPr/>
          </p:nvSpPr>
          <p:spPr>
            <a:xfrm>
              <a:off x="4586285" y="2351103"/>
              <a:ext cx="219595" cy="251305"/>
            </a:xfrm>
            <a:custGeom>
              <a:avLst/>
              <a:gdLst/>
              <a:ahLst/>
              <a:cxnLst/>
              <a:rect l="l" t="t" r="r" b="b"/>
              <a:pathLst>
                <a:path w="2964" h="3392" extrusionOk="0">
                  <a:moveTo>
                    <a:pt x="424" y="0"/>
                  </a:moveTo>
                  <a:cubicBezTo>
                    <a:pt x="277" y="71"/>
                    <a:pt x="136" y="153"/>
                    <a:pt x="1" y="235"/>
                  </a:cubicBezTo>
                  <a:lnTo>
                    <a:pt x="2963" y="3392"/>
                  </a:lnTo>
                  <a:lnTo>
                    <a:pt x="424" y="0"/>
                  </a:lnTo>
                  <a:close/>
                </a:path>
              </a:pathLst>
            </a:custGeom>
            <a:solidFill>
              <a:srgbClr val="EDF0F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/>
                <a:sym typeface="Arial"/>
              </a:endParaRPr>
            </a:p>
          </p:txBody>
        </p:sp>
        <p:sp>
          <p:nvSpPr>
            <p:cNvPr id="420" name="Google Shape;1021;p43">
              <a:extLst>
                <a:ext uri="{FF2B5EF4-FFF2-40B4-BE49-F238E27FC236}">
                  <a16:creationId xmlns="" xmlns:a16="http://schemas.microsoft.com/office/drawing/2014/main" id="{4F3E3F01-435D-438F-9F3C-BC277873EA32}"/>
                </a:ext>
              </a:extLst>
            </p:cNvPr>
            <p:cNvSpPr/>
            <p:nvPr/>
          </p:nvSpPr>
          <p:spPr>
            <a:xfrm>
              <a:off x="4499232" y="2418597"/>
              <a:ext cx="306648" cy="183811"/>
            </a:xfrm>
            <a:custGeom>
              <a:avLst/>
              <a:gdLst/>
              <a:ahLst/>
              <a:cxnLst/>
              <a:rect l="l" t="t" r="r" b="b"/>
              <a:pathLst>
                <a:path w="4139" h="2481" extrusionOk="0">
                  <a:moveTo>
                    <a:pt x="206" y="41"/>
                  </a:moveTo>
                  <a:cubicBezTo>
                    <a:pt x="185" y="72"/>
                    <a:pt x="165" y="104"/>
                    <a:pt x="145" y="136"/>
                  </a:cubicBezTo>
                  <a:lnTo>
                    <a:pt x="145" y="136"/>
                  </a:lnTo>
                  <a:cubicBezTo>
                    <a:pt x="165" y="104"/>
                    <a:pt x="185" y="73"/>
                    <a:pt x="206" y="41"/>
                  </a:cubicBezTo>
                  <a:close/>
                  <a:moveTo>
                    <a:pt x="145" y="136"/>
                  </a:moveTo>
                  <a:lnTo>
                    <a:pt x="145" y="136"/>
                  </a:lnTo>
                  <a:cubicBezTo>
                    <a:pt x="114" y="186"/>
                    <a:pt x="85" y="237"/>
                    <a:pt x="58" y="290"/>
                  </a:cubicBezTo>
                  <a:lnTo>
                    <a:pt x="58" y="290"/>
                  </a:lnTo>
                  <a:cubicBezTo>
                    <a:pt x="86" y="237"/>
                    <a:pt x="115" y="186"/>
                    <a:pt x="145" y="136"/>
                  </a:cubicBezTo>
                  <a:close/>
                  <a:moveTo>
                    <a:pt x="335" y="0"/>
                  </a:moveTo>
                  <a:cubicBezTo>
                    <a:pt x="235" y="100"/>
                    <a:pt x="135" y="206"/>
                    <a:pt x="47" y="312"/>
                  </a:cubicBezTo>
                  <a:cubicBezTo>
                    <a:pt x="51" y="304"/>
                    <a:pt x="54" y="297"/>
                    <a:pt x="58" y="290"/>
                  </a:cubicBezTo>
                  <a:lnTo>
                    <a:pt x="58" y="290"/>
                  </a:lnTo>
                  <a:cubicBezTo>
                    <a:pt x="39" y="326"/>
                    <a:pt x="19" y="363"/>
                    <a:pt x="0" y="400"/>
                  </a:cubicBezTo>
                  <a:lnTo>
                    <a:pt x="4138" y="2481"/>
                  </a:lnTo>
                  <a:lnTo>
                    <a:pt x="335" y="0"/>
                  </a:lnTo>
                  <a:close/>
                </a:path>
              </a:pathLst>
            </a:custGeom>
            <a:solidFill>
              <a:srgbClr val="EDF0F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/>
                <a:sym typeface="Arial"/>
              </a:endParaRPr>
            </a:p>
          </p:txBody>
        </p:sp>
        <p:sp>
          <p:nvSpPr>
            <p:cNvPr id="421" name="Google Shape;1022;p43">
              <a:extLst>
                <a:ext uri="{FF2B5EF4-FFF2-40B4-BE49-F238E27FC236}">
                  <a16:creationId xmlns="" xmlns:a16="http://schemas.microsoft.com/office/drawing/2014/main" id="{FE5B3F3C-CC1F-4B7E-B401-664291F9E0C8}"/>
                </a:ext>
              </a:extLst>
            </p:cNvPr>
            <p:cNvSpPr/>
            <p:nvPr/>
          </p:nvSpPr>
          <p:spPr>
            <a:xfrm>
              <a:off x="4465226" y="2523950"/>
              <a:ext cx="340654" cy="78459"/>
            </a:xfrm>
            <a:custGeom>
              <a:avLst/>
              <a:gdLst/>
              <a:ahLst/>
              <a:cxnLst/>
              <a:rect l="l" t="t" r="r" b="b"/>
              <a:pathLst>
                <a:path w="4598" h="1059" extrusionOk="0">
                  <a:moveTo>
                    <a:pt x="89" y="1"/>
                  </a:moveTo>
                  <a:cubicBezTo>
                    <a:pt x="48" y="171"/>
                    <a:pt x="18" y="342"/>
                    <a:pt x="1" y="518"/>
                  </a:cubicBezTo>
                  <a:lnTo>
                    <a:pt x="4597" y="1059"/>
                  </a:lnTo>
                  <a:lnTo>
                    <a:pt x="89" y="7"/>
                  </a:lnTo>
                  <a:lnTo>
                    <a:pt x="89" y="1"/>
                  </a:lnTo>
                  <a:close/>
                </a:path>
              </a:pathLst>
            </a:custGeom>
            <a:solidFill>
              <a:srgbClr val="EDF0F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/>
                <a:sym typeface="Arial"/>
              </a:endParaRPr>
            </a:p>
          </p:txBody>
        </p:sp>
        <p:sp>
          <p:nvSpPr>
            <p:cNvPr id="422" name="Google Shape;1023;p43">
              <a:extLst>
                <a:ext uri="{FF2B5EF4-FFF2-40B4-BE49-F238E27FC236}">
                  <a16:creationId xmlns="" xmlns:a16="http://schemas.microsoft.com/office/drawing/2014/main" id="{40CD231B-69B6-46AF-8B46-9040F3E1DCF4}"/>
                </a:ext>
              </a:extLst>
            </p:cNvPr>
            <p:cNvSpPr/>
            <p:nvPr/>
          </p:nvSpPr>
          <p:spPr>
            <a:xfrm>
              <a:off x="4465226" y="2602335"/>
              <a:ext cx="340654" cy="78903"/>
            </a:xfrm>
            <a:custGeom>
              <a:avLst/>
              <a:gdLst/>
              <a:ahLst/>
              <a:cxnLst/>
              <a:rect l="l" t="t" r="r" b="b"/>
              <a:pathLst>
                <a:path w="4598" h="1065" extrusionOk="0">
                  <a:moveTo>
                    <a:pt x="4597" y="1"/>
                  </a:moveTo>
                  <a:lnTo>
                    <a:pt x="1" y="553"/>
                  </a:lnTo>
                  <a:cubicBezTo>
                    <a:pt x="18" y="724"/>
                    <a:pt x="48" y="894"/>
                    <a:pt x="89" y="1065"/>
                  </a:cubicBezTo>
                  <a:lnTo>
                    <a:pt x="4597" y="1"/>
                  </a:lnTo>
                  <a:close/>
                </a:path>
              </a:pathLst>
            </a:custGeom>
            <a:solidFill>
              <a:srgbClr val="EDF0F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/>
                <a:sym typeface="Arial"/>
              </a:endParaRPr>
            </a:p>
          </p:txBody>
        </p:sp>
        <p:sp>
          <p:nvSpPr>
            <p:cNvPr id="423" name="Google Shape;1024;p43">
              <a:extLst>
                <a:ext uri="{FF2B5EF4-FFF2-40B4-BE49-F238E27FC236}">
                  <a16:creationId xmlns="" xmlns:a16="http://schemas.microsoft.com/office/drawing/2014/main" id="{EF05E605-0036-4E18-B2C8-E511D9EAA5A7}"/>
                </a:ext>
              </a:extLst>
            </p:cNvPr>
            <p:cNvSpPr/>
            <p:nvPr/>
          </p:nvSpPr>
          <p:spPr>
            <a:xfrm>
              <a:off x="4499602" y="2602335"/>
              <a:ext cx="306278" cy="188182"/>
            </a:xfrm>
            <a:custGeom>
              <a:avLst/>
              <a:gdLst/>
              <a:ahLst/>
              <a:cxnLst/>
              <a:rect l="l" t="t" r="r" b="b"/>
              <a:pathLst>
                <a:path w="4134" h="2540" extrusionOk="0">
                  <a:moveTo>
                    <a:pt x="4133" y="1"/>
                  </a:moveTo>
                  <a:lnTo>
                    <a:pt x="1" y="2093"/>
                  </a:lnTo>
                  <a:cubicBezTo>
                    <a:pt x="77" y="2246"/>
                    <a:pt x="165" y="2393"/>
                    <a:pt x="260" y="2540"/>
                  </a:cubicBezTo>
                  <a:lnTo>
                    <a:pt x="4133" y="1"/>
                  </a:lnTo>
                  <a:close/>
                </a:path>
              </a:pathLst>
            </a:custGeom>
            <a:solidFill>
              <a:srgbClr val="EDF0F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/>
                <a:sym typeface="Arial"/>
              </a:endParaRPr>
            </a:p>
          </p:txBody>
        </p:sp>
        <p:sp>
          <p:nvSpPr>
            <p:cNvPr id="424" name="Google Shape;1025;p43">
              <a:extLst>
                <a:ext uri="{FF2B5EF4-FFF2-40B4-BE49-F238E27FC236}">
                  <a16:creationId xmlns="" xmlns:a16="http://schemas.microsoft.com/office/drawing/2014/main" id="{04CF1733-7021-461F-B272-DC3B168BA5A8}"/>
                </a:ext>
              </a:extLst>
            </p:cNvPr>
            <p:cNvSpPr/>
            <p:nvPr/>
          </p:nvSpPr>
          <p:spPr>
            <a:xfrm>
              <a:off x="4571023" y="2602335"/>
              <a:ext cx="234857" cy="275309"/>
            </a:xfrm>
            <a:custGeom>
              <a:avLst/>
              <a:gdLst/>
              <a:ahLst/>
              <a:cxnLst/>
              <a:rect l="l" t="t" r="r" b="b"/>
              <a:pathLst>
                <a:path w="3170" h="3716" extrusionOk="0">
                  <a:moveTo>
                    <a:pt x="3169" y="1"/>
                  </a:moveTo>
                  <a:lnTo>
                    <a:pt x="1" y="3380"/>
                  </a:lnTo>
                  <a:cubicBezTo>
                    <a:pt x="124" y="3498"/>
                    <a:pt x="260" y="3610"/>
                    <a:pt x="401" y="3715"/>
                  </a:cubicBezTo>
                  <a:lnTo>
                    <a:pt x="3169" y="1"/>
                  </a:lnTo>
                  <a:close/>
                </a:path>
              </a:pathLst>
            </a:custGeom>
            <a:solidFill>
              <a:srgbClr val="EDF0F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/>
                <a:sym typeface="Arial"/>
              </a:endParaRPr>
            </a:p>
          </p:txBody>
        </p:sp>
        <p:sp>
          <p:nvSpPr>
            <p:cNvPr id="425" name="Google Shape;1026;p43">
              <a:extLst>
                <a:ext uri="{FF2B5EF4-FFF2-40B4-BE49-F238E27FC236}">
                  <a16:creationId xmlns="" xmlns:a16="http://schemas.microsoft.com/office/drawing/2014/main" id="{C848C461-51D9-4CE3-8B2E-3C2740AA8A0E}"/>
                </a:ext>
              </a:extLst>
            </p:cNvPr>
            <p:cNvSpPr/>
            <p:nvPr/>
          </p:nvSpPr>
          <p:spPr>
            <a:xfrm>
              <a:off x="4679932" y="2602335"/>
              <a:ext cx="125949" cy="294053"/>
            </a:xfrm>
            <a:custGeom>
              <a:avLst/>
              <a:gdLst/>
              <a:ahLst/>
              <a:cxnLst/>
              <a:rect l="l" t="t" r="r" b="b"/>
              <a:pathLst>
                <a:path w="1700" h="3969" extrusionOk="0">
                  <a:moveTo>
                    <a:pt x="1699" y="1"/>
                  </a:moveTo>
                  <a:lnTo>
                    <a:pt x="0" y="3968"/>
                  </a:lnTo>
                  <a:lnTo>
                    <a:pt x="506" y="3968"/>
                  </a:lnTo>
                  <a:lnTo>
                    <a:pt x="1699" y="1"/>
                  </a:lnTo>
                  <a:close/>
                </a:path>
              </a:pathLst>
            </a:custGeom>
            <a:solidFill>
              <a:srgbClr val="EDF0F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/>
                <a:sym typeface="Arial"/>
              </a:endParaRPr>
            </a:p>
          </p:txBody>
        </p:sp>
        <p:sp>
          <p:nvSpPr>
            <p:cNvPr id="426" name="Google Shape;1027;p43">
              <a:extLst>
                <a:ext uri="{FF2B5EF4-FFF2-40B4-BE49-F238E27FC236}">
                  <a16:creationId xmlns="" xmlns:a16="http://schemas.microsoft.com/office/drawing/2014/main" id="{A5C10A03-1744-4577-BDE9-1FC3529D001B}"/>
                </a:ext>
              </a:extLst>
            </p:cNvPr>
            <p:cNvSpPr/>
            <p:nvPr/>
          </p:nvSpPr>
          <p:spPr>
            <a:xfrm>
              <a:off x="4789657" y="2602335"/>
              <a:ext cx="32747" cy="294053"/>
            </a:xfrm>
            <a:custGeom>
              <a:avLst/>
              <a:gdLst/>
              <a:ahLst/>
              <a:cxnLst/>
              <a:rect l="l" t="t" r="r" b="b"/>
              <a:pathLst>
                <a:path w="442" h="3969" extrusionOk="0">
                  <a:moveTo>
                    <a:pt x="218" y="1"/>
                  </a:moveTo>
                  <a:lnTo>
                    <a:pt x="1" y="3968"/>
                  </a:lnTo>
                  <a:lnTo>
                    <a:pt x="441" y="3968"/>
                  </a:lnTo>
                  <a:lnTo>
                    <a:pt x="218" y="1"/>
                  </a:lnTo>
                  <a:close/>
                </a:path>
              </a:pathLst>
            </a:custGeom>
            <a:solidFill>
              <a:srgbClr val="EDF0F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/>
                <a:sym typeface="Arial"/>
              </a:endParaRPr>
            </a:p>
          </p:txBody>
        </p:sp>
        <p:sp>
          <p:nvSpPr>
            <p:cNvPr id="427" name="Google Shape;1028;p43">
              <a:extLst>
                <a:ext uri="{FF2B5EF4-FFF2-40B4-BE49-F238E27FC236}">
                  <a16:creationId xmlns="" xmlns:a16="http://schemas.microsoft.com/office/drawing/2014/main" id="{312BDA4C-3FD8-420F-A3BC-C0ECE8BEA8AC}"/>
                </a:ext>
              </a:extLst>
            </p:cNvPr>
            <p:cNvSpPr/>
            <p:nvPr/>
          </p:nvSpPr>
          <p:spPr>
            <a:xfrm>
              <a:off x="4805808" y="2602335"/>
              <a:ext cx="126319" cy="294053"/>
            </a:xfrm>
            <a:custGeom>
              <a:avLst/>
              <a:gdLst/>
              <a:ahLst/>
              <a:cxnLst/>
              <a:rect l="l" t="t" r="r" b="b"/>
              <a:pathLst>
                <a:path w="1705" h="3969" extrusionOk="0">
                  <a:moveTo>
                    <a:pt x="0" y="1"/>
                  </a:moveTo>
                  <a:lnTo>
                    <a:pt x="1199" y="3968"/>
                  </a:lnTo>
                  <a:lnTo>
                    <a:pt x="1705" y="3968"/>
                  </a:lnTo>
                  <a:lnTo>
                    <a:pt x="0" y="1"/>
                  </a:lnTo>
                  <a:close/>
                </a:path>
              </a:pathLst>
            </a:custGeom>
            <a:solidFill>
              <a:srgbClr val="EDF0F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/>
                <a:sym typeface="Arial"/>
              </a:endParaRPr>
            </a:p>
          </p:txBody>
        </p:sp>
        <p:sp>
          <p:nvSpPr>
            <p:cNvPr id="428" name="Google Shape;1029;p43">
              <a:extLst>
                <a:ext uri="{FF2B5EF4-FFF2-40B4-BE49-F238E27FC236}">
                  <a16:creationId xmlns="" xmlns:a16="http://schemas.microsoft.com/office/drawing/2014/main" id="{58B82342-90C1-46F0-B18A-06D77AB6C79E}"/>
                </a:ext>
              </a:extLst>
            </p:cNvPr>
            <p:cNvSpPr/>
            <p:nvPr/>
          </p:nvSpPr>
          <p:spPr>
            <a:xfrm>
              <a:off x="4805808" y="2601890"/>
              <a:ext cx="235228" cy="275309"/>
            </a:xfrm>
            <a:custGeom>
              <a:avLst/>
              <a:gdLst/>
              <a:ahLst/>
              <a:cxnLst/>
              <a:rect l="l" t="t" r="r" b="b"/>
              <a:pathLst>
                <a:path w="3175" h="3716" extrusionOk="0">
                  <a:moveTo>
                    <a:pt x="0" y="1"/>
                  </a:moveTo>
                  <a:lnTo>
                    <a:pt x="0" y="7"/>
                  </a:lnTo>
                  <a:lnTo>
                    <a:pt x="2780" y="3716"/>
                  </a:lnTo>
                  <a:cubicBezTo>
                    <a:pt x="2915" y="3610"/>
                    <a:pt x="3051" y="3498"/>
                    <a:pt x="3174" y="3381"/>
                  </a:cubicBezTo>
                  <a:lnTo>
                    <a:pt x="0" y="1"/>
                  </a:lnTo>
                  <a:close/>
                </a:path>
              </a:pathLst>
            </a:custGeom>
            <a:solidFill>
              <a:srgbClr val="EDF0F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/>
                <a:sym typeface="Arial"/>
              </a:endParaRPr>
            </a:p>
          </p:txBody>
        </p:sp>
        <p:sp>
          <p:nvSpPr>
            <p:cNvPr id="429" name="Google Shape;1030;p43">
              <a:extLst>
                <a:ext uri="{FF2B5EF4-FFF2-40B4-BE49-F238E27FC236}">
                  <a16:creationId xmlns="" xmlns:a16="http://schemas.microsoft.com/office/drawing/2014/main" id="{E70ED16D-953B-4006-A4DC-377BA20E7E83}"/>
                </a:ext>
              </a:extLst>
            </p:cNvPr>
            <p:cNvSpPr/>
            <p:nvPr/>
          </p:nvSpPr>
          <p:spPr>
            <a:xfrm>
              <a:off x="4805808" y="2602335"/>
              <a:ext cx="293090" cy="183885"/>
            </a:xfrm>
            <a:custGeom>
              <a:avLst/>
              <a:gdLst/>
              <a:ahLst/>
              <a:cxnLst/>
              <a:rect l="l" t="t" r="r" b="b"/>
              <a:pathLst>
                <a:path w="3956" h="2482" extrusionOk="0">
                  <a:moveTo>
                    <a:pt x="0" y="1"/>
                  </a:moveTo>
                  <a:lnTo>
                    <a:pt x="3791" y="2481"/>
                  </a:lnTo>
                  <a:cubicBezTo>
                    <a:pt x="3856" y="2322"/>
                    <a:pt x="3909" y="2158"/>
                    <a:pt x="3956" y="1993"/>
                  </a:cubicBezTo>
                  <a:lnTo>
                    <a:pt x="0" y="1"/>
                  </a:lnTo>
                  <a:close/>
                </a:path>
              </a:pathLst>
            </a:custGeom>
            <a:solidFill>
              <a:srgbClr val="EDF0F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/>
                <a:sym typeface="Arial"/>
              </a:endParaRPr>
            </a:p>
          </p:txBody>
        </p:sp>
        <p:sp>
          <p:nvSpPr>
            <p:cNvPr id="430" name="Google Shape;1031;p43">
              <a:extLst>
                <a:ext uri="{FF2B5EF4-FFF2-40B4-BE49-F238E27FC236}">
                  <a16:creationId xmlns="" xmlns:a16="http://schemas.microsoft.com/office/drawing/2014/main" id="{087A00E5-2401-44CA-8B96-06D920BB17FA}"/>
                </a:ext>
              </a:extLst>
            </p:cNvPr>
            <p:cNvSpPr/>
            <p:nvPr/>
          </p:nvSpPr>
          <p:spPr>
            <a:xfrm>
              <a:off x="4805808" y="2602335"/>
              <a:ext cx="304426" cy="71494"/>
            </a:xfrm>
            <a:custGeom>
              <a:avLst/>
              <a:gdLst/>
              <a:ahLst/>
              <a:cxnLst/>
              <a:rect l="l" t="t" r="r" b="b"/>
              <a:pathLst>
                <a:path w="4109" h="965" extrusionOk="0">
                  <a:moveTo>
                    <a:pt x="0" y="1"/>
                  </a:moveTo>
                  <a:lnTo>
                    <a:pt x="4109" y="965"/>
                  </a:lnTo>
                  <a:lnTo>
                    <a:pt x="4109" y="782"/>
                  </a:lnTo>
                  <a:cubicBezTo>
                    <a:pt x="4109" y="683"/>
                    <a:pt x="4109" y="583"/>
                    <a:pt x="4103" y="489"/>
                  </a:cubicBezTo>
                  <a:lnTo>
                    <a:pt x="0" y="1"/>
                  </a:lnTo>
                  <a:close/>
                </a:path>
              </a:pathLst>
            </a:custGeom>
            <a:solidFill>
              <a:srgbClr val="EDF0F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/>
                <a:sym typeface="Arial"/>
              </a:endParaRPr>
            </a:p>
          </p:txBody>
        </p:sp>
        <p:sp>
          <p:nvSpPr>
            <p:cNvPr id="431" name="Google Shape;1032;p43">
              <a:extLst>
                <a:ext uri="{FF2B5EF4-FFF2-40B4-BE49-F238E27FC236}">
                  <a16:creationId xmlns="" xmlns:a16="http://schemas.microsoft.com/office/drawing/2014/main" id="{A34F7F19-AF8C-40C8-8FBE-7D4ED0DFF9AC}"/>
                </a:ext>
              </a:extLst>
            </p:cNvPr>
            <p:cNvSpPr/>
            <p:nvPr/>
          </p:nvSpPr>
          <p:spPr>
            <a:xfrm>
              <a:off x="4806178" y="2536174"/>
              <a:ext cx="291905" cy="66234"/>
            </a:xfrm>
            <a:custGeom>
              <a:avLst/>
              <a:gdLst/>
              <a:ahLst/>
              <a:cxnLst/>
              <a:rect l="l" t="t" r="r" b="b"/>
              <a:pathLst>
                <a:path w="3940" h="894" extrusionOk="0">
                  <a:moveTo>
                    <a:pt x="3798" y="0"/>
                  </a:moveTo>
                  <a:lnTo>
                    <a:pt x="1" y="894"/>
                  </a:lnTo>
                  <a:lnTo>
                    <a:pt x="3939" y="423"/>
                  </a:lnTo>
                  <a:cubicBezTo>
                    <a:pt x="3898" y="277"/>
                    <a:pt x="3851" y="135"/>
                    <a:pt x="3798" y="0"/>
                  </a:cubicBezTo>
                  <a:close/>
                </a:path>
              </a:pathLst>
            </a:custGeom>
            <a:solidFill>
              <a:srgbClr val="EDF0F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/>
                <a:sym typeface="Arial"/>
              </a:endParaRPr>
            </a:p>
          </p:txBody>
        </p:sp>
        <p:sp>
          <p:nvSpPr>
            <p:cNvPr id="432" name="Google Shape;1033;p43">
              <a:extLst>
                <a:ext uri="{FF2B5EF4-FFF2-40B4-BE49-F238E27FC236}">
                  <a16:creationId xmlns="" xmlns:a16="http://schemas.microsoft.com/office/drawing/2014/main" id="{AF977C17-210D-485A-8E1A-93659A2243B0}"/>
                </a:ext>
              </a:extLst>
            </p:cNvPr>
            <p:cNvSpPr/>
            <p:nvPr/>
          </p:nvSpPr>
          <p:spPr>
            <a:xfrm>
              <a:off x="4805808" y="2449936"/>
              <a:ext cx="250860" cy="152472"/>
            </a:xfrm>
            <a:custGeom>
              <a:avLst/>
              <a:gdLst/>
              <a:ahLst/>
              <a:cxnLst/>
              <a:rect l="l" t="t" r="r" b="b"/>
              <a:pathLst>
                <a:path w="3386" h="2058" extrusionOk="0">
                  <a:moveTo>
                    <a:pt x="3139" y="0"/>
                  </a:moveTo>
                  <a:lnTo>
                    <a:pt x="0" y="2058"/>
                  </a:lnTo>
                  <a:lnTo>
                    <a:pt x="3386" y="347"/>
                  </a:lnTo>
                  <a:cubicBezTo>
                    <a:pt x="3309" y="224"/>
                    <a:pt x="3227" y="112"/>
                    <a:pt x="3139" y="0"/>
                  </a:cubicBezTo>
                  <a:close/>
                </a:path>
              </a:pathLst>
            </a:custGeom>
            <a:solidFill>
              <a:srgbClr val="EDF0F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/>
                <a:sym typeface="Arial"/>
              </a:endParaRPr>
            </a:p>
          </p:txBody>
        </p:sp>
        <p:sp>
          <p:nvSpPr>
            <p:cNvPr id="433" name="Google Shape;1034;p43">
              <a:extLst>
                <a:ext uri="{FF2B5EF4-FFF2-40B4-BE49-F238E27FC236}">
                  <a16:creationId xmlns="" xmlns:a16="http://schemas.microsoft.com/office/drawing/2014/main" id="{39D24281-B2CD-4EBC-90A4-26660AB2D697}"/>
                </a:ext>
              </a:extLst>
            </p:cNvPr>
            <p:cNvSpPr/>
            <p:nvPr/>
          </p:nvSpPr>
          <p:spPr>
            <a:xfrm>
              <a:off x="4805808" y="2334507"/>
              <a:ext cx="226485" cy="267900"/>
            </a:xfrm>
            <a:custGeom>
              <a:avLst/>
              <a:gdLst/>
              <a:ahLst/>
              <a:cxnLst/>
              <a:rect l="l" t="t" r="r" b="b"/>
              <a:pathLst>
                <a:path w="3057" h="3616" extrusionOk="0">
                  <a:moveTo>
                    <a:pt x="2898" y="1"/>
                  </a:moveTo>
                  <a:lnTo>
                    <a:pt x="2898" y="1"/>
                  </a:lnTo>
                  <a:cubicBezTo>
                    <a:pt x="2951" y="42"/>
                    <a:pt x="3004" y="89"/>
                    <a:pt x="3056" y="136"/>
                  </a:cubicBezTo>
                  <a:cubicBezTo>
                    <a:pt x="3010" y="89"/>
                    <a:pt x="2951" y="42"/>
                    <a:pt x="2898" y="1"/>
                  </a:cubicBezTo>
                  <a:close/>
                  <a:moveTo>
                    <a:pt x="2210" y="653"/>
                  </a:moveTo>
                  <a:lnTo>
                    <a:pt x="0" y="3616"/>
                  </a:lnTo>
                  <a:lnTo>
                    <a:pt x="2533" y="912"/>
                  </a:lnTo>
                  <a:cubicBezTo>
                    <a:pt x="2433" y="824"/>
                    <a:pt x="2322" y="736"/>
                    <a:pt x="2210" y="653"/>
                  </a:cubicBezTo>
                  <a:close/>
                </a:path>
              </a:pathLst>
            </a:custGeom>
            <a:solidFill>
              <a:srgbClr val="EDF0F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/>
                <a:sym typeface="Arial"/>
              </a:endParaRPr>
            </a:p>
          </p:txBody>
        </p:sp>
        <p:sp>
          <p:nvSpPr>
            <p:cNvPr id="434" name="Google Shape;1035;p43">
              <a:extLst>
                <a:ext uri="{FF2B5EF4-FFF2-40B4-BE49-F238E27FC236}">
                  <a16:creationId xmlns="" xmlns:a16="http://schemas.microsoft.com/office/drawing/2014/main" id="{4CE4205D-0778-43E4-B3AD-4B1A103B636E}"/>
                </a:ext>
              </a:extLst>
            </p:cNvPr>
            <p:cNvSpPr/>
            <p:nvPr/>
          </p:nvSpPr>
          <p:spPr>
            <a:xfrm>
              <a:off x="4805808" y="2337989"/>
              <a:ext cx="108020" cy="264418"/>
            </a:xfrm>
            <a:custGeom>
              <a:avLst/>
              <a:gdLst/>
              <a:ahLst/>
              <a:cxnLst/>
              <a:rect l="l" t="t" r="r" b="b"/>
              <a:pathLst>
                <a:path w="1458" h="3569" extrusionOk="0">
                  <a:moveTo>
                    <a:pt x="1076" y="1"/>
                  </a:moveTo>
                  <a:lnTo>
                    <a:pt x="0" y="3569"/>
                  </a:lnTo>
                  <a:lnTo>
                    <a:pt x="1458" y="160"/>
                  </a:lnTo>
                  <a:cubicBezTo>
                    <a:pt x="1334" y="101"/>
                    <a:pt x="1205" y="48"/>
                    <a:pt x="1076" y="1"/>
                  </a:cubicBezTo>
                  <a:close/>
                </a:path>
              </a:pathLst>
            </a:custGeom>
            <a:solidFill>
              <a:srgbClr val="EDF0F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/>
                <a:sym typeface="Arial"/>
              </a:endParaRPr>
            </a:p>
          </p:txBody>
        </p:sp>
        <p:sp>
          <p:nvSpPr>
            <p:cNvPr id="435" name="Google Shape;1036;p43">
              <a:extLst>
                <a:ext uri="{FF2B5EF4-FFF2-40B4-BE49-F238E27FC236}">
                  <a16:creationId xmlns="" xmlns:a16="http://schemas.microsoft.com/office/drawing/2014/main" id="{5562F996-A90D-42CD-9000-E1BB83362A8E}"/>
                </a:ext>
              </a:extLst>
            </p:cNvPr>
            <p:cNvSpPr/>
            <p:nvPr/>
          </p:nvSpPr>
          <p:spPr>
            <a:xfrm>
              <a:off x="4740462" y="2537063"/>
              <a:ext cx="130690" cy="130690"/>
            </a:xfrm>
            <a:custGeom>
              <a:avLst/>
              <a:gdLst/>
              <a:ahLst/>
              <a:cxnLst/>
              <a:rect l="l" t="t" r="r" b="b"/>
              <a:pathLst>
                <a:path w="1764" h="1764" extrusionOk="0">
                  <a:moveTo>
                    <a:pt x="882" y="0"/>
                  </a:moveTo>
                  <a:cubicBezTo>
                    <a:pt x="394" y="0"/>
                    <a:pt x="0" y="394"/>
                    <a:pt x="0" y="882"/>
                  </a:cubicBezTo>
                  <a:cubicBezTo>
                    <a:pt x="0" y="1370"/>
                    <a:pt x="394" y="1763"/>
                    <a:pt x="882" y="1763"/>
                  </a:cubicBezTo>
                  <a:cubicBezTo>
                    <a:pt x="1370" y="1763"/>
                    <a:pt x="1764" y="1370"/>
                    <a:pt x="1764" y="882"/>
                  </a:cubicBezTo>
                  <a:cubicBezTo>
                    <a:pt x="1764" y="394"/>
                    <a:pt x="1370" y="0"/>
                    <a:pt x="882" y="0"/>
                  </a:cubicBezTo>
                  <a:close/>
                </a:path>
              </a:pathLst>
            </a:custGeom>
            <a:solidFill>
              <a:srgbClr val="D2DBFA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/>
                <a:sym typeface="Arial"/>
              </a:endParaRPr>
            </a:p>
          </p:txBody>
        </p:sp>
        <p:sp>
          <p:nvSpPr>
            <p:cNvPr id="436" name="Google Shape;1037;p43">
              <a:extLst>
                <a:ext uri="{FF2B5EF4-FFF2-40B4-BE49-F238E27FC236}">
                  <a16:creationId xmlns="" xmlns:a16="http://schemas.microsoft.com/office/drawing/2014/main" id="{63F0EA2D-9A68-4AB4-A0D4-747DFA56E77D}"/>
                </a:ext>
              </a:extLst>
            </p:cNvPr>
            <p:cNvSpPr/>
            <p:nvPr/>
          </p:nvSpPr>
          <p:spPr>
            <a:xfrm>
              <a:off x="4513975" y="2258789"/>
              <a:ext cx="635004" cy="561806"/>
            </a:xfrm>
            <a:custGeom>
              <a:avLst/>
              <a:gdLst/>
              <a:ahLst/>
              <a:cxnLst/>
              <a:rect l="l" t="t" r="r" b="b"/>
              <a:pathLst>
                <a:path w="8571" h="7583" extrusionOk="0">
                  <a:moveTo>
                    <a:pt x="4086" y="0"/>
                  </a:moveTo>
                  <a:cubicBezTo>
                    <a:pt x="4123" y="2"/>
                    <a:pt x="4159" y="3"/>
                    <a:pt x="4196" y="6"/>
                  </a:cubicBezTo>
                  <a:lnTo>
                    <a:pt x="4196" y="6"/>
                  </a:lnTo>
                  <a:cubicBezTo>
                    <a:pt x="4155" y="0"/>
                    <a:pt x="4121" y="0"/>
                    <a:pt x="4086" y="0"/>
                  </a:cubicBezTo>
                  <a:close/>
                  <a:moveTo>
                    <a:pt x="3751" y="0"/>
                  </a:moveTo>
                  <a:cubicBezTo>
                    <a:pt x="3639" y="5"/>
                    <a:pt x="3528" y="14"/>
                    <a:pt x="3418" y="26"/>
                  </a:cubicBezTo>
                  <a:lnTo>
                    <a:pt x="3418" y="26"/>
                  </a:lnTo>
                  <a:cubicBezTo>
                    <a:pt x="3503" y="17"/>
                    <a:pt x="3589" y="10"/>
                    <a:pt x="3675" y="6"/>
                  </a:cubicBezTo>
                  <a:lnTo>
                    <a:pt x="3751" y="0"/>
                  </a:lnTo>
                  <a:close/>
                  <a:moveTo>
                    <a:pt x="4196" y="6"/>
                  </a:moveTo>
                  <a:cubicBezTo>
                    <a:pt x="4196" y="6"/>
                    <a:pt x="4197" y="6"/>
                    <a:pt x="4198" y="6"/>
                  </a:cubicBezTo>
                  <a:cubicBezTo>
                    <a:pt x="4287" y="12"/>
                    <a:pt x="4376" y="20"/>
                    <a:pt x="4465" y="30"/>
                  </a:cubicBezTo>
                  <a:lnTo>
                    <a:pt x="4465" y="30"/>
                  </a:lnTo>
                  <a:cubicBezTo>
                    <a:pt x="4375" y="20"/>
                    <a:pt x="4285" y="11"/>
                    <a:pt x="4196" y="6"/>
                  </a:cubicBezTo>
                  <a:close/>
                  <a:moveTo>
                    <a:pt x="4465" y="30"/>
                  </a:moveTo>
                  <a:cubicBezTo>
                    <a:pt x="4637" y="51"/>
                    <a:pt x="4809" y="80"/>
                    <a:pt x="4979" y="118"/>
                  </a:cubicBezTo>
                  <a:cubicBezTo>
                    <a:pt x="4808" y="79"/>
                    <a:pt x="4637" y="50"/>
                    <a:pt x="4465" y="30"/>
                  </a:cubicBezTo>
                  <a:close/>
                  <a:moveTo>
                    <a:pt x="3418" y="26"/>
                  </a:moveTo>
                  <a:cubicBezTo>
                    <a:pt x="3139" y="56"/>
                    <a:pt x="2863" y="113"/>
                    <a:pt x="2593" y="194"/>
                  </a:cubicBezTo>
                  <a:cubicBezTo>
                    <a:pt x="2441" y="243"/>
                    <a:pt x="2290" y="296"/>
                    <a:pt x="2143" y="360"/>
                  </a:cubicBezTo>
                  <a:lnTo>
                    <a:pt x="2143" y="360"/>
                  </a:lnTo>
                  <a:cubicBezTo>
                    <a:pt x="2546" y="190"/>
                    <a:pt x="2975" y="77"/>
                    <a:pt x="3418" y="26"/>
                  </a:cubicBezTo>
                  <a:close/>
                  <a:moveTo>
                    <a:pt x="2143" y="360"/>
                  </a:moveTo>
                  <a:lnTo>
                    <a:pt x="2143" y="360"/>
                  </a:lnTo>
                  <a:cubicBezTo>
                    <a:pt x="2114" y="372"/>
                    <a:pt x="2085" y="385"/>
                    <a:pt x="2056" y="397"/>
                  </a:cubicBezTo>
                  <a:lnTo>
                    <a:pt x="2056" y="397"/>
                  </a:lnTo>
                  <a:cubicBezTo>
                    <a:pt x="2072" y="390"/>
                    <a:pt x="2089" y="383"/>
                    <a:pt x="2105" y="376"/>
                  </a:cubicBezTo>
                  <a:cubicBezTo>
                    <a:pt x="2118" y="371"/>
                    <a:pt x="2130" y="365"/>
                    <a:pt x="2143" y="360"/>
                  </a:cubicBezTo>
                  <a:close/>
                  <a:moveTo>
                    <a:pt x="5356" y="218"/>
                  </a:moveTo>
                  <a:cubicBezTo>
                    <a:pt x="5497" y="265"/>
                    <a:pt x="5632" y="318"/>
                    <a:pt x="5761" y="370"/>
                  </a:cubicBezTo>
                  <a:cubicBezTo>
                    <a:pt x="5809" y="391"/>
                    <a:pt x="5857" y="412"/>
                    <a:pt x="5904" y="434"/>
                  </a:cubicBezTo>
                  <a:lnTo>
                    <a:pt x="5904" y="434"/>
                  </a:lnTo>
                  <a:cubicBezTo>
                    <a:pt x="5727" y="351"/>
                    <a:pt x="5544" y="279"/>
                    <a:pt x="5356" y="218"/>
                  </a:cubicBezTo>
                  <a:close/>
                  <a:moveTo>
                    <a:pt x="5904" y="434"/>
                  </a:moveTo>
                  <a:cubicBezTo>
                    <a:pt x="6086" y="519"/>
                    <a:pt x="6262" y="616"/>
                    <a:pt x="6431" y="723"/>
                  </a:cubicBezTo>
                  <a:cubicBezTo>
                    <a:pt x="6263" y="616"/>
                    <a:pt x="6087" y="519"/>
                    <a:pt x="5904" y="434"/>
                  </a:cubicBezTo>
                  <a:close/>
                  <a:moveTo>
                    <a:pt x="2056" y="397"/>
                  </a:moveTo>
                  <a:cubicBezTo>
                    <a:pt x="1739" y="536"/>
                    <a:pt x="1438" y="716"/>
                    <a:pt x="1159" y="923"/>
                  </a:cubicBezTo>
                  <a:cubicBezTo>
                    <a:pt x="1149" y="930"/>
                    <a:pt x="1140" y="938"/>
                    <a:pt x="1130" y="945"/>
                  </a:cubicBezTo>
                  <a:lnTo>
                    <a:pt x="1130" y="945"/>
                  </a:lnTo>
                  <a:cubicBezTo>
                    <a:pt x="1417" y="727"/>
                    <a:pt x="1727" y="544"/>
                    <a:pt x="2056" y="397"/>
                  </a:cubicBezTo>
                  <a:close/>
                  <a:moveTo>
                    <a:pt x="6461" y="741"/>
                  </a:moveTo>
                  <a:lnTo>
                    <a:pt x="6461" y="741"/>
                  </a:lnTo>
                  <a:cubicBezTo>
                    <a:pt x="6590" y="829"/>
                    <a:pt x="6713" y="917"/>
                    <a:pt x="6837" y="1017"/>
                  </a:cubicBezTo>
                  <a:cubicBezTo>
                    <a:pt x="6796" y="982"/>
                    <a:pt x="6754" y="952"/>
                    <a:pt x="6713" y="917"/>
                  </a:cubicBezTo>
                  <a:cubicBezTo>
                    <a:pt x="6631" y="858"/>
                    <a:pt x="6549" y="800"/>
                    <a:pt x="6461" y="741"/>
                  </a:cubicBezTo>
                  <a:close/>
                  <a:moveTo>
                    <a:pt x="6995" y="1152"/>
                  </a:moveTo>
                  <a:lnTo>
                    <a:pt x="6995" y="1152"/>
                  </a:lnTo>
                  <a:cubicBezTo>
                    <a:pt x="7003" y="1159"/>
                    <a:pt x="7011" y="1166"/>
                    <a:pt x="7019" y="1173"/>
                  </a:cubicBezTo>
                  <a:lnTo>
                    <a:pt x="7019" y="1173"/>
                  </a:lnTo>
                  <a:cubicBezTo>
                    <a:pt x="7011" y="1166"/>
                    <a:pt x="7004" y="1159"/>
                    <a:pt x="6995" y="1152"/>
                  </a:cubicBezTo>
                  <a:close/>
                  <a:moveTo>
                    <a:pt x="1130" y="945"/>
                  </a:moveTo>
                  <a:cubicBezTo>
                    <a:pt x="691" y="1280"/>
                    <a:pt x="309" y="1694"/>
                    <a:pt x="8" y="2175"/>
                  </a:cubicBezTo>
                  <a:lnTo>
                    <a:pt x="8" y="2175"/>
                  </a:lnTo>
                  <a:cubicBezTo>
                    <a:pt x="25" y="2150"/>
                    <a:pt x="44" y="2124"/>
                    <a:pt x="60" y="2099"/>
                  </a:cubicBezTo>
                  <a:cubicBezTo>
                    <a:pt x="260" y="1793"/>
                    <a:pt x="495" y="1511"/>
                    <a:pt x="765" y="1258"/>
                  </a:cubicBezTo>
                  <a:cubicBezTo>
                    <a:pt x="880" y="1149"/>
                    <a:pt x="1005" y="1044"/>
                    <a:pt x="1130" y="945"/>
                  </a:cubicBezTo>
                  <a:close/>
                  <a:moveTo>
                    <a:pt x="8" y="2175"/>
                  </a:moveTo>
                  <a:cubicBezTo>
                    <a:pt x="6" y="2179"/>
                    <a:pt x="3" y="2183"/>
                    <a:pt x="1" y="2187"/>
                  </a:cubicBezTo>
                  <a:cubicBezTo>
                    <a:pt x="3" y="2183"/>
                    <a:pt x="6" y="2179"/>
                    <a:pt x="8" y="2175"/>
                  </a:cubicBezTo>
                  <a:close/>
                  <a:moveTo>
                    <a:pt x="7019" y="1173"/>
                  </a:moveTo>
                  <a:cubicBezTo>
                    <a:pt x="7050" y="1201"/>
                    <a:pt x="7079" y="1230"/>
                    <a:pt x="7107" y="1258"/>
                  </a:cubicBezTo>
                  <a:cubicBezTo>
                    <a:pt x="7378" y="1505"/>
                    <a:pt x="7613" y="1787"/>
                    <a:pt x="7813" y="2093"/>
                  </a:cubicBezTo>
                  <a:cubicBezTo>
                    <a:pt x="7907" y="2240"/>
                    <a:pt x="7995" y="2387"/>
                    <a:pt x="8077" y="2545"/>
                  </a:cubicBezTo>
                  <a:cubicBezTo>
                    <a:pt x="8242" y="2869"/>
                    <a:pt x="8365" y="3215"/>
                    <a:pt x="8447" y="3574"/>
                  </a:cubicBezTo>
                  <a:cubicBezTo>
                    <a:pt x="8471" y="3656"/>
                    <a:pt x="8488" y="3744"/>
                    <a:pt x="8506" y="3832"/>
                  </a:cubicBezTo>
                  <a:cubicBezTo>
                    <a:pt x="8326" y="2802"/>
                    <a:pt x="7800" y="1864"/>
                    <a:pt x="7019" y="1173"/>
                  </a:cubicBezTo>
                  <a:close/>
                  <a:moveTo>
                    <a:pt x="8506" y="3838"/>
                  </a:moveTo>
                  <a:lnTo>
                    <a:pt x="8506" y="3838"/>
                  </a:lnTo>
                  <a:cubicBezTo>
                    <a:pt x="8516" y="3900"/>
                    <a:pt x="8525" y="3970"/>
                    <a:pt x="8535" y="4038"/>
                  </a:cubicBezTo>
                  <a:lnTo>
                    <a:pt x="8535" y="4038"/>
                  </a:lnTo>
                  <a:cubicBezTo>
                    <a:pt x="8526" y="3971"/>
                    <a:pt x="8517" y="3904"/>
                    <a:pt x="8506" y="3838"/>
                  </a:cubicBezTo>
                  <a:close/>
                  <a:moveTo>
                    <a:pt x="8535" y="4038"/>
                  </a:moveTo>
                  <a:lnTo>
                    <a:pt x="8535" y="4038"/>
                  </a:lnTo>
                  <a:cubicBezTo>
                    <a:pt x="8544" y="4110"/>
                    <a:pt x="8551" y="4183"/>
                    <a:pt x="8557" y="4256"/>
                  </a:cubicBezTo>
                  <a:lnTo>
                    <a:pt x="8557" y="4256"/>
                  </a:lnTo>
                  <a:cubicBezTo>
                    <a:pt x="8552" y="4198"/>
                    <a:pt x="8547" y="4142"/>
                    <a:pt x="8541" y="4085"/>
                  </a:cubicBezTo>
                  <a:cubicBezTo>
                    <a:pt x="8539" y="4070"/>
                    <a:pt x="8537" y="4054"/>
                    <a:pt x="8535" y="4038"/>
                  </a:cubicBezTo>
                  <a:close/>
                  <a:moveTo>
                    <a:pt x="8557" y="4256"/>
                  </a:moveTo>
                  <a:cubicBezTo>
                    <a:pt x="8565" y="4372"/>
                    <a:pt x="8571" y="4490"/>
                    <a:pt x="8571" y="4607"/>
                  </a:cubicBezTo>
                  <a:lnTo>
                    <a:pt x="8571" y="4607"/>
                  </a:lnTo>
                  <a:cubicBezTo>
                    <a:pt x="8571" y="4490"/>
                    <a:pt x="8566" y="4373"/>
                    <a:pt x="8557" y="4256"/>
                  </a:cubicBezTo>
                  <a:close/>
                  <a:moveTo>
                    <a:pt x="8571" y="4656"/>
                  </a:moveTo>
                  <a:cubicBezTo>
                    <a:pt x="8571" y="4802"/>
                    <a:pt x="8562" y="4953"/>
                    <a:pt x="8548" y="5104"/>
                  </a:cubicBezTo>
                  <a:lnTo>
                    <a:pt x="8548" y="5104"/>
                  </a:lnTo>
                  <a:cubicBezTo>
                    <a:pt x="8563" y="4955"/>
                    <a:pt x="8571" y="4806"/>
                    <a:pt x="8571" y="4656"/>
                  </a:cubicBezTo>
                  <a:close/>
                  <a:moveTo>
                    <a:pt x="8548" y="5104"/>
                  </a:moveTo>
                  <a:cubicBezTo>
                    <a:pt x="8544" y="5145"/>
                    <a:pt x="8540" y="5186"/>
                    <a:pt x="8534" y="5228"/>
                  </a:cubicBezTo>
                  <a:lnTo>
                    <a:pt x="8534" y="5228"/>
                  </a:lnTo>
                  <a:cubicBezTo>
                    <a:pt x="8537" y="5211"/>
                    <a:pt x="8539" y="5195"/>
                    <a:pt x="8541" y="5178"/>
                  </a:cubicBezTo>
                  <a:cubicBezTo>
                    <a:pt x="8544" y="5154"/>
                    <a:pt x="8546" y="5129"/>
                    <a:pt x="8548" y="5104"/>
                  </a:cubicBezTo>
                  <a:close/>
                  <a:moveTo>
                    <a:pt x="8534" y="5228"/>
                  </a:moveTo>
                  <a:cubicBezTo>
                    <a:pt x="8516" y="5352"/>
                    <a:pt x="8495" y="5477"/>
                    <a:pt x="8471" y="5602"/>
                  </a:cubicBezTo>
                  <a:lnTo>
                    <a:pt x="8471" y="5602"/>
                  </a:lnTo>
                  <a:cubicBezTo>
                    <a:pt x="8497" y="5478"/>
                    <a:pt x="8518" y="5353"/>
                    <a:pt x="8534" y="5228"/>
                  </a:cubicBezTo>
                  <a:close/>
                  <a:moveTo>
                    <a:pt x="8471" y="5602"/>
                  </a:moveTo>
                  <a:cubicBezTo>
                    <a:pt x="8405" y="5910"/>
                    <a:pt x="8308" y="6210"/>
                    <a:pt x="8182" y="6498"/>
                  </a:cubicBezTo>
                  <a:lnTo>
                    <a:pt x="8182" y="6498"/>
                  </a:lnTo>
                  <a:cubicBezTo>
                    <a:pt x="8297" y="6240"/>
                    <a:pt x="8389" y="5968"/>
                    <a:pt x="8453" y="5690"/>
                  </a:cubicBezTo>
                  <a:cubicBezTo>
                    <a:pt x="8459" y="5661"/>
                    <a:pt x="8465" y="5631"/>
                    <a:pt x="8471" y="5602"/>
                  </a:cubicBezTo>
                  <a:close/>
                  <a:moveTo>
                    <a:pt x="8182" y="6498"/>
                  </a:moveTo>
                  <a:cubicBezTo>
                    <a:pt x="8149" y="6573"/>
                    <a:pt x="8114" y="6646"/>
                    <a:pt x="8077" y="6718"/>
                  </a:cubicBezTo>
                  <a:cubicBezTo>
                    <a:pt x="8001" y="6871"/>
                    <a:pt x="7912" y="7024"/>
                    <a:pt x="7818" y="7165"/>
                  </a:cubicBezTo>
                  <a:cubicBezTo>
                    <a:pt x="7724" y="7306"/>
                    <a:pt x="7624" y="7447"/>
                    <a:pt x="7519" y="7577"/>
                  </a:cubicBezTo>
                  <a:lnTo>
                    <a:pt x="7519" y="7582"/>
                  </a:lnTo>
                  <a:cubicBezTo>
                    <a:pt x="7789" y="7250"/>
                    <a:pt x="8012" y="6885"/>
                    <a:pt x="8182" y="6498"/>
                  </a:cubicBezTo>
                  <a:close/>
                </a:path>
              </a:pathLst>
            </a:custGeom>
            <a:solidFill>
              <a:srgbClr val="A9B9E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/>
                <a:sym typeface="Arial"/>
              </a:endParaRPr>
            </a:p>
          </p:txBody>
        </p:sp>
        <p:sp>
          <p:nvSpPr>
            <p:cNvPr id="437" name="Google Shape;1038;p43">
              <a:extLst>
                <a:ext uri="{FF2B5EF4-FFF2-40B4-BE49-F238E27FC236}">
                  <a16:creationId xmlns="" xmlns:a16="http://schemas.microsoft.com/office/drawing/2014/main" id="{DEA755C3-4F05-4D9D-A8F5-B7DA122D25A9}"/>
                </a:ext>
              </a:extLst>
            </p:cNvPr>
            <p:cNvSpPr/>
            <p:nvPr/>
          </p:nvSpPr>
          <p:spPr>
            <a:xfrm>
              <a:off x="4518347" y="2260049"/>
              <a:ext cx="630633" cy="560101"/>
            </a:xfrm>
            <a:custGeom>
              <a:avLst/>
              <a:gdLst/>
              <a:ahLst/>
              <a:cxnLst/>
              <a:rect l="l" t="t" r="r" b="b"/>
              <a:pathLst>
                <a:path w="8512" h="7560" extrusionOk="0">
                  <a:moveTo>
                    <a:pt x="3621" y="1"/>
                  </a:moveTo>
                  <a:cubicBezTo>
                    <a:pt x="3257" y="18"/>
                    <a:pt x="2893" y="83"/>
                    <a:pt x="2540" y="189"/>
                  </a:cubicBezTo>
                  <a:lnTo>
                    <a:pt x="2734" y="812"/>
                  </a:lnTo>
                  <a:cubicBezTo>
                    <a:pt x="2940" y="788"/>
                    <a:pt x="3151" y="771"/>
                    <a:pt x="3363" y="771"/>
                  </a:cubicBezTo>
                  <a:cubicBezTo>
                    <a:pt x="3463" y="771"/>
                    <a:pt x="3569" y="771"/>
                    <a:pt x="3668" y="783"/>
                  </a:cubicBezTo>
                  <a:lnTo>
                    <a:pt x="3621" y="1"/>
                  </a:lnTo>
                  <a:close/>
                  <a:moveTo>
                    <a:pt x="4139" y="1"/>
                  </a:moveTo>
                  <a:lnTo>
                    <a:pt x="4092" y="830"/>
                  </a:lnTo>
                  <a:cubicBezTo>
                    <a:pt x="4391" y="877"/>
                    <a:pt x="4679" y="953"/>
                    <a:pt x="4962" y="1053"/>
                  </a:cubicBezTo>
                  <a:lnTo>
                    <a:pt x="5220" y="189"/>
                  </a:lnTo>
                  <a:cubicBezTo>
                    <a:pt x="5126" y="159"/>
                    <a:pt x="5032" y="130"/>
                    <a:pt x="4932" y="112"/>
                  </a:cubicBezTo>
                  <a:lnTo>
                    <a:pt x="4926" y="112"/>
                  </a:lnTo>
                  <a:cubicBezTo>
                    <a:pt x="4668" y="54"/>
                    <a:pt x="4403" y="18"/>
                    <a:pt x="4139" y="1"/>
                  </a:cubicBezTo>
                  <a:close/>
                  <a:moveTo>
                    <a:pt x="2052" y="365"/>
                  </a:moveTo>
                  <a:cubicBezTo>
                    <a:pt x="1717" y="506"/>
                    <a:pt x="1400" y="688"/>
                    <a:pt x="1106" y="912"/>
                  </a:cubicBezTo>
                  <a:lnTo>
                    <a:pt x="1341" y="1229"/>
                  </a:lnTo>
                  <a:cubicBezTo>
                    <a:pt x="1641" y="1082"/>
                    <a:pt x="1958" y="971"/>
                    <a:pt x="2281" y="894"/>
                  </a:cubicBezTo>
                  <a:lnTo>
                    <a:pt x="2052" y="365"/>
                  </a:lnTo>
                  <a:close/>
                  <a:moveTo>
                    <a:pt x="5702" y="365"/>
                  </a:moveTo>
                  <a:lnTo>
                    <a:pt x="5338" y="1212"/>
                  </a:lnTo>
                  <a:cubicBezTo>
                    <a:pt x="5602" y="1341"/>
                    <a:pt x="5855" y="1488"/>
                    <a:pt x="6090" y="1664"/>
                  </a:cubicBezTo>
                  <a:lnTo>
                    <a:pt x="6648" y="912"/>
                  </a:lnTo>
                  <a:cubicBezTo>
                    <a:pt x="6572" y="847"/>
                    <a:pt x="6484" y="788"/>
                    <a:pt x="6402" y="735"/>
                  </a:cubicBezTo>
                  <a:lnTo>
                    <a:pt x="6384" y="724"/>
                  </a:lnTo>
                  <a:lnTo>
                    <a:pt x="6372" y="718"/>
                  </a:lnTo>
                  <a:cubicBezTo>
                    <a:pt x="6161" y="583"/>
                    <a:pt x="5937" y="465"/>
                    <a:pt x="5708" y="365"/>
                  </a:cubicBezTo>
                  <a:close/>
                  <a:moveTo>
                    <a:pt x="706" y="1247"/>
                  </a:moveTo>
                  <a:cubicBezTo>
                    <a:pt x="436" y="1494"/>
                    <a:pt x="201" y="1776"/>
                    <a:pt x="1" y="2087"/>
                  </a:cubicBezTo>
                  <a:lnTo>
                    <a:pt x="71" y="2134"/>
                  </a:lnTo>
                  <a:cubicBezTo>
                    <a:pt x="324" y="1876"/>
                    <a:pt x="606" y="1652"/>
                    <a:pt x="912" y="1464"/>
                  </a:cubicBezTo>
                  <a:lnTo>
                    <a:pt x="706" y="1247"/>
                  </a:lnTo>
                  <a:close/>
                  <a:moveTo>
                    <a:pt x="7048" y="1247"/>
                  </a:moveTo>
                  <a:lnTo>
                    <a:pt x="6413" y="1923"/>
                  </a:lnTo>
                  <a:cubicBezTo>
                    <a:pt x="6637" y="2117"/>
                    <a:pt x="6837" y="2328"/>
                    <a:pt x="7019" y="2563"/>
                  </a:cubicBezTo>
                  <a:lnTo>
                    <a:pt x="7754" y="2082"/>
                  </a:lnTo>
                  <a:cubicBezTo>
                    <a:pt x="7554" y="1776"/>
                    <a:pt x="7319" y="1494"/>
                    <a:pt x="7048" y="1247"/>
                  </a:cubicBezTo>
                  <a:close/>
                  <a:moveTo>
                    <a:pt x="8012" y="2522"/>
                  </a:moveTo>
                  <a:lnTo>
                    <a:pt x="7260" y="2904"/>
                  </a:lnTo>
                  <a:cubicBezTo>
                    <a:pt x="7430" y="3163"/>
                    <a:pt x="7565" y="3439"/>
                    <a:pt x="7677" y="3721"/>
                  </a:cubicBezTo>
                  <a:lnTo>
                    <a:pt x="8388" y="3557"/>
                  </a:lnTo>
                  <a:cubicBezTo>
                    <a:pt x="8306" y="3198"/>
                    <a:pt x="8177" y="2852"/>
                    <a:pt x="8012" y="2528"/>
                  </a:cubicBezTo>
                  <a:lnTo>
                    <a:pt x="8012" y="2522"/>
                  </a:lnTo>
                  <a:close/>
                  <a:moveTo>
                    <a:pt x="8476" y="4068"/>
                  </a:moveTo>
                  <a:cubicBezTo>
                    <a:pt x="8477" y="4068"/>
                    <a:pt x="8477" y="4069"/>
                    <a:pt x="8477" y="4069"/>
                  </a:cubicBezTo>
                  <a:lnTo>
                    <a:pt x="8477" y="4069"/>
                  </a:lnTo>
                  <a:lnTo>
                    <a:pt x="8482" y="4068"/>
                  </a:lnTo>
                  <a:close/>
                  <a:moveTo>
                    <a:pt x="8477" y="4069"/>
                  </a:moveTo>
                  <a:lnTo>
                    <a:pt x="7818" y="4150"/>
                  </a:lnTo>
                  <a:cubicBezTo>
                    <a:pt x="7906" y="4462"/>
                    <a:pt x="7959" y="4785"/>
                    <a:pt x="7983" y="5109"/>
                  </a:cubicBezTo>
                  <a:lnTo>
                    <a:pt x="8476" y="5167"/>
                  </a:lnTo>
                  <a:lnTo>
                    <a:pt x="8476" y="5167"/>
                  </a:lnTo>
                  <a:cubicBezTo>
                    <a:pt x="8476" y="5165"/>
                    <a:pt x="8476" y="5163"/>
                    <a:pt x="8476" y="5161"/>
                  </a:cubicBezTo>
                  <a:cubicBezTo>
                    <a:pt x="8500" y="4991"/>
                    <a:pt x="8512" y="4815"/>
                    <a:pt x="8512" y="4638"/>
                  </a:cubicBezTo>
                  <a:lnTo>
                    <a:pt x="8512" y="4621"/>
                  </a:lnTo>
                  <a:lnTo>
                    <a:pt x="8512" y="4597"/>
                  </a:lnTo>
                  <a:cubicBezTo>
                    <a:pt x="8512" y="4421"/>
                    <a:pt x="8500" y="4245"/>
                    <a:pt x="8477" y="4069"/>
                  </a:cubicBezTo>
                  <a:close/>
                  <a:moveTo>
                    <a:pt x="8476" y="5167"/>
                  </a:moveTo>
                  <a:cubicBezTo>
                    <a:pt x="8458" y="5342"/>
                    <a:pt x="8429" y="5510"/>
                    <a:pt x="8388" y="5673"/>
                  </a:cubicBezTo>
                  <a:cubicBezTo>
                    <a:pt x="8388" y="5675"/>
                    <a:pt x="8387" y="5677"/>
                    <a:pt x="8387" y="5678"/>
                  </a:cubicBezTo>
                  <a:lnTo>
                    <a:pt x="8387" y="5678"/>
                  </a:lnTo>
                  <a:lnTo>
                    <a:pt x="7989" y="5585"/>
                  </a:lnTo>
                  <a:cubicBezTo>
                    <a:pt x="7977" y="5931"/>
                    <a:pt x="7924" y="6272"/>
                    <a:pt x="7830" y="6613"/>
                  </a:cubicBezTo>
                  <a:lnTo>
                    <a:pt x="8012" y="6701"/>
                  </a:lnTo>
                  <a:cubicBezTo>
                    <a:pt x="8182" y="6380"/>
                    <a:pt x="8305" y="6035"/>
                    <a:pt x="8387" y="5678"/>
                  </a:cubicBezTo>
                  <a:lnTo>
                    <a:pt x="8387" y="5678"/>
                  </a:lnTo>
                  <a:lnTo>
                    <a:pt x="8388" y="5679"/>
                  </a:lnTo>
                  <a:cubicBezTo>
                    <a:pt x="8429" y="5508"/>
                    <a:pt x="8459" y="5338"/>
                    <a:pt x="8476" y="5167"/>
                  </a:cubicBezTo>
                  <a:lnTo>
                    <a:pt x="8476" y="5167"/>
                  </a:lnTo>
                  <a:close/>
                  <a:moveTo>
                    <a:pt x="7671" y="7095"/>
                  </a:moveTo>
                  <a:cubicBezTo>
                    <a:pt x="7607" y="7254"/>
                    <a:pt x="7536" y="7413"/>
                    <a:pt x="7454" y="7560"/>
                  </a:cubicBezTo>
                  <a:cubicBezTo>
                    <a:pt x="7565" y="7430"/>
                    <a:pt x="7665" y="7295"/>
                    <a:pt x="7754" y="7148"/>
                  </a:cubicBezTo>
                  <a:lnTo>
                    <a:pt x="7671" y="7095"/>
                  </a:lnTo>
                  <a:close/>
                </a:path>
              </a:pathLst>
            </a:custGeom>
            <a:solidFill>
              <a:srgbClr val="C8D3EA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/>
                <a:sym typeface="Arial"/>
              </a:endParaRPr>
            </a:p>
          </p:txBody>
        </p:sp>
        <p:sp>
          <p:nvSpPr>
            <p:cNvPr id="438" name="Google Shape;1039;p43">
              <a:extLst>
                <a:ext uri="{FF2B5EF4-FFF2-40B4-BE49-F238E27FC236}">
                  <a16:creationId xmlns="" xmlns:a16="http://schemas.microsoft.com/office/drawing/2014/main" id="{19F06903-60E9-4478-88BC-073A802AF791}"/>
                </a:ext>
              </a:extLst>
            </p:cNvPr>
            <p:cNvSpPr/>
            <p:nvPr/>
          </p:nvSpPr>
          <p:spPr>
            <a:xfrm>
              <a:off x="4786174" y="2259234"/>
              <a:ext cx="38822" cy="61863"/>
            </a:xfrm>
            <a:custGeom>
              <a:avLst/>
              <a:gdLst/>
              <a:ahLst/>
              <a:cxnLst/>
              <a:rect l="l" t="t" r="r" b="b"/>
              <a:pathLst>
                <a:path w="524" h="835" extrusionOk="0">
                  <a:moveTo>
                    <a:pt x="77" y="0"/>
                  </a:moveTo>
                  <a:lnTo>
                    <a:pt x="1" y="6"/>
                  </a:lnTo>
                  <a:lnTo>
                    <a:pt x="48" y="788"/>
                  </a:lnTo>
                  <a:cubicBezTo>
                    <a:pt x="194" y="794"/>
                    <a:pt x="336" y="811"/>
                    <a:pt x="477" y="835"/>
                  </a:cubicBezTo>
                  <a:lnTo>
                    <a:pt x="524" y="6"/>
                  </a:lnTo>
                  <a:cubicBezTo>
                    <a:pt x="483" y="6"/>
                    <a:pt x="447" y="0"/>
                    <a:pt x="412" y="0"/>
                  </a:cubicBezTo>
                  <a:close/>
                </a:path>
              </a:pathLst>
            </a:custGeom>
            <a:solidFill>
              <a:srgbClr val="BCC8E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/>
                <a:sym typeface="Arial"/>
              </a:endParaRPr>
            </a:p>
          </p:txBody>
        </p:sp>
        <p:sp>
          <p:nvSpPr>
            <p:cNvPr id="439" name="Google Shape;1040;p43">
              <a:extLst>
                <a:ext uri="{FF2B5EF4-FFF2-40B4-BE49-F238E27FC236}">
                  <a16:creationId xmlns="" xmlns:a16="http://schemas.microsoft.com/office/drawing/2014/main" id="{41E59465-09F7-4D3E-AA5D-25D2F9EB5A63}"/>
                </a:ext>
              </a:extLst>
            </p:cNvPr>
            <p:cNvSpPr/>
            <p:nvPr/>
          </p:nvSpPr>
          <p:spPr>
            <a:xfrm>
              <a:off x="4670375" y="2273533"/>
              <a:ext cx="50083" cy="52824"/>
            </a:xfrm>
            <a:custGeom>
              <a:avLst/>
              <a:gdLst/>
              <a:ahLst/>
              <a:cxnLst/>
              <a:rect l="l" t="t" r="r" b="b"/>
              <a:pathLst>
                <a:path w="676" h="713" extrusionOk="0">
                  <a:moveTo>
                    <a:pt x="488" y="1"/>
                  </a:moveTo>
                  <a:cubicBezTo>
                    <a:pt x="317" y="54"/>
                    <a:pt x="159" y="113"/>
                    <a:pt x="0" y="183"/>
                  </a:cubicBezTo>
                  <a:lnTo>
                    <a:pt x="229" y="712"/>
                  </a:lnTo>
                  <a:cubicBezTo>
                    <a:pt x="376" y="677"/>
                    <a:pt x="523" y="653"/>
                    <a:pt x="676" y="630"/>
                  </a:cubicBezTo>
                  <a:lnTo>
                    <a:pt x="488" y="1"/>
                  </a:lnTo>
                  <a:close/>
                </a:path>
              </a:pathLst>
            </a:custGeom>
            <a:solidFill>
              <a:srgbClr val="BCC8E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/>
                <a:sym typeface="Arial"/>
              </a:endParaRPr>
            </a:p>
          </p:txBody>
        </p:sp>
        <p:sp>
          <p:nvSpPr>
            <p:cNvPr id="440" name="Google Shape;1041;p43">
              <a:extLst>
                <a:ext uri="{FF2B5EF4-FFF2-40B4-BE49-F238E27FC236}">
                  <a16:creationId xmlns="" xmlns:a16="http://schemas.microsoft.com/office/drawing/2014/main" id="{F2F628F3-0811-43A2-B240-7A12D364E8B9}"/>
                </a:ext>
              </a:extLst>
            </p:cNvPr>
            <p:cNvSpPr/>
            <p:nvPr/>
          </p:nvSpPr>
          <p:spPr>
            <a:xfrm>
              <a:off x="4570653" y="2327543"/>
              <a:ext cx="47046" cy="41044"/>
            </a:xfrm>
            <a:custGeom>
              <a:avLst/>
              <a:gdLst/>
              <a:ahLst/>
              <a:cxnLst/>
              <a:rect l="l" t="t" r="r" b="b"/>
              <a:pathLst>
                <a:path w="635" h="554" extrusionOk="0">
                  <a:moveTo>
                    <a:pt x="394" y="1"/>
                  </a:moveTo>
                  <a:cubicBezTo>
                    <a:pt x="259" y="107"/>
                    <a:pt x="123" y="218"/>
                    <a:pt x="0" y="336"/>
                  </a:cubicBezTo>
                  <a:lnTo>
                    <a:pt x="206" y="553"/>
                  </a:lnTo>
                  <a:cubicBezTo>
                    <a:pt x="347" y="471"/>
                    <a:pt x="488" y="395"/>
                    <a:pt x="635" y="318"/>
                  </a:cubicBezTo>
                  <a:lnTo>
                    <a:pt x="394" y="1"/>
                  </a:lnTo>
                  <a:close/>
                </a:path>
              </a:pathLst>
            </a:custGeom>
            <a:solidFill>
              <a:srgbClr val="BCC8E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/>
                <a:sym typeface="Arial"/>
              </a:endParaRPr>
            </a:p>
          </p:txBody>
        </p:sp>
        <p:sp>
          <p:nvSpPr>
            <p:cNvPr id="441" name="Google Shape;1042;p43">
              <a:extLst>
                <a:ext uri="{FF2B5EF4-FFF2-40B4-BE49-F238E27FC236}">
                  <a16:creationId xmlns="" xmlns:a16="http://schemas.microsoft.com/office/drawing/2014/main" id="{A6B369B3-9353-4EA0-B554-4C55DDA0829D}"/>
                </a:ext>
              </a:extLst>
            </p:cNvPr>
            <p:cNvSpPr/>
            <p:nvPr/>
          </p:nvSpPr>
          <p:spPr>
            <a:xfrm>
              <a:off x="4502714" y="2414670"/>
              <a:ext cx="21411" cy="27042"/>
            </a:xfrm>
            <a:custGeom>
              <a:avLst/>
              <a:gdLst/>
              <a:ahLst/>
              <a:cxnLst/>
              <a:rect l="l" t="t" r="r" b="b"/>
              <a:pathLst>
                <a:path w="289" h="365" extrusionOk="0">
                  <a:moveTo>
                    <a:pt x="212" y="0"/>
                  </a:moveTo>
                  <a:cubicBezTo>
                    <a:pt x="194" y="30"/>
                    <a:pt x="176" y="59"/>
                    <a:pt x="159" y="89"/>
                  </a:cubicBezTo>
                  <a:cubicBezTo>
                    <a:pt x="100" y="177"/>
                    <a:pt x="47" y="271"/>
                    <a:pt x="0" y="365"/>
                  </a:cubicBezTo>
                  <a:cubicBezTo>
                    <a:pt x="88" y="253"/>
                    <a:pt x="182" y="147"/>
                    <a:pt x="288" y="47"/>
                  </a:cubicBezTo>
                  <a:lnTo>
                    <a:pt x="212" y="0"/>
                  </a:lnTo>
                  <a:close/>
                </a:path>
              </a:pathLst>
            </a:custGeom>
            <a:solidFill>
              <a:srgbClr val="BCC8E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/>
                <a:sym typeface="Arial"/>
              </a:endParaRPr>
            </a:p>
          </p:txBody>
        </p:sp>
        <p:sp>
          <p:nvSpPr>
            <p:cNvPr id="442" name="Google Shape;1043;p43">
              <a:extLst>
                <a:ext uri="{FF2B5EF4-FFF2-40B4-BE49-F238E27FC236}">
                  <a16:creationId xmlns="" xmlns:a16="http://schemas.microsoft.com/office/drawing/2014/main" id="{52765D07-6077-47FE-983D-D23EE1F9AFE3}"/>
                </a:ext>
              </a:extLst>
            </p:cNvPr>
            <p:cNvSpPr/>
            <p:nvPr/>
          </p:nvSpPr>
          <p:spPr>
            <a:xfrm>
              <a:off x="5086675" y="2749992"/>
              <a:ext cx="25708" cy="40155"/>
            </a:xfrm>
            <a:custGeom>
              <a:avLst/>
              <a:gdLst/>
              <a:ahLst/>
              <a:cxnLst/>
              <a:rect l="l" t="t" r="r" b="b"/>
              <a:pathLst>
                <a:path w="347" h="542" extrusionOk="0">
                  <a:moveTo>
                    <a:pt x="165" y="0"/>
                  </a:moveTo>
                  <a:cubicBezTo>
                    <a:pt x="118" y="165"/>
                    <a:pt x="65" y="329"/>
                    <a:pt x="0" y="488"/>
                  </a:cubicBezTo>
                  <a:lnTo>
                    <a:pt x="88" y="541"/>
                  </a:lnTo>
                  <a:cubicBezTo>
                    <a:pt x="182" y="400"/>
                    <a:pt x="271" y="247"/>
                    <a:pt x="347" y="94"/>
                  </a:cubicBezTo>
                  <a:lnTo>
                    <a:pt x="165" y="0"/>
                  </a:lnTo>
                  <a:close/>
                </a:path>
              </a:pathLst>
            </a:custGeom>
            <a:solidFill>
              <a:srgbClr val="BCC8E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/>
                <a:sym typeface="Arial"/>
              </a:endParaRPr>
            </a:p>
          </p:txBody>
        </p:sp>
        <p:sp>
          <p:nvSpPr>
            <p:cNvPr id="443" name="Google Shape;1044;p43">
              <a:extLst>
                <a:ext uri="{FF2B5EF4-FFF2-40B4-BE49-F238E27FC236}">
                  <a16:creationId xmlns="" xmlns:a16="http://schemas.microsoft.com/office/drawing/2014/main" id="{3F193CBE-1E41-41D1-97D1-28A046AAE899}"/>
                </a:ext>
              </a:extLst>
            </p:cNvPr>
            <p:cNvSpPr/>
            <p:nvPr/>
          </p:nvSpPr>
          <p:spPr>
            <a:xfrm>
              <a:off x="5109716" y="2638490"/>
              <a:ext cx="37118" cy="41859"/>
            </a:xfrm>
            <a:custGeom>
              <a:avLst/>
              <a:gdLst/>
              <a:ahLst/>
              <a:cxnLst/>
              <a:rect l="l" t="t" r="r" b="b"/>
              <a:pathLst>
                <a:path w="501" h="565" extrusionOk="0">
                  <a:moveTo>
                    <a:pt x="1" y="1"/>
                  </a:moveTo>
                  <a:cubicBezTo>
                    <a:pt x="7" y="95"/>
                    <a:pt x="12" y="195"/>
                    <a:pt x="12" y="294"/>
                  </a:cubicBezTo>
                  <a:lnTo>
                    <a:pt x="12" y="471"/>
                  </a:lnTo>
                  <a:lnTo>
                    <a:pt x="412" y="565"/>
                  </a:lnTo>
                  <a:cubicBezTo>
                    <a:pt x="453" y="400"/>
                    <a:pt x="483" y="230"/>
                    <a:pt x="500" y="59"/>
                  </a:cubicBezTo>
                  <a:lnTo>
                    <a:pt x="7" y="1"/>
                  </a:lnTo>
                  <a:close/>
                </a:path>
              </a:pathLst>
            </a:custGeom>
            <a:solidFill>
              <a:srgbClr val="BCC8E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/>
                <a:sym typeface="Arial"/>
              </a:endParaRPr>
            </a:p>
          </p:txBody>
        </p:sp>
        <p:sp>
          <p:nvSpPr>
            <p:cNvPr id="444" name="Google Shape;1045;p43">
              <a:extLst>
                <a:ext uri="{FF2B5EF4-FFF2-40B4-BE49-F238E27FC236}">
                  <a16:creationId xmlns="" xmlns:a16="http://schemas.microsoft.com/office/drawing/2014/main" id="{8EF95040-0EE5-4B85-978A-ECDC4D5AC4A7}"/>
                </a:ext>
              </a:extLst>
            </p:cNvPr>
            <p:cNvSpPr/>
            <p:nvPr/>
          </p:nvSpPr>
          <p:spPr>
            <a:xfrm>
              <a:off x="5087490" y="2523950"/>
              <a:ext cx="59344" cy="43638"/>
            </a:xfrm>
            <a:custGeom>
              <a:avLst/>
              <a:gdLst/>
              <a:ahLst/>
              <a:cxnLst/>
              <a:rect l="l" t="t" r="r" b="b"/>
              <a:pathLst>
                <a:path w="801" h="589" extrusionOk="0">
                  <a:moveTo>
                    <a:pt x="706" y="1"/>
                  </a:moveTo>
                  <a:lnTo>
                    <a:pt x="1" y="165"/>
                  </a:lnTo>
                  <a:cubicBezTo>
                    <a:pt x="54" y="300"/>
                    <a:pt x="101" y="442"/>
                    <a:pt x="142" y="588"/>
                  </a:cubicBezTo>
                  <a:lnTo>
                    <a:pt x="800" y="506"/>
                  </a:lnTo>
                  <a:cubicBezTo>
                    <a:pt x="794" y="424"/>
                    <a:pt x="783" y="342"/>
                    <a:pt x="765" y="259"/>
                  </a:cubicBezTo>
                  <a:cubicBezTo>
                    <a:pt x="753" y="171"/>
                    <a:pt x="730" y="89"/>
                    <a:pt x="712" y="1"/>
                  </a:cubicBezTo>
                  <a:close/>
                </a:path>
              </a:pathLst>
            </a:custGeom>
            <a:solidFill>
              <a:srgbClr val="BCC8E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/>
                <a:sym typeface="Arial"/>
              </a:endParaRPr>
            </a:p>
          </p:txBody>
        </p:sp>
        <p:sp>
          <p:nvSpPr>
            <p:cNvPr id="445" name="Google Shape;1046;p43">
              <a:extLst>
                <a:ext uri="{FF2B5EF4-FFF2-40B4-BE49-F238E27FC236}">
                  <a16:creationId xmlns="" xmlns:a16="http://schemas.microsoft.com/office/drawing/2014/main" id="{6F096DB8-581A-4B26-9DA5-4A2C4A3E00DF}"/>
                </a:ext>
              </a:extLst>
            </p:cNvPr>
            <p:cNvSpPr/>
            <p:nvPr/>
          </p:nvSpPr>
          <p:spPr>
            <a:xfrm>
              <a:off x="5038296" y="2414226"/>
              <a:ext cx="73717" cy="61493"/>
            </a:xfrm>
            <a:custGeom>
              <a:avLst/>
              <a:gdLst/>
              <a:ahLst/>
              <a:cxnLst/>
              <a:rect l="l" t="t" r="r" b="b"/>
              <a:pathLst>
                <a:path w="995" h="830" extrusionOk="0">
                  <a:moveTo>
                    <a:pt x="736" y="1"/>
                  </a:moveTo>
                  <a:lnTo>
                    <a:pt x="1" y="482"/>
                  </a:lnTo>
                  <a:cubicBezTo>
                    <a:pt x="89" y="594"/>
                    <a:pt x="171" y="706"/>
                    <a:pt x="248" y="829"/>
                  </a:cubicBezTo>
                  <a:lnTo>
                    <a:pt x="994" y="447"/>
                  </a:lnTo>
                  <a:cubicBezTo>
                    <a:pt x="918" y="294"/>
                    <a:pt x="830" y="142"/>
                    <a:pt x="736" y="1"/>
                  </a:cubicBezTo>
                  <a:close/>
                </a:path>
              </a:pathLst>
            </a:custGeom>
            <a:solidFill>
              <a:srgbClr val="BCC8E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/>
                <a:sym typeface="Arial"/>
              </a:endParaRPr>
            </a:p>
          </p:txBody>
        </p:sp>
        <p:sp>
          <p:nvSpPr>
            <p:cNvPr id="446" name="Google Shape;1047;p43">
              <a:extLst>
                <a:ext uri="{FF2B5EF4-FFF2-40B4-BE49-F238E27FC236}">
                  <a16:creationId xmlns="" xmlns:a16="http://schemas.microsoft.com/office/drawing/2014/main" id="{F33BC65C-6A42-4284-9E70-820CFB11DE02}"/>
                </a:ext>
              </a:extLst>
            </p:cNvPr>
            <p:cNvSpPr/>
            <p:nvPr/>
          </p:nvSpPr>
          <p:spPr>
            <a:xfrm>
              <a:off x="4969542" y="2327098"/>
              <a:ext cx="71050" cy="74977"/>
            </a:xfrm>
            <a:custGeom>
              <a:avLst/>
              <a:gdLst/>
              <a:ahLst/>
              <a:cxnLst/>
              <a:rect l="l" t="t" r="r" b="b"/>
              <a:pathLst>
                <a:path w="959" h="1012" extrusionOk="0">
                  <a:moveTo>
                    <a:pt x="564" y="1"/>
                  </a:moveTo>
                  <a:lnTo>
                    <a:pt x="0" y="753"/>
                  </a:lnTo>
                  <a:cubicBezTo>
                    <a:pt x="112" y="836"/>
                    <a:pt x="223" y="924"/>
                    <a:pt x="323" y="1012"/>
                  </a:cubicBezTo>
                  <a:lnTo>
                    <a:pt x="958" y="336"/>
                  </a:lnTo>
                  <a:cubicBezTo>
                    <a:pt x="923" y="301"/>
                    <a:pt x="888" y="271"/>
                    <a:pt x="846" y="236"/>
                  </a:cubicBezTo>
                  <a:cubicBezTo>
                    <a:pt x="794" y="189"/>
                    <a:pt x="741" y="142"/>
                    <a:pt x="688" y="101"/>
                  </a:cubicBezTo>
                  <a:cubicBezTo>
                    <a:pt x="647" y="66"/>
                    <a:pt x="605" y="36"/>
                    <a:pt x="564" y="1"/>
                  </a:cubicBezTo>
                  <a:close/>
                </a:path>
              </a:pathLst>
            </a:custGeom>
            <a:solidFill>
              <a:srgbClr val="BCC8E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/>
                <a:sym typeface="Arial"/>
              </a:endParaRPr>
            </a:p>
          </p:txBody>
        </p:sp>
        <p:sp>
          <p:nvSpPr>
            <p:cNvPr id="447" name="Google Shape;1048;p43">
              <a:extLst>
                <a:ext uri="{FF2B5EF4-FFF2-40B4-BE49-F238E27FC236}">
                  <a16:creationId xmlns="" xmlns:a16="http://schemas.microsoft.com/office/drawing/2014/main" id="{39689212-C42A-4F6A-B775-D0191B98DEE8}"/>
                </a:ext>
              </a:extLst>
            </p:cNvPr>
            <p:cNvSpPr/>
            <p:nvPr/>
          </p:nvSpPr>
          <p:spPr>
            <a:xfrm>
              <a:off x="4885452" y="2273533"/>
              <a:ext cx="55862" cy="76310"/>
            </a:xfrm>
            <a:custGeom>
              <a:avLst/>
              <a:gdLst/>
              <a:ahLst/>
              <a:cxnLst/>
              <a:rect l="l" t="t" r="r" b="b"/>
              <a:pathLst>
                <a:path w="754" h="1030" extrusionOk="0">
                  <a:moveTo>
                    <a:pt x="265" y="1"/>
                  </a:moveTo>
                  <a:lnTo>
                    <a:pt x="1" y="871"/>
                  </a:lnTo>
                  <a:cubicBezTo>
                    <a:pt x="130" y="918"/>
                    <a:pt x="259" y="971"/>
                    <a:pt x="383" y="1030"/>
                  </a:cubicBezTo>
                  <a:lnTo>
                    <a:pt x="753" y="177"/>
                  </a:lnTo>
                  <a:cubicBezTo>
                    <a:pt x="618" y="124"/>
                    <a:pt x="483" y="72"/>
                    <a:pt x="347" y="24"/>
                  </a:cubicBezTo>
                  <a:lnTo>
                    <a:pt x="265" y="1"/>
                  </a:lnTo>
                  <a:close/>
                </a:path>
              </a:pathLst>
            </a:custGeom>
            <a:solidFill>
              <a:srgbClr val="BCC8E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/>
                <a:sym typeface="Arial"/>
              </a:endParaRPr>
            </a:p>
          </p:txBody>
        </p:sp>
        <p:sp>
          <p:nvSpPr>
            <p:cNvPr id="448" name="Google Shape;1049;p43">
              <a:extLst>
                <a:ext uri="{FF2B5EF4-FFF2-40B4-BE49-F238E27FC236}">
                  <a16:creationId xmlns="" xmlns:a16="http://schemas.microsoft.com/office/drawing/2014/main" id="{78DEA92E-05A9-40AC-975B-57F95D2EAEDF}"/>
                </a:ext>
              </a:extLst>
            </p:cNvPr>
            <p:cNvSpPr/>
            <p:nvPr/>
          </p:nvSpPr>
          <p:spPr>
            <a:xfrm>
              <a:off x="6609108" y="2721246"/>
              <a:ext cx="938022" cy="266122"/>
            </a:xfrm>
            <a:custGeom>
              <a:avLst/>
              <a:gdLst/>
              <a:ahLst/>
              <a:cxnLst/>
              <a:rect l="l" t="t" r="r" b="b"/>
              <a:pathLst>
                <a:path w="12661" h="3592" extrusionOk="0">
                  <a:moveTo>
                    <a:pt x="0" y="0"/>
                  </a:moveTo>
                  <a:cubicBezTo>
                    <a:pt x="0" y="0"/>
                    <a:pt x="717" y="2122"/>
                    <a:pt x="1334" y="2675"/>
                  </a:cubicBezTo>
                  <a:cubicBezTo>
                    <a:pt x="1951" y="3227"/>
                    <a:pt x="4455" y="3592"/>
                    <a:pt x="6330" y="3592"/>
                  </a:cubicBezTo>
                  <a:cubicBezTo>
                    <a:pt x="8100" y="3592"/>
                    <a:pt x="10704" y="3233"/>
                    <a:pt x="11327" y="2675"/>
                  </a:cubicBezTo>
                  <a:cubicBezTo>
                    <a:pt x="11944" y="2122"/>
                    <a:pt x="12661" y="0"/>
                    <a:pt x="12661" y="0"/>
                  </a:cubicBezTo>
                  <a:lnTo>
                    <a:pt x="12661" y="0"/>
                  </a:lnTo>
                  <a:cubicBezTo>
                    <a:pt x="12661" y="0"/>
                    <a:pt x="8564" y="588"/>
                    <a:pt x="6330" y="623"/>
                  </a:cubicBezTo>
                  <a:cubicBezTo>
                    <a:pt x="4097" y="588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8EAFF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/>
                <a:sym typeface="Arial"/>
              </a:endParaRPr>
            </a:p>
          </p:txBody>
        </p:sp>
        <p:sp>
          <p:nvSpPr>
            <p:cNvPr id="449" name="Google Shape;1050;p43">
              <a:extLst>
                <a:ext uri="{FF2B5EF4-FFF2-40B4-BE49-F238E27FC236}">
                  <a16:creationId xmlns="" xmlns:a16="http://schemas.microsoft.com/office/drawing/2014/main" id="{7D87BBEA-51AA-40C4-A53C-60B0E2932004}"/>
                </a:ext>
              </a:extLst>
            </p:cNvPr>
            <p:cNvSpPr/>
            <p:nvPr/>
          </p:nvSpPr>
          <p:spPr>
            <a:xfrm>
              <a:off x="7602849" y="1259345"/>
              <a:ext cx="1267711" cy="284866"/>
            </a:xfrm>
            <a:custGeom>
              <a:avLst/>
              <a:gdLst/>
              <a:ahLst/>
              <a:cxnLst/>
              <a:rect l="l" t="t" r="r" b="b"/>
              <a:pathLst>
                <a:path w="17111" h="3845" extrusionOk="0">
                  <a:moveTo>
                    <a:pt x="16100" y="1"/>
                  </a:moveTo>
                  <a:cubicBezTo>
                    <a:pt x="15788" y="1"/>
                    <a:pt x="0" y="535"/>
                    <a:pt x="0" y="535"/>
                  </a:cubicBezTo>
                  <a:lnTo>
                    <a:pt x="2475" y="3845"/>
                  </a:lnTo>
                  <a:cubicBezTo>
                    <a:pt x="2475" y="3845"/>
                    <a:pt x="16981" y="559"/>
                    <a:pt x="17046" y="389"/>
                  </a:cubicBezTo>
                  <a:cubicBezTo>
                    <a:pt x="17111" y="218"/>
                    <a:pt x="16417" y="1"/>
                    <a:pt x="16100" y="1"/>
                  </a:cubicBezTo>
                  <a:close/>
                </a:path>
              </a:pathLst>
            </a:custGeom>
            <a:solidFill>
              <a:srgbClr val="8EAFF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/>
                <a:sym typeface="Arial"/>
              </a:endParaRPr>
            </a:p>
          </p:txBody>
        </p:sp>
        <p:sp>
          <p:nvSpPr>
            <p:cNvPr id="450" name="Google Shape;1051;p43">
              <a:extLst>
                <a:ext uri="{FF2B5EF4-FFF2-40B4-BE49-F238E27FC236}">
                  <a16:creationId xmlns="" xmlns:a16="http://schemas.microsoft.com/office/drawing/2014/main" id="{A481514A-57E6-4890-A312-F65ED31FCA2E}"/>
                </a:ext>
              </a:extLst>
            </p:cNvPr>
            <p:cNvSpPr/>
            <p:nvPr/>
          </p:nvSpPr>
          <p:spPr>
            <a:xfrm>
              <a:off x="5285231" y="1259345"/>
              <a:ext cx="1267711" cy="284866"/>
            </a:xfrm>
            <a:custGeom>
              <a:avLst/>
              <a:gdLst/>
              <a:ahLst/>
              <a:cxnLst/>
              <a:rect l="l" t="t" r="r" b="b"/>
              <a:pathLst>
                <a:path w="17111" h="3845" extrusionOk="0">
                  <a:moveTo>
                    <a:pt x="1011" y="1"/>
                  </a:moveTo>
                  <a:cubicBezTo>
                    <a:pt x="694" y="1"/>
                    <a:pt x="1" y="218"/>
                    <a:pt x="65" y="389"/>
                  </a:cubicBezTo>
                  <a:cubicBezTo>
                    <a:pt x="130" y="559"/>
                    <a:pt x="14636" y="3845"/>
                    <a:pt x="14636" y="3845"/>
                  </a:cubicBezTo>
                  <a:lnTo>
                    <a:pt x="17111" y="535"/>
                  </a:lnTo>
                  <a:cubicBezTo>
                    <a:pt x="17111" y="535"/>
                    <a:pt x="1323" y="1"/>
                    <a:pt x="1011" y="1"/>
                  </a:cubicBezTo>
                  <a:close/>
                </a:path>
              </a:pathLst>
            </a:custGeom>
            <a:solidFill>
              <a:srgbClr val="8EAFF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/>
                <a:sym typeface="Arial"/>
              </a:endParaRPr>
            </a:p>
          </p:txBody>
        </p:sp>
        <p:sp>
          <p:nvSpPr>
            <p:cNvPr id="451" name="Google Shape;1052;p43">
              <a:extLst>
                <a:ext uri="{FF2B5EF4-FFF2-40B4-BE49-F238E27FC236}">
                  <a16:creationId xmlns="" xmlns:a16="http://schemas.microsoft.com/office/drawing/2014/main" id="{26B55C1F-5530-4409-A252-11071BAEE172}"/>
                </a:ext>
              </a:extLst>
            </p:cNvPr>
            <p:cNvSpPr/>
            <p:nvPr/>
          </p:nvSpPr>
          <p:spPr>
            <a:xfrm>
              <a:off x="6965322" y="500315"/>
              <a:ext cx="225152" cy="692496"/>
            </a:xfrm>
            <a:custGeom>
              <a:avLst/>
              <a:gdLst/>
              <a:ahLst/>
              <a:cxnLst/>
              <a:rect l="l" t="t" r="r" b="b"/>
              <a:pathLst>
                <a:path w="3039" h="9347" extrusionOk="0">
                  <a:moveTo>
                    <a:pt x="1522" y="1"/>
                  </a:moveTo>
                  <a:cubicBezTo>
                    <a:pt x="1522" y="1"/>
                    <a:pt x="1170" y="118"/>
                    <a:pt x="1040" y="383"/>
                  </a:cubicBezTo>
                  <a:cubicBezTo>
                    <a:pt x="917" y="647"/>
                    <a:pt x="0" y="9346"/>
                    <a:pt x="0" y="9346"/>
                  </a:cubicBezTo>
                  <a:lnTo>
                    <a:pt x="3039" y="9346"/>
                  </a:lnTo>
                  <a:cubicBezTo>
                    <a:pt x="3039" y="9346"/>
                    <a:pt x="2128" y="653"/>
                    <a:pt x="1993" y="383"/>
                  </a:cubicBezTo>
                  <a:cubicBezTo>
                    <a:pt x="1863" y="118"/>
                    <a:pt x="1522" y="1"/>
                    <a:pt x="1522" y="1"/>
                  </a:cubicBezTo>
                  <a:close/>
                </a:path>
              </a:pathLst>
            </a:custGeom>
            <a:solidFill>
              <a:srgbClr val="8EAFF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/>
                <a:sym typeface="Arial"/>
              </a:endParaRPr>
            </a:p>
          </p:txBody>
        </p:sp>
        <p:sp>
          <p:nvSpPr>
            <p:cNvPr id="452" name="Google Shape;1053;p43">
              <a:extLst>
                <a:ext uri="{FF2B5EF4-FFF2-40B4-BE49-F238E27FC236}">
                  <a16:creationId xmlns="" xmlns:a16="http://schemas.microsoft.com/office/drawing/2014/main" id="{28E7D6EE-7838-4815-BD2C-3B1E14ED3BE8}"/>
                </a:ext>
              </a:extLst>
            </p:cNvPr>
            <p:cNvSpPr/>
            <p:nvPr/>
          </p:nvSpPr>
          <p:spPr>
            <a:xfrm>
              <a:off x="6148799" y="1082127"/>
              <a:ext cx="1854262" cy="1754540"/>
            </a:xfrm>
            <a:custGeom>
              <a:avLst/>
              <a:gdLst/>
              <a:ahLst/>
              <a:cxnLst/>
              <a:rect l="l" t="t" r="r" b="b"/>
              <a:pathLst>
                <a:path w="25028" h="23682" extrusionOk="0">
                  <a:moveTo>
                    <a:pt x="12549" y="0"/>
                  </a:moveTo>
                  <a:cubicBezTo>
                    <a:pt x="7283" y="0"/>
                    <a:pt x="0" y="4462"/>
                    <a:pt x="917" y="14842"/>
                  </a:cubicBezTo>
                  <a:cubicBezTo>
                    <a:pt x="1605" y="22742"/>
                    <a:pt x="9828" y="23682"/>
                    <a:pt x="12543" y="23682"/>
                  </a:cubicBezTo>
                  <a:cubicBezTo>
                    <a:pt x="15259" y="23682"/>
                    <a:pt x="23517" y="22983"/>
                    <a:pt x="24182" y="14842"/>
                  </a:cubicBezTo>
                  <a:lnTo>
                    <a:pt x="24187" y="14842"/>
                  </a:lnTo>
                  <a:cubicBezTo>
                    <a:pt x="25028" y="4538"/>
                    <a:pt x="17816" y="0"/>
                    <a:pt x="12549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/>
                <a:sym typeface="Arial"/>
              </a:endParaRPr>
            </a:p>
          </p:txBody>
        </p:sp>
        <p:sp>
          <p:nvSpPr>
            <p:cNvPr id="453" name="Google Shape;1054;p43">
              <a:extLst>
                <a:ext uri="{FF2B5EF4-FFF2-40B4-BE49-F238E27FC236}">
                  <a16:creationId xmlns="" xmlns:a16="http://schemas.microsoft.com/office/drawing/2014/main" id="{91DCBCA8-F506-46FC-BB7D-AA8034EB1164}"/>
                </a:ext>
              </a:extLst>
            </p:cNvPr>
            <p:cNvSpPr/>
            <p:nvPr/>
          </p:nvSpPr>
          <p:spPr>
            <a:xfrm>
              <a:off x="6242002" y="1228450"/>
              <a:ext cx="1667487" cy="1577767"/>
            </a:xfrm>
            <a:custGeom>
              <a:avLst/>
              <a:gdLst/>
              <a:ahLst/>
              <a:cxnLst/>
              <a:rect l="l" t="t" r="r" b="b"/>
              <a:pathLst>
                <a:path w="22507" h="21296" extrusionOk="0">
                  <a:moveTo>
                    <a:pt x="11285" y="0"/>
                  </a:moveTo>
                  <a:cubicBezTo>
                    <a:pt x="6554" y="0"/>
                    <a:pt x="0" y="4015"/>
                    <a:pt x="823" y="13343"/>
                  </a:cubicBezTo>
                  <a:cubicBezTo>
                    <a:pt x="1452" y="20443"/>
                    <a:pt x="8846" y="21296"/>
                    <a:pt x="11285" y="21296"/>
                  </a:cubicBezTo>
                  <a:cubicBezTo>
                    <a:pt x="13731" y="21296"/>
                    <a:pt x="21148" y="20667"/>
                    <a:pt x="21748" y="13343"/>
                  </a:cubicBezTo>
                  <a:cubicBezTo>
                    <a:pt x="22506" y="4079"/>
                    <a:pt x="16023" y="0"/>
                    <a:pt x="11285" y="0"/>
                  </a:cubicBezTo>
                  <a:close/>
                </a:path>
              </a:pathLst>
            </a:custGeom>
            <a:solidFill>
              <a:srgbClr val="EEEEE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/>
                <a:sym typeface="Arial"/>
              </a:endParaRPr>
            </a:p>
          </p:txBody>
        </p:sp>
        <p:sp>
          <p:nvSpPr>
            <p:cNvPr id="454" name="Google Shape;1055;p43">
              <a:extLst>
                <a:ext uri="{FF2B5EF4-FFF2-40B4-BE49-F238E27FC236}">
                  <a16:creationId xmlns="" xmlns:a16="http://schemas.microsoft.com/office/drawing/2014/main" id="{E53EFDBA-7A1C-4417-A918-340F7ACB2861}"/>
                </a:ext>
              </a:extLst>
            </p:cNvPr>
            <p:cNvSpPr/>
            <p:nvPr/>
          </p:nvSpPr>
          <p:spPr>
            <a:xfrm>
              <a:off x="7095050" y="1614670"/>
              <a:ext cx="245674" cy="348656"/>
            </a:xfrm>
            <a:custGeom>
              <a:avLst/>
              <a:gdLst/>
              <a:ahLst/>
              <a:cxnLst/>
              <a:rect l="l" t="t" r="r" b="b"/>
              <a:pathLst>
                <a:path w="3316" h="4706" extrusionOk="0">
                  <a:moveTo>
                    <a:pt x="2253" y="0"/>
                  </a:moveTo>
                  <a:cubicBezTo>
                    <a:pt x="2230" y="0"/>
                    <a:pt x="2205" y="2"/>
                    <a:pt x="2181" y="7"/>
                  </a:cubicBezTo>
                  <a:lnTo>
                    <a:pt x="206" y="459"/>
                  </a:lnTo>
                  <a:cubicBezTo>
                    <a:pt x="95" y="471"/>
                    <a:pt x="12" y="559"/>
                    <a:pt x="1" y="671"/>
                  </a:cubicBezTo>
                  <a:lnTo>
                    <a:pt x="1" y="4486"/>
                  </a:lnTo>
                  <a:cubicBezTo>
                    <a:pt x="1" y="4614"/>
                    <a:pt x="137" y="4706"/>
                    <a:pt x="285" y="4706"/>
                  </a:cubicBezTo>
                  <a:cubicBezTo>
                    <a:pt x="333" y="4706"/>
                    <a:pt x="383" y="4696"/>
                    <a:pt x="430" y="4674"/>
                  </a:cubicBezTo>
                  <a:lnTo>
                    <a:pt x="3169" y="3363"/>
                  </a:lnTo>
                  <a:cubicBezTo>
                    <a:pt x="3263" y="3328"/>
                    <a:pt x="3316" y="3234"/>
                    <a:pt x="3298" y="3134"/>
                  </a:cubicBezTo>
                  <a:lnTo>
                    <a:pt x="2534" y="177"/>
                  </a:lnTo>
                  <a:cubicBezTo>
                    <a:pt x="2504" y="68"/>
                    <a:pt x="2385" y="0"/>
                    <a:pt x="2253" y="0"/>
                  </a:cubicBezTo>
                  <a:close/>
                </a:path>
              </a:pathLst>
            </a:custGeom>
            <a:solidFill>
              <a:srgbClr val="4A6CB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/>
                <a:sym typeface="Arial"/>
              </a:endParaRPr>
            </a:p>
          </p:txBody>
        </p:sp>
        <p:sp>
          <p:nvSpPr>
            <p:cNvPr id="455" name="Google Shape;1056;p43">
              <a:extLst>
                <a:ext uri="{FF2B5EF4-FFF2-40B4-BE49-F238E27FC236}">
                  <a16:creationId xmlns="" xmlns:a16="http://schemas.microsoft.com/office/drawing/2014/main" id="{92D23919-8EB8-47A0-B84A-1AF3CE59DCD7}"/>
                </a:ext>
              </a:extLst>
            </p:cNvPr>
            <p:cNvSpPr/>
            <p:nvPr/>
          </p:nvSpPr>
          <p:spPr>
            <a:xfrm>
              <a:off x="7308868" y="1576144"/>
              <a:ext cx="189071" cy="258862"/>
            </a:xfrm>
            <a:custGeom>
              <a:avLst/>
              <a:gdLst/>
              <a:ahLst/>
              <a:cxnLst/>
              <a:rect l="l" t="t" r="r" b="b"/>
              <a:pathLst>
                <a:path w="2552" h="3494" extrusionOk="0">
                  <a:moveTo>
                    <a:pt x="1619" y="1"/>
                  </a:moveTo>
                  <a:cubicBezTo>
                    <a:pt x="1593" y="1"/>
                    <a:pt x="1567" y="4"/>
                    <a:pt x="1541" y="10"/>
                  </a:cubicBezTo>
                  <a:lnTo>
                    <a:pt x="230" y="309"/>
                  </a:lnTo>
                  <a:cubicBezTo>
                    <a:pt x="89" y="345"/>
                    <a:pt x="1" y="450"/>
                    <a:pt x="30" y="562"/>
                  </a:cubicBezTo>
                  <a:lnTo>
                    <a:pt x="741" y="3313"/>
                  </a:lnTo>
                  <a:cubicBezTo>
                    <a:pt x="771" y="3423"/>
                    <a:pt x="892" y="3493"/>
                    <a:pt x="1019" y="3493"/>
                  </a:cubicBezTo>
                  <a:cubicBezTo>
                    <a:pt x="1068" y="3493"/>
                    <a:pt x="1119" y="3483"/>
                    <a:pt x="1165" y="3460"/>
                  </a:cubicBezTo>
                  <a:lnTo>
                    <a:pt x="2399" y="2872"/>
                  </a:lnTo>
                  <a:cubicBezTo>
                    <a:pt x="2499" y="2837"/>
                    <a:pt x="2552" y="2737"/>
                    <a:pt x="2528" y="2637"/>
                  </a:cubicBezTo>
                  <a:lnTo>
                    <a:pt x="1893" y="180"/>
                  </a:lnTo>
                  <a:cubicBezTo>
                    <a:pt x="1869" y="72"/>
                    <a:pt x="1750" y="1"/>
                    <a:pt x="1619" y="1"/>
                  </a:cubicBezTo>
                  <a:close/>
                </a:path>
              </a:pathLst>
            </a:custGeom>
            <a:solidFill>
              <a:srgbClr val="4A6CB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/>
                <a:sym typeface="Arial"/>
              </a:endParaRPr>
            </a:p>
          </p:txBody>
        </p:sp>
        <p:sp>
          <p:nvSpPr>
            <p:cNvPr id="456" name="Google Shape;1057;p43">
              <a:extLst>
                <a:ext uri="{FF2B5EF4-FFF2-40B4-BE49-F238E27FC236}">
                  <a16:creationId xmlns="" xmlns:a16="http://schemas.microsoft.com/office/drawing/2014/main" id="{3C6B225E-4E54-4EDA-85EF-F132A209EC87}"/>
                </a:ext>
              </a:extLst>
            </p:cNvPr>
            <p:cNvSpPr/>
            <p:nvPr/>
          </p:nvSpPr>
          <p:spPr>
            <a:xfrm>
              <a:off x="7475640" y="1543546"/>
              <a:ext cx="156473" cy="216558"/>
            </a:xfrm>
            <a:custGeom>
              <a:avLst/>
              <a:gdLst/>
              <a:ahLst/>
              <a:cxnLst/>
              <a:rect l="l" t="t" r="r" b="b"/>
              <a:pathLst>
                <a:path w="2112" h="2923" extrusionOk="0">
                  <a:moveTo>
                    <a:pt x="1290" y="0"/>
                  </a:moveTo>
                  <a:cubicBezTo>
                    <a:pt x="1264" y="0"/>
                    <a:pt x="1238" y="3"/>
                    <a:pt x="1212" y="9"/>
                  </a:cubicBezTo>
                  <a:lnTo>
                    <a:pt x="224" y="238"/>
                  </a:lnTo>
                  <a:cubicBezTo>
                    <a:pt x="83" y="267"/>
                    <a:pt x="1" y="379"/>
                    <a:pt x="24" y="491"/>
                  </a:cubicBezTo>
                  <a:lnTo>
                    <a:pt x="612" y="2742"/>
                  </a:lnTo>
                  <a:cubicBezTo>
                    <a:pt x="638" y="2852"/>
                    <a:pt x="758" y="2922"/>
                    <a:pt x="884" y="2922"/>
                  </a:cubicBezTo>
                  <a:cubicBezTo>
                    <a:pt x="933" y="2922"/>
                    <a:pt x="984" y="2912"/>
                    <a:pt x="1030" y="2889"/>
                  </a:cubicBezTo>
                  <a:lnTo>
                    <a:pt x="1964" y="2448"/>
                  </a:lnTo>
                  <a:cubicBezTo>
                    <a:pt x="2058" y="2413"/>
                    <a:pt x="2111" y="2313"/>
                    <a:pt x="2088" y="2213"/>
                  </a:cubicBezTo>
                  <a:lnTo>
                    <a:pt x="1564" y="179"/>
                  </a:lnTo>
                  <a:cubicBezTo>
                    <a:pt x="1535" y="71"/>
                    <a:pt x="1419" y="0"/>
                    <a:pt x="1290" y="0"/>
                  </a:cubicBezTo>
                  <a:close/>
                </a:path>
              </a:pathLst>
            </a:custGeom>
            <a:solidFill>
              <a:srgbClr val="4A6CB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/>
                <a:sym typeface="Arial"/>
              </a:endParaRPr>
            </a:p>
          </p:txBody>
        </p:sp>
        <p:sp>
          <p:nvSpPr>
            <p:cNvPr id="457" name="Google Shape;1058;p43">
              <a:extLst>
                <a:ext uri="{FF2B5EF4-FFF2-40B4-BE49-F238E27FC236}">
                  <a16:creationId xmlns="" xmlns:a16="http://schemas.microsoft.com/office/drawing/2014/main" id="{1FD4E2B2-2C11-48AA-89B0-4BA68177BA77}"/>
                </a:ext>
              </a:extLst>
            </p:cNvPr>
            <p:cNvSpPr/>
            <p:nvPr/>
          </p:nvSpPr>
          <p:spPr>
            <a:xfrm>
              <a:off x="7618037" y="1519541"/>
              <a:ext cx="125949" cy="176773"/>
            </a:xfrm>
            <a:custGeom>
              <a:avLst/>
              <a:gdLst/>
              <a:ahLst/>
              <a:cxnLst/>
              <a:rect l="l" t="t" r="r" b="b"/>
              <a:pathLst>
                <a:path w="1700" h="2386" extrusionOk="0">
                  <a:moveTo>
                    <a:pt x="819" y="0"/>
                  </a:moveTo>
                  <a:cubicBezTo>
                    <a:pt x="793" y="0"/>
                    <a:pt x="767" y="3"/>
                    <a:pt x="742" y="9"/>
                  </a:cubicBezTo>
                  <a:lnTo>
                    <a:pt x="224" y="127"/>
                  </a:lnTo>
                  <a:cubicBezTo>
                    <a:pt x="83" y="162"/>
                    <a:pt x="1" y="268"/>
                    <a:pt x="30" y="380"/>
                  </a:cubicBezTo>
                  <a:lnTo>
                    <a:pt x="501" y="2208"/>
                  </a:lnTo>
                  <a:cubicBezTo>
                    <a:pt x="526" y="2318"/>
                    <a:pt x="647" y="2386"/>
                    <a:pt x="774" y="2386"/>
                  </a:cubicBezTo>
                  <a:cubicBezTo>
                    <a:pt x="823" y="2386"/>
                    <a:pt x="872" y="2376"/>
                    <a:pt x="918" y="2355"/>
                  </a:cubicBezTo>
                  <a:lnTo>
                    <a:pt x="1547" y="2055"/>
                  </a:lnTo>
                  <a:cubicBezTo>
                    <a:pt x="1647" y="2020"/>
                    <a:pt x="1700" y="1908"/>
                    <a:pt x="1670" y="1808"/>
                  </a:cubicBezTo>
                  <a:lnTo>
                    <a:pt x="1088" y="162"/>
                  </a:lnTo>
                  <a:cubicBezTo>
                    <a:pt x="1054" y="65"/>
                    <a:pt x="941" y="0"/>
                    <a:pt x="819" y="0"/>
                  </a:cubicBezTo>
                  <a:close/>
                </a:path>
              </a:pathLst>
            </a:custGeom>
            <a:solidFill>
              <a:srgbClr val="4A6CB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/>
                <a:sym typeface="Arial"/>
              </a:endParaRPr>
            </a:p>
          </p:txBody>
        </p:sp>
        <p:sp>
          <p:nvSpPr>
            <p:cNvPr id="458" name="Google Shape;1059;p43">
              <a:extLst>
                <a:ext uri="{FF2B5EF4-FFF2-40B4-BE49-F238E27FC236}">
                  <a16:creationId xmlns="" xmlns:a16="http://schemas.microsoft.com/office/drawing/2014/main" id="{3303824B-16A5-40B7-8F82-ECFDB564754A}"/>
                </a:ext>
              </a:extLst>
            </p:cNvPr>
            <p:cNvSpPr/>
            <p:nvPr/>
          </p:nvSpPr>
          <p:spPr>
            <a:xfrm>
              <a:off x="6815961" y="1614670"/>
              <a:ext cx="245674" cy="348656"/>
            </a:xfrm>
            <a:custGeom>
              <a:avLst/>
              <a:gdLst/>
              <a:ahLst/>
              <a:cxnLst/>
              <a:rect l="l" t="t" r="r" b="b"/>
              <a:pathLst>
                <a:path w="3316" h="4706" extrusionOk="0">
                  <a:moveTo>
                    <a:pt x="1062" y="0"/>
                  </a:moveTo>
                  <a:cubicBezTo>
                    <a:pt x="929" y="0"/>
                    <a:pt x="807" y="68"/>
                    <a:pt x="782" y="177"/>
                  </a:cubicBezTo>
                  <a:lnTo>
                    <a:pt x="18" y="3134"/>
                  </a:lnTo>
                  <a:cubicBezTo>
                    <a:pt x="0" y="3234"/>
                    <a:pt x="53" y="3328"/>
                    <a:pt x="147" y="3363"/>
                  </a:cubicBezTo>
                  <a:lnTo>
                    <a:pt x="2886" y="4674"/>
                  </a:lnTo>
                  <a:cubicBezTo>
                    <a:pt x="2933" y="4696"/>
                    <a:pt x="2982" y="4706"/>
                    <a:pt x="3031" y="4706"/>
                  </a:cubicBezTo>
                  <a:cubicBezTo>
                    <a:pt x="3179" y="4706"/>
                    <a:pt x="3315" y="4614"/>
                    <a:pt x="3315" y="4486"/>
                  </a:cubicBezTo>
                  <a:lnTo>
                    <a:pt x="3315" y="671"/>
                  </a:lnTo>
                  <a:cubicBezTo>
                    <a:pt x="3303" y="559"/>
                    <a:pt x="3221" y="471"/>
                    <a:pt x="3109" y="459"/>
                  </a:cubicBezTo>
                  <a:lnTo>
                    <a:pt x="1134" y="7"/>
                  </a:lnTo>
                  <a:cubicBezTo>
                    <a:pt x="1110" y="2"/>
                    <a:pt x="1086" y="0"/>
                    <a:pt x="1062" y="0"/>
                  </a:cubicBezTo>
                  <a:close/>
                </a:path>
              </a:pathLst>
            </a:custGeom>
            <a:solidFill>
              <a:srgbClr val="4A6CB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/>
                <a:sym typeface="Arial"/>
              </a:endParaRPr>
            </a:p>
          </p:txBody>
        </p:sp>
        <p:sp>
          <p:nvSpPr>
            <p:cNvPr id="459" name="Google Shape;1060;p43">
              <a:extLst>
                <a:ext uri="{FF2B5EF4-FFF2-40B4-BE49-F238E27FC236}">
                  <a16:creationId xmlns="" xmlns:a16="http://schemas.microsoft.com/office/drawing/2014/main" id="{0F077B1C-1EA3-43E3-8196-2D07775A3D3A}"/>
                </a:ext>
              </a:extLst>
            </p:cNvPr>
            <p:cNvSpPr/>
            <p:nvPr/>
          </p:nvSpPr>
          <p:spPr>
            <a:xfrm>
              <a:off x="6658747" y="1576144"/>
              <a:ext cx="188627" cy="258862"/>
            </a:xfrm>
            <a:custGeom>
              <a:avLst/>
              <a:gdLst/>
              <a:ahLst/>
              <a:cxnLst/>
              <a:rect l="l" t="t" r="r" b="b"/>
              <a:pathLst>
                <a:path w="2546" h="3494" extrusionOk="0">
                  <a:moveTo>
                    <a:pt x="929" y="1"/>
                  </a:moveTo>
                  <a:cubicBezTo>
                    <a:pt x="802" y="1"/>
                    <a:pt x="682" y="72"/>
                    <a:pt x="653" y="180"/>
                  </a:cubicBezTo>
                  <a:lnTo>
                    <a:pt x="18" y="2637"/>
                  </a:lnTo>
                  <a:cubicBezTo>
                    <a:pt x="0" y="2737"/>
                    <a:pt x="53" y="2837"/>
                    <a:pt x="153" y="2872"/>
                  </a:cubicBezTo>
                  <a:lnTo>
                    <a:pt x="1387" y="3460"/>
                  </a:lnTo>
                  <a:cubicBezTo>
                    <a:pt x="1433" y="3483"/>
                    <a:pt x="1483" y="3493"/>
                    <a:pt x="1533" y="3493"/>
                  </a:cubicBezTo>
                  <a:cubicBezTo>
                    <a:pt x="1659" y="3493"/>
                    <a:pt x="1779" y="3423"/>
                    <a:pt x="1805" y="3313"/>
                  </a:cubicBezTo>
                  <a:lnTo>
                    <a:pt x="2522" y="562"/>
                  </a:lnTo>
                  <a:cubicBezTo>
                    <a:pt x="2545" y="450"/>
                    <a:pt x="2463" y="345"/>
                    <a:pt x="2322" y="309"/>
                  </a:cubicBezTo>
                  <a:lnTo>
                    <a:pt x="1005" y="10"/>
                  </a:lnTo>
                  <a:cubicBezTo>
                    <a:pt x="980" y="4"/>
                    <a:pt x="954" y="1"/>
                    <a:pt x="929" y="1"/>
                  </a:cubicBezTo>
                  <a:close/>
                </a:path>
              </a:pathLst>
            </a:custGeom>
            <a:solidFill>
              <a:srgbClr val="4A6CB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/>
                <a:sym typeface="Arial"/>
              </a:endParaRPr>
            </a:p>
          </p:txBody>
        </p:sp>
        <p:sp>
          <p:nvSpPr>
            <p:cNvPr id="460" name="Google Shape;1061;p43">
              <a:extLst>
                <a:ext uri="{FF2B5EF4-FFF2-40B4-BE49-F238E27FC236}">
                  <a16:creationId xmlns="" xmlns:a16="http://schemas.microsoft.com/office/drawing/2014/main" id="{3CC153EC-797A-48A5-934F-8A3BD47CF5A4}"/>
                </a:ext>
              </a:extLst>
            </p:cNvPr>
            <p:cNvSpPr/>
            <p:nvPr/>
          </p:nvSpPr>
          <p:spPr>
            <a:xfrm>
              <a:off x="6524129" y="1543546"/>
              <a:ext cx="156843" cy="216558"/>
            </a:xfrm>
            <a:custGeom>
              <a:avLst/>
              <a:gdLst/>
              <a:ahLst/>
              <a:cxnLst/>
              <a:rect l="l" t="t" r="r" b="b"/>
              <a:pathLst>
                <a:path w="2117" h="2923" extrusionOk="0">
                  <a:moveTo>
                    <a:pt x="828" y="0"/>
                  </a:moveTo>
                  <a:cubicBezTo>
                    <a:pt x="697" y="0"/>
                    <a:pt x="578" y="71"/>
                    <a:pt x="553" y="179"/>
                  </a:cubicBezTo>
                  <a:lnTo>
                    <a:pt x="24" y="2213"/>
                  </a:lnTo>
                  <a:cubicBezTo>
                    <a:pt x="1" y="2313"/>
                    <a:pt x="60" y="2413"/>
                    <a:pt x="154" y="2448"/>
                  </a:cubicBezTo>
                  <a:lnTo>
                    <a:pt x="1082" y="2889"/>
                  </a:lnTo>
                  <a:cubicBezTo>
                    <a:pt x="1130" y="2912"/>
                    <a:pt x="1181" y="2922"/>
                    <a:pt x="1230" y="2922"/>
                  </a:cubicBezTo>
                  <a:cubicBezTo>
                    <a:pt x="1358" y="2922"/>
                    <a:pt x="1476" y="2852"/>
                    <a:pt x="1506" y="2742"/>
                  </a:cubicBezTo>
                  <a:lnTo>
                    <a:pt x="2088" y="491"/>
                  </a:lnTo>
                  <a:cubicBezTo>
                    <a:pt x="2117" y="379"/>
                    <a:pt x="2029" y="267"/>
                    <a:pt x="1894" y="238"/>
                  </a:cubicBezTo>
                  <a:lnTo>
                    <a:pt x="906" y="9"/>
                  </a:lnTo>
                  <a:cubicBezTo>
                    <a:pt x="880" y="3"/>
                    <a:pt x="854" y="0"/>
                    <a:pt x="828" y="0"/>
                  </a:cubicBezTo>
                  <a:close/>
                </a:path>
              </a:pathLst>
            </a:custGeom>
            <a:solidFill>
              <a:srgbClr val="4A6CB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/>
                <a:sym typeface="Arial"/>
              </a:endParaRPr>
            </a:p>
          </p:txBody>
        </p:sp>
        <p:sp>
          <p:nvSpPr>
            <p:cNvPr id="461" name="Google Shape;1062;p43">
              <a:extLst>
                <a:ext uri="{FF2B5EF4-FFF2-40B4-BE49-F238E27FC236}">
                  <a16:creationId xmlns="" xmlns:a16="http://schemas.microsoft.com/office/drawing/2014/main" id="{488072D0-EA70-4DBE-8B9F-75CCE3D86312}"/>
                </a:ext>
              </a:extLst>
            </p:cNvPr>
            <p:cNvSpPr/>
            <p:nvPr/>
          </p:nvSpPr>
          <p:spPr>
            <a:xfrm>
              <a:off x="6412256" y="1519541"/>
              <a:ext cx="126319" cy="176773"/>
            </a:xfrm>
            <a:custGeom>
              <a:avLst/>
              <a:gdLst/>
              <a:ahLst/>
              <a:cxnLst/>
              <a:rect l="l" t="t" r="r" b="b"/>
              <a:pathLst>
                <a:path w="1705" h="2386" extrusionOk="0">
                  <a:moveTo>
                    <a:pt x="887" y="0"/>
                  </a:moveTo>
                  <a:cubicBezTo>
                    <a:pt x="765" y="0"/>
                    <a:pt x="651" y="65"/>
                    <a:pt x="617" y="162"/>
                  </a:cubicBezTo>
                  <a:lnTo>
                    <a:pt x="36" y="1808"/>
                  </a:lnTo>
                  <a:cubicBezTo>
                    <a:pt x="0" y="1908"/>
                    <a:pt x="59" y="2020"/>
                    <a:pt x="159" y="2055"/>
                  </a:cubicBezTo>
                  <a:lnTo>
                    <a:pt x="788" y="2355"/>
                  </a:lnTo>
                  <a:cubicBezTo>
                    <a:pt x="833" y="2376"/>
                    <a:pt x="883" y="2386"/>
                    <a:pt x="931" y="2386"/>
                  </a:cubicBezTo>
                  <a:cubicBezTo>
                    <a:pt x="1057" y="2386"/>
                    <a:pt x="1175" y="2318"/>
                    <a:pt x="1205" y="2208"/>
                  </a:cubicBezTo>
                  <a:lnTo>
                    <a:pt x="1675" y="380"/>
                  </a:lnTo>
                  <a:cubicBezTo>
                    <a:pt x="1705" y="268"/>
                    <a:pt x="1617" y="162"/>
                    <a:pt x="1481" y="127"/>
                  </a:cubicBezTo>
                  <a:lnTo>
                    <a:pt x="964" y="9"/>
                  </a:lnTo>
                  <a:cubicBezTo>
                    <a:pt x="939" y="3"/>
                    <a:pt x="912" y="0"/>
                    <a:pt x="887" y="0"/>
                  </a:cubicBezTo>
                  <a:close/>
                </a:path>
              </a:pathLst>
            </a:custGeom>
            <a:solidFill>
              <a:srgbClr val="4A6CB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/>
                <a:sym typeface="Arial"/>
              </a:endParaRPr>
            </a:p>
          </p:txBody>
        </p:sp>
        <p:sp>
          <p:nvSpPr>
            <p:cNvPr id="462" name="Google Shape;1063;p43">
              <a:extLst>
                <a:ext uri="{FF2B5EF4-FFF2-40B4-BE49-F238E27FC236}">
                  <a16:creationId xmlns="" xmlns:a16="http://schemas.microsoft.com/office/drawing/2014/main" id="{8195FC03-58C6-48A2-B7BF-3E0AE897597D}"/>
                </a:ext>
              </a:extLst>
            </p:cNvPr>
            <p:cNvSpPr/>
            <p:nvPr/>
          </p:nvSpPr>
          <p:spPr>
            <a:xfrm>
              <a:off x="5752503" y="909206"/>
              <a:ext cx="929798" cy="251823"/>
            </a:xfrm>
            <a:custGeom>
              <a:avLst/>
              <a:gdLst/>
              <a:ahLst/>
              <a:cxnLst/>
              <a:rect l="l" t="t" r="r" b="b"/>
              <a:pathLst>
                <a:path w="12550" h="3399" extrusionOk="0">
                  <a:moveTo>
                    <a:pt x="3809" y="1"/>
                  </a:moveTo>
                  <a:cubicBezTo>
                    <a:pt x="3727" y="1"/>
                    <a:pt x="3639" y="13"/>
                    <a:pt x="3556" y="36"/>
                  </a:cubicBezTo>
                  <a:cubicBezTo>
                    <a:pt x="2252" y="371"/>
                    <a:pt x="3116" y="1999"/>
                    <a:pt x="2516" y="2446"/>
                  </a:cubicBezTo>
                  <a:cubicBezTo>
                    <a:pt x="2134" y="2728"/>
                    <a:pt x="900" y="2893"/>
                    <a:pt x="623" y="2922"/>
                  </a:cubicBezTo>
                  <a:cubicBezTo>
                    <a:pt x="65" y="2981"/>
                    <a:pt x="0" y="3398"/>
                    <a:pt x="506" y="3398"/>
                  </a:cubicBezTo>
                  <a:lnTo>
                    <a:pt x="11850" y="3398"/>
                  </a:lnTo>
                  <a:cubicBezTo>
                    <a:pt x="12550" y="3398"/>
                    <a:pt x="12185" y="2799"/>
                    <a:pt x="10963" y="2769"/>
                  </a:cubicBezTo>
                  <a:cubicBezTo>
                    <a:pt x="9734" y="2746"/>
                    <a:pt x="10051" y="1858"/>
                    <a:pt x="9082" y="1494"/>
                  </a:cubicBezTo>
                  <a:cubicBezTo>
                    <a:pt x="8958" y="1447"/>
                    <a:pt x="8823" y="1417"/>
                    <a:pt x="8688" y="1417"/>
                  </a:cubicBezTo>
                  <a:cubicBezTo>
                    <a:pt x="8323" y="1417"/>
                    <a:pt x="8012" y="1605"/>
                    <a:pt x="7736" y="1799"/>
                  </a:cubicBezTo>
                  <a:cubicBezTo>
                    <a:pt x="7459" y="1988"/>
                    <a:pt x="7212" y="2176"/>
                    <a:pt x="6977" y="2176"/>
                  </a:cubicBezTo>
                  <a:lnTo>
                    <a:pt x="6948" y="2176"/>
                  </a:lnTo>
                  <a:cubicBezTo>
                    <a:pt x="5949" y="2105"/>
                    <a:pt x="4997" y="1"/>
                    <a:pt x="3809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/>
                <a:sym typeface="Arial"/>
              </a:endParaRPr>
            </a:p>
          </p:txBody>
        </p:sp>
        <p:sp>
          <p:nvSpPr>
            <p:cNvPr id="463" name="Google Shape;1064;p43">
              <a:extLst>
                <a:ext uri="{FF2B5EF4-FFF2-40B4-BE49-F238E27FC236}">
                  <a16:creationId xmlns="" xmlns:a16="http://schemas.microsoft.com/office/drawing/2014/main" id="{FF69BD5E-1462-4BBE-9D99-3DF5AABFA5F7}"/>
                </a:ext>
              </a:extLst>
            </p:cNvPr>
            <p:cNvSpPr/>
            <p:nvPr/>
          </p:nvSpPr>
          <p:spPr>
            <a:xfrm>
              <a:off x="8662306" y="1795000"/>
              <a:ext cx="21411" cy="28376"/>
            </a:xfrm>
            <a:custGeom>
              <a:avLst/>
              <a:gdLst/>
              <a:ahLst/>
              <a:cxnLst/>
              <a:rect l="l" t="t" r="r" b="b"/>
              <a:pathLst>
                <a:path w="289" h="383" extrusionOk="0">
                  <a:moveTo>
                    <a:pt x="1" y="0"/>
                  </a:moveTo>
                  <a:cubicBezTo>
                    <a:pt x="24" y="130"/>
                    <a:pt x="48" y="259"/>
                    <a:pt x="77" y="382"/>
                  </a:cubicBezTo>
                  <a:cubicBezTo>
                    <a:pt x="289" y="312"/>
                    <a:pt x="254" y="106"/>
                    <a:pt x="1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/>
                <a:sym typeface="Arial"/>
              </a:endParaRPr>
            </a:p>
          </p:txBody>
        </p:sp>
        <p:sp>
          <p:nvSpPr>
            <p:cNvPr id="464" name="Google Shape;1065;p43">
              <a:extLst>
                <a:ext uri="{FF2B5EF4-FFF2-40B4-BE49-F238E27FC236}">
                  <a16:creationId xmlns="" xmlns:a16="http://schemas.microsoft.com/office/drawing/2014/main" id="{41EBCF7B-FD53-4105-BCA4-377303894CB7}"/>
                </a:ext>
              </a:extLst>
            </p:cNvPr>
            <p:cNvSpPr/>
            <p:nvPr/>
          </p:nvSpPr>
          <p:spPr>
            <a:xfrm>
              <a:off x="7912018" y="1573773"/>
              <a:ext cx="756507" cy="251749"/>
            </a:xfrm>
            <a:custGeom>
              <a:avLst/>
              <a:gdLst/>
              <a:ahLst/>
              <a:cxnLst/>
              <a:rect l="l" t="t" r="r" b="b"/>
              <a:pathLst>
                <a:path w="10211" h="3398" extrusionOk="0">
                  <a:moveTo>
                    <a:pt x="6695" y="0"/>
                  </a:moveTo>
                  <a:lnTo>
                    <a:pt x="6695" y="6"/>
                  </a:lnTo>
                  <a:cubicBezTo>
                    <a:pt x="5514" y="6"/>
                    <a:pt x="4562" y="2105"/>
                    <a:pt x="3557" y="2175"/>
                  </a:cubicBezTo>
                  <a:lnTo>
                    <a:pt x="3527" y="2175"/>
                  </a:lnTo>
                  <a:cubicBezTo>
                    <a:pt x="3292" y="2175"/>
                    <a:pt x="3051" y="1987"/>
                    <a:pt x="2769" y="1799"/>
                  </a:cubicBezTo>
                  <a:cubicBezTo>
                    <a:pt x="2493" y="1611"/>
                    <a:pt x="2181" y="1423"/>
                    <a:pt x="1817" y="1423"/>
                  </a:cubicBezTo>
                  <a:cubicBezTo>
                    <a:pt x="1682" y="1423"/>
                    <a:pt x="1546" y="1446"/>
                    <a:pt x="1423" y="1493"/>
                  </a:cubicBezTo>
                  <a:cubicBezTo>
                    <a:pt x="600" y="1805"/>
                    <a:pt x="706" y="2493"/>
                    <a:pt x="0" y="2704"/>
                  </a:cubicBezTo>
                  <a:cubicBezTo>
                    <a:pt x="59" y="2933"/>
                    <a:pt x="112" y="3163"/>
                    <a:pt x="153" y="3398"/>
                  </a:cubicBezTo>
                  <a:lnTo>
                    <a:pt x="9999" y="3398"/>
                  </a:lnTo>
                  <a:cubicBezTo>
                    <a:pt x="10069" y="3398"/>
                    <a:pt x="10140" y="3392"/>
                    <a:pt x="10210" y="3368"/>
                  </a:cubicBezTo>
                  <a:cubicBezTo>
                    <a:pt x="10181" y="3239"/>
                    <a:pt x="10151" y="3110"/>
                    <a:pt x="10128" y="2980"/>
                  </a:cubicBezTo>
                  <a:cubicBezTo>
                    <a:pt x="10052" y="2951"/>
                    <a:pt x="9969" y="2933"/>
                    <a:pt x="9881" y="2922"/>
                  </a:cubicBezTo>
                  <a:cubicBezTo>
                    <a:pt x="9611" y="2892"/>
                    <a:pt x="8370" y="2728"/>
                    <a:pt x="7994" y="2446"/>
                  </a:cubicBezTo>
                  <a:cubicBezTo>
                    <a:pt x="7395" y="2005"/>
                    <a:pt x="8253" y="377"/>
                    <a:pt x="6948" y="36"/>
                  </a:cubicBezTo>
                  <a:cubicBezTo>
                    <a:pt x="6866" y="12"/>
                    <a:pt x="6783" y="0"/>
                    <a:pt x="6695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/>
                <a:sym typeface="Arial"/>
              </a:endParaRPr>
            </a:p>
          </p:txBody>
        </p:sp>
        <p:sp>
          <p:nvSpPr>
            <p:cNvPr id="465" name="Google Shape;1066;p43">
              <a:extLst>
                <a:ext uri="{FF2B5EF4-FFF2-40B4-BE49-F238E27FC236}">
                  <a16:creationId xmlns="" xmlns:a16="http://schemas.microsoft.com/office/drawing/2014/main" id="{8EB4B3BB-5664-43EF-A627-1DC3441FBD9A}"/>
                </a:ext>
              </a:extLst>
            </p:cNvPr>
            <p:cNvSpPr/>
            <p:nvPr/>
          </p:nvSpPr>
          <p:spPr>
            <a:xfrm>
              <a:off x="7811406" y="1774551"/>
              <a:ext cx="112020" cy="51417"/>
            </a:xfrm>
            <a:custGeom>
              <a:avLst/>
              <a:gdLst/>
              <a:ahLst/>
              <a:cxnLst/>
              <a:rect l="l" t="t" r="r" b="b"/>
              <a:pathLst>
                <a:path w="1512" h="694" extrusionOk="0">
                  <a:moveTo>
                    <a:pt x="1358" y="0"/>
                  </a:moveTo>
                  <a:cubicBezTo>
                    <a:pt x="1212" y="41"/>
                    <a:pt x="1059" y="65"/>
                    <a:pt x="900" y="65"/>
                  </a:cubicBezTo>
                  <a:cubicBezTo>
                    <a:pt x="594" y="65"/>
                    <a:pt x="289" y="118"/>
                    <a:pt x="1" y="229"/>
                  </a:cubicBezTo>
                  <a:cubicBezTo>
                    <a:pt x="48" y="382"/>
                    <a:pt x="95" y="535"/>
                    <a:pt x="136" y="694"/>
                  </a:cubicBezTo>
                  <a:lnTo>
                    <a:pt x="1511" y="694"/>
                  </a:lnTo>
                  <a:cubicBezTo>
                    <a:pt x="1470" y="459"/>
                    <a:pt x="1417" y="229"/>
                    <a:pt x="1358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/>
                <a:sym typeface="Arial"/>
              </a:endParaRPr>
            </a:p>
          </p:txBody>
        </p:sp>
        <p:sp>
          <p:nvSpPr>
            <p:cNvPr id="466" name="Google Shape;1067;p43">
              <a:extLst>
                <a:ext uri="{FF2B5EF4-FFF2-40B4-BE49-F238E27FC236}">
                  <a16:creationId xmlns="" xmlns:a16="http://schemas.microsoft.com/office/drawing/2014/main" id="{1DEDD3B9-BA67-4553-B011-A614CF00A468}"/>
                </a:ext>
              </a:extLst>
            </p:cNvPr>
            <p:cNvSpPr/>
            <p:nvPr/>
          </p:nvSpPr>
          <p:spPr>
            <a:xfrm>
              <a:off x="7777030" y="1791518"/>
              <a:ext cx="44452" cy="34451"/>
            </a:xfrm>
            <a:custGeom>
              <a:avLst/>
              <a:gdLst/>
              <a:ahLst/>
              <a:cxnLst/>
              <a:rect l="l" t="t" r="r" b="b"/>
              <a:pathLst>
                <a:path w="600" h="465" extrusionOk="0">
                  <a:moveTo>
                    <a:pt x="465" y="0"/>
                  </a:moveTo>
                  <a:lnTo>
                    <a:pt x="465" y="0"/>
                  </a:lnTo>
                  <a:cubicBezTo>
                    <a:pt x="18" y="182"/>
                    <a:pt x="0" y="465"/>
                    <a:pt x="482" y="465"/>
                  </a:cubicBezTo>
                  <a:lnTo>
                    <a:pt x="600" y="465"/>
                  </a:lnTo>
                  <a:cubicBezTo>
                    <a:pt x="559" y="306"/>
                    <a:pt x="512" y="153"/>
                    <a:pt x="465" y="0"/>
                  </a:cubicBezTo>
                  <a:close/>
                </a:path>
              </a:pathLst>
            </a:custGeom>
            <a:solidFill>
              <a:srgbClr val="E0E6F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/>
                <a:sym typeface="Arial"/>
              </a:endParaRPr>
            </a:p>
          </p:txBody>
        </p:sp>
        <p:sp>
          <p:nvSpPr>
            <p:cNvPr id="467" name="Google Shape;1068;p43">
              <a:extLst>
                <a:ext uri="{FF2B5EF4-FFF2-40B4-BE49-F238E27FC236}">
                  <a16:creationId xmlns="" xmlns:a16="http://schemas.microsoft.com/office/drawing/2014/main" id="{3E74DB06-A8A7-424B-96BA-7F8138DC0E76}"/>
                </a:ext>
              </a:extLst>
            </p:cNvPr>
            <p:cNvSpPr/>
            <p:nvPr/>
          </p:nvSpPr>
          <p:spPr>
            <a:xfrm>
              <a:off x="5629665" y="2560549"/>
              <a:ext cx="943356" cy="158547"/>
            </a:xfrm>
            <a:custGeom>
              <a:avLst/>
              <a:gdLst/>
              <a:ahLst/>
              <a:cxnLst/>
              <a:rect l="l" t="t" r="r" b="b"/>
              <a:pathLst>
                <a:path w="12733" h="2140" extrusionOk="0">
                  <a:moveTo>
                    <a:pt x="3040" y="0"/>
                  </a:moveTo>
                  <a:cubicBezTo>
                    <a:pt x="2652" y="600"/>
                    <a:pt x="2423" y="1252"/>
                    <a:pt x="1764" y="1370"/>
                  </a:cubicBezTo>
                  <a:cubicBezTo>
                    <a:pt x="877" y="1529"/>
                    <a:pt x="1" y="2140"/>
                    <a:pt x="1253" y="2140"/>
                  </a:cubicBezTo>
                  <a:lnTo>
                    <a:pt x="12732" y="2140"/>
                  </a:lnTo>
                  <a:cubicBezTo>
                    <a:pt x="12127" y="1828"/>
                    <a:pt x="11557" y="1452"/>
                    <a:pt x="11028" y="1023"/>
                  </a:cubicBezTo>
                  <a:cubicBezTo>
                    <a:pt x="9429" y="823"/>
                    <a:pt x="6549" y="453"/>
                    <a:pt x="3040" y="0"/>
                  </a:cubicBezTo>
                  <a:close/>
                </a:path>
              </a:pathLst>
            </a:custGeom>
            <a:solidFill>
              <a:srgbClr val="DBE7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/>
                <a:sym typeface="Arial"/>
              </a:endParaRPr>
            </a:p>
          </p:txBody>
        </p:sp>
        <p:sp>
          <p:nvSpPr>
            <p:cNvPr id="468" name="Google Shape;1069;p43">
              <a:extLst>
                <a:ext uri="{FF2B5EF4-FFF2-40B4-BE49-F238E27FC236}">
                  <a16:creationId xmlns="" xmlns:a16="http://schemas.microsoft.com/office/drawing/2014/main" id="{7B28C20F-30DE-4C18-AC9D-8F32220C3105}"/>
                </a:ext>
              </a:extLst>
            </p:cNvPr>
            <p:cNvSpPr/>
            <p:nvPr/>
          </p:nvSpPr>
          <p:spPr>
            <a:xfrm>
              <a:off x="5854819" y="2408965"/>
              <a:ext cx="591885" cy="227449"/>
            </a:xfrm>
            <a:custGeom>
              <a:avLst/>
              <a:gdLst/>
              <a:ahLst/>
              <a:cxnLst/>
              <a:rect l="l" t="t" r="r" b="b"/>
              <a:pathLst>
                <a:path w="7989" h="3070" extrusionOk="0">
                  <a:moveTo>
                    <a:pt x="5643" y="1"/>
                  </a:moveTo>
                  <a:lnTo>
                    <a:pt x="5643" y="7"/>
                  </a:lnTo>
                  <a:cubicBezTo>
                    <a:pt x="4950" y="924"/>
                    <a:pt x="4556" y="1970"/>
                    <a:pt x="4162" y="1970"/>
                  </a:cubicBezTo>
                  <a:cubicBezTo>
                    <a:pt x="3563" y="1970"/>
                    <a:pt x="2846" y="994"/>
                    <a:pt x="1752" y="994"/>
                  </a:cubicBezTo>
                  <a:cubicBezTo>
                    <a:pt x="1547" y="994"/>
                    <a:pt x="1341" y="1030"/>
                    <a:pt x="1147" y="1094"/>
                  </a:cubicBezTo>
                  <a:cubicBezTo>
                    <a:pt x="583" y="1276"/>
                    <a:pt x="259" y="1647"/>
                    <a:pt x="1" y="2046"/>
                  </a:cubicBezTo>
                  <a:cubicBezTo>
                    <a:pt x="3510" y="2499"/>
                    <a:pt x="6396" y="2863"/>
                    <a:pt x="7989" y="3069"/>
                  </a:cubicBezTo>
                  <a:cubicBezTo>
                    <a:pt x="6978" y="2246"/>
                    <a:pt x="6172" y="1194"/>
                    <a:pt x="5643" y="1"/>
                  </a:cubicBezTo>
                  <a:close/>
                </a:path>
              </a:pathLst>
            </a:custGeom>
            <a:solidFill>
              <a:srgbClr val="E0E6F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/>
                <a:sym typeface="Arial"/>
              </a:endParaRPr>
            </a:p>
          </p:txBody>
        </p:sp>
        <p:sp>
          <p:nvSpPr>
            <p:cNvPr id="469" name="Google Shape;1070;p43">
              <a:extLst>
                <a:ext uri="{FF2B5EF4-FFF2-40B4-BE49-F238E27FC236}">
                  <a16:creationId xmlns="" xmlns:a16="http://schemas.microsoft.com/office/drawing/2014/main" id="{513470F1-78AB-4324-8CFD-D316A0E18125}"/>
                </a:ext>
              </a:extLst>
            </p:cNvPr>
            <p:cNvSpPr/>
            <p:nvPr/>
          </p:nvSpPr>
          <p:spPr>
            <a:xfrm>
              <a:off x="6272897" y="2351103"/>
              <a:ext cx="389404" cy="367993"/>
            </a:xfrm>
            <a:custGeom>
              <a:avLst/>
              <a:gdLst/>
              <a:ahLst/>
              <a:cxnLst/>
              <a:rect l="l" t="t" r="r" b="b"/>
              <a:pathLst>
                <a:path w="5256" h="4967" extrusionOk="0">
                  <a:moveTo>
                    <a:pt x="747" y="0"/>
                  </a:moveTo>
                  <a:cubicBezTo>
                    <a:pt x="465" y="229"/>
                    <a:pt x="212" y="494"/>
                    <a:pt x="0" y="788"/>
                  </a:cubicBezTo>
                  <a:cubicBezTo>
                    <a:pt x="529" y="1981"/>
                    <a:pt x="1335" y="3027"/>
                    <a:pt x="2346" y="3850"/>
                  </a:cubicBezTo>
                  <a:cubicBezTo>
                    <a:pt x="2875" y="4279"/>
                    <a:pt x="3445" y="4655"/>
                    <a:pt x="4050" y="4967"/>
                  </a:cubicBezTo>
                  <a:lnTo>
                    <a:pt x="5255" y="4967"/>
                  </a:lnTo>
                  <a:cubicBezTo>
                    <a:pt x="3321" y="4085"/>
                    <a:pt x="1505" y="2575"/>
                    <a:pt x="74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/>
                <a:sym typeface="Arial"/>
              </a:endParaRPr>
            </a:p>
          </p:txBody>
        </p:sp>
        <p:sp>
          <p:nvSpPr>
            <p:cNvPr id="470" name="Google Shape;1071;p43">
              <a:extLst>
                <a:ext uri="{FF2B5EF4-FFF2-40B4-BE49-F238E27FC236}">
                  <a16:creationId xmlns="" xmlns:a16="http://schemas.microsoft.com/office/drawing/2014/main" id="{ACFEDDB8-F8DA-4F0E-BE9A-4F9E3361FEBF}"/>
                </a:ext>
              </a:extLst>
            </p:cNvPr>
            <p:cNvSpPr/>
            <p:nvPr/>
          </p:nvSpPr>
          <p:spPr>
            <a:xfrm>
              <a:off x="6328166" y="2308873"/>
              <a:ext cx="454305" cy="410222"/>
            </a:xfrm>
            <a:custGeom>
              <a:avLst/>
              <a:gdLst/>
              <a:ahLst/>
              <a:cxnLst/>
              <a:rect l="l" t="t" r="r" b="b"/>
              <a:pathLst>
                <a:path w="6132" h="5537" extrusionOk="0">
                  <a:moveTo>
                    <a:pt x="1564" y="0"/>
                  </a:moveTo>
                  <a:cubicBezTo>
                    <a:pt x="988" y="0"/>
                    <a:pt x="436" y="200"/>
                    <a:pt x="1" y="570"/>
                  </a:cubicBezTo>
                  <a:cubicBezTo>
                    <a:pt x="759" y="3145"/>
                    <a:pt x="2575" y="4661"/>
                    <a:pt x="4509" y="5537"/>
                  </a:cubicBezTo>
                  <a:lnTo>
                    <a:pt x="5638" y="5537"/>
                  </a:lnTo>
                  <a:cubicBezTo>
                    <a:pt x="6131" y="5537"/>
                    <a:pt x="6002" y="5178"/>
                    <a:pt x="5638" y="5061"/>
                  </a:cubicBezTo>
                  <a:cubicBezTo>
                    <a:pt x="5267" y="4943"/>
                    <a:pt x="4550" y="5020"/>
                    <a:pt x="3910" y="4420"/>
                  </a:cubicBezTo>
                  <a:cubicBezTo>
                    <a:pt x="3257" y="3809"/>
                    <a:pt x="3951" y="0"/>
                    <a:pt x="1564" y="0"/>
                  </a:cubicBezTo>
                  <a:close/>
                </a:path>
              </a:pathLst>
            </a:custGeom>
            <a:solidFill>
              <a:srgbClr val="E0E6F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/>
                <a:sym typeface="Arial"/>
              </a:endParaRPr>
            </a:p>
          </p:txBody>
        </p:sp>
        <p:sp>
          <p:nvSpPr>
            <p:cNvPr id="471" name="Google Shape;1072;p43">
              <a:extLst>
                <a:ext uri="{FF2B5EF4-FFF2-40B4-BE49-F238E27FC236}">
                  <a16:creationId xmlns="" xmlns:a16="http://schemas.microsoft.com/office/drawing/2014/main" id="{247B8D3B-94A5-49B9-8780-7756657B2A50}"/>
                </a:ext>
              </a:extLst>
            </p:cNvPr>
            <p:cNvSpPr/>
            <p:nvPr/>
          </p:nvSpPr>
          <p:spPr>
            <a:xfrm>
              <a:off x="4275783" y="1224079"/>
              <a:ext cx="1790324" cy="557064"/>
            </a:xfrm>
            <a:custGeom>
              <a:avLst/>
              <a:gdLst/>
              <a:ahLst/>
              <a:cxnLst/>
              <a:rect l="l" t="t" r="r" b="b"/>
              <a:pathLst>
                <a:path w="24165" h="7519" extrusionOk="0">
                  <a:moveTo>
                    <a:pt x="10463" y="0"/>
                  </a:moveTo>
                  <a:cubicBezTo>
                    <a:pt x="10410" y="0"/>
                    <a:pt x="10357" y="6"/>
                    <a:pt x="10305" y="12"/>
                  </a:cubicBezTo>
                  <a:cubicBezTo>
                    <a:pt x="8206" y="283"/>
                    <a:pt x="7783" y="4391"/>
                    <a:pt x="7189" y="4556"/>
                  </a:cubicBezTo>
                  <a:cubicBezTo>
                    <a:pt x="7107" y="4579"/>
                    <a:pt x="7019" y="4591"/>
                    <a:pt x="6937" y="4591"/>
                  </a:cubicBezTo>
                  <a:cubicBezTo>
                    <a:pt x="6496" y="4591"/>
                    <a:pt x="6031" y="4309"/>
                    <a:pt x="5567" y="4027"/>
                  </a:cubicBezTo>
                  <a:cubicBezTo>
                    <a:pt x="5109" y="3745"/>
                    <a:pt x="4656" y="3468"/>
                    <a:pt x="4233" y="3468"/>
                  </a:cubicBezTo>
                  <a:cubicBezTo>
                    <a:pt x="4080" y="3468"/>
                    <a:pt x="3933" y="3504"/>
                    <a:pt x="3804" y="3580"/>
                  </a:cubicBezTo>
                  <a:cubicBezTo>
                    <a:pt x="2452" y="4374"/>
                    <a:pt x="3592" y="6689"/>
                    <a:pt x="2246" y="6689"/>
                  </a:cubicBezTo>
                  <a:lnTo>
                    <a:pt x="2164" y="6689"/>
                  </a:lnTo>
                  <a:cubicBezTo>
                    <a:pt x="2093" y="6684"/>
                    <a:pt x="2023" y="6684"/>
                    <a:pt x="1958" y="6684"/>
                  </a:cubicBezTo>
                  <a:cubicBezTo>
                    <a:pt x="624" y="6684"/>
                    <a:pt x="1" y="7518"/>
                    <a:pt x="2164" y="7518"/>
                  </a:cubicBezTo>
                  <a:lnTo>
                    <a:pt x="23876" y="7518"/>
                  </a:lnTo>
                  <a:cubicBezTo>
                    <a:pt x="24164" y="7518"/>
                    <a:pt x="23988" y="7189"/>
                    <a:pt x="23735" y="7101"/>
                  </a:cubicBezTo>
                  <a:cubicBezTo>
                    <a:pt x="23488" y="7013"/>
                    <a:pt x="22513" y="6977"/>
                    <a:pt x="22101" y="6813"/>
                  </a:cubicBezTo>
                  <a:cubicBezTo>
                    <a:pt x="21690" y="6654"/>
                    <a:pt x="21778" y="5608"/>
                    <a:pt x="20855" y="5496"/>
                  </a:cubicBezTo>
                  <a:cubicBezTo>
                    <a:pt x="20802" y="5490"/>
                    <a:pt x="20744" y="5490"/>
                    <a:pt x="20691" y="5490"/>
                  </a:cubicBezTo>
                  <a:cubicBezTo>
                    <a:pt x="20297" y="5490"/>
                    <a:pt x="19927" y="5649"/>
                    <a:pt x="19615" y="5802"/>
                  </a:cubicBezTo>
                  <a:cubicBezTo>
                    <a:pt x="19309" y="5961"/>
                    <a:pt x="19051" y="6113"/>
                    <a:pt x="18880" y="6113"/>
                  </a:cubicBezTo>
                  <a:cubicBezTo>
                    <a:pt x="18857" y="6113"/>
                    <a:pt x="18833" y="6113"/>
                    <a:pt x="18810" y="6102"/>
                  </a:cubicBezTo>
                  <a:cubicBezTo>
                    <a:pt x="18486" y="5978"/>
                    <a:pt x="18451" y="3950"/>
                    <a:pt x="17105" y="3598"/>
                  </a:cubicBezTo>
                  <a:cubicBezTo>
                    <a:pt x="16988" y="3568"/>
                    <a:pt x="16870" y="3551"/>
                    <a:pt x="16747" y="3551"/>
                  </a:cubicBezTo>
                  <a:cubicBezTo>
                    <a:pt x="16147" y="3551"/>
                    <a:pt x="15495" y="3897"/>
                    <a:pt x="14848" y="4244"/>
                  </a:cubicBezTo>
                  <a:cubicBezTo>
                    <a:pt x="14207" y="4591"/>
                    <a:pt x="13573" y="4932"/>
                    <a:pt x="13014" y="4932"/>
                  </a:cubicBezTo>
                  <a:cubicBezTo>
                    <a:pt x="12932" y="4932"/>
                    <a:pt x="12856" y="4926"/>
                    <a:pt x="12779" y="4914"/>
                  </a:cubicBezTo>
                  <a:cubicBezTo>
                    <a:pt x="11533" y="4667"/>
                    <a:pt x="12350" y="6"/>
                    <a:pt x="10457" y="6"/>
                  </a:cubicBezTo>
                  <a:lnTo>
                    <a:pt x="1046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/>
                <a:sym typeface="Arial"/>
              </a:endParaRPr>
            </a:p>
          </p:txBody>
        </p:sp>
        <p:sp>
          <p:nvSpPr>
            <p:cNvPr id="472" name="Google Shape;1073;p43">
              <a:extLst>
                <a:ext uri="{FF2B5EF4-FFF2-40B4-BE49-F238E27FC236}">
                  <a16:creationId xmlns="" xmlns:a16="http://schemas.microsoft.com/office/drawing/2014/main" id="{8C91CC79-8BAE-451C-9BE6-4B7B8CC2D0C5}"/>
                </a:ext>
              </a:extLst>
            </p:cNvPr>
            <p:cNvSpPr/>
            <p:nvPr/>
          </p:nvSpPr>
          <p:spPr>
            <a:xfrm>
              <a:off x="4247037" y="0"/>
              <a:ext cx="51046" cy="2896377"/>
            </a:xfrm>
            <a:custGeom>
              <a:avLst/>
              <a:gdLst/>
              <a:ahLst/>
              <a:cxnLst/>
              <a:rect l="l" t="t" r="r" b="b"/>
              <a:pathLst>
                <a:path w="689" h="39094" extrusionOk="0">
                  <a:moveTo>
                    <a:pt x="1" y="0"/>
                  </a:moveTo>
                  <a:lnTo>
                    <a:pt x="1" y="39093"/>
                  </a:lnTo>
                  <a:lnTo>
                    <a:pt x="688" y="39093"/>
                  </a:lnTo>
                  <a:lnTo>
                    <a:pt x="688" y="0"/>
                  </a:lnTo>
                  <a:close/>
                </a:path>
              </a:pathLst>
            </a:custGeom>
            <a:solidFill>
              <a:srgbClr val="87B7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/>
                <a:sym typeface="Arial"/>
              </a:endParaRPr>
            </a:p>
          </p:txBody>
        </p:sp>
        <p:sp>
          <p:nvSpPr>
            <p:cNvPr id="473" name="Google Shape;1074;p43">
              <a:extLst>
                <a:ext uri="{FF2B5EF4-FFF2-40B4-BE49-F238E27FC236}">
                  <a16:creationId xmlns="" xmlns:a16="http://schemas.microsoft.com/office/drawing/2014/main" id="{A58C32B9-7831-4BEC-8602-931F6EF1FE6D}"/>
                </a:ext>
              </a:extLst>
            </p:cNvPr>
            <p:cNvSpPr/>
            <p:nvPr/>
          </p:nvSpPr>
          <p:spPr>
            <a:xfrm>
              <a:off x="5679749" y="0"/>
              <a:ext cx="51491" cy="2896377"/>
            </a:xfrm>
            <a:custGeom>
              <a:avLst/>
              <a:gdLst/>
              <a:ahLst/>
              <a:cxnLst/>
              <a:rect l="l" t="t" r="r" b="b"/>
              <a:pathLst>
                <a:path w="695" h="39094" extrusionOk="0">
                  <a:moveTo>
                    <a:pt x="1" y="0"/>
                  </a:moveTo>
                  <a:lnTo>
                    <a:pt x="1" y="39093"/>
                  </a:lnTo>
                  <a:lnTo>
                    <a:pt x="694" y="39093"/>
                  </a:lnTo>
                  <a:lnTo>
                    <a:pt x="694" y="0"/>
                  </a:lnTo>
                  <a:close/>
                </a:path>
              </a:pathLst>
            </a:custGeom>
            <a:solidFill>
              <a:srgbClr val="87B7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/>
                <a:sym typeface="Arial"/>
              </a:endParaRPr>
            </a:p>
          </p:txBody>
        </p:sp>
        <p:sp>
          <p:nvSpPr>
            <p:cNvPr id="474" name="Google Shape;1075;p43">
              <a:extLst>
                <a:ext uri="{FF2B5EF4-FFF2-40B4-BE49-F238E27FC236}">
                  <a16:creationId xmlns="" xmlns:a16="http://schemas.microsoft.com/office/drawing/2014/main" id="{D976FEC7-886F-4DE8-A4B6-2A05E86A7B36}"/>
                </a:ext>
              </a:extLst>
            </p:cNvPr>
            <p:cNvSpPr/>
            <p:nvPr/>
          </p:nvSpPr>
          <p:spPr>
            <a:xfrm>
              <a:off x="7112905" y="0"/>
              <a:ext cx="51046" cy="2896377"/>
            </a:xfrm>
            <a:custGeom>
              <a:avLst/>
              <a:gdLst/>
              <a:ahLst/>
              <a:cxnLst/>
              <a:rect l="l" t="t" r="r" b="b"/>
              <a:pathLst>
                <a:path w="689" h="39094" extrusionOk="0">
                  <a:moveTo>
                    <a:pt x="1" y="0"/>
                  </a:moveTo>
                  <a:lnTo>
                    <a:pt x="1" y="39093"/>
                  </a:lnTo>
                  <a:lnTo>
                    <a:pt x="688" y="39093"/>
                  </a:lnTo>
                  <a:lnTo>
                    <a:pt x="688" y="0"/>
                  </a:lnTo>
                  <a:close/>
                </a:path>
              </a:pathLst>
            </a:custGeom>
            <a:solidFill>
              <a:srgbClr val="87B7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/>
                <a:sym typeface="Arial"/>
              </a:endParaRPr>
            </a:p>
          </p:txBody>
        </p:sp>
        <p:sp>
          <p:nvSpPr>
            <p:cNvPr id="475" name="Google Shape;1076;p43">
              <a:extLst>
                <a:ext uri="{FF2B5EF4-FFF2-40B4-BE49-F238E27FC236}">
                  <a16:creationId xmlns="" xmlns:a16="http://schemas.microsoft.com/office/drawing/2014/main" id="{D48DCAE6-CAA5-4D32-8670-F2B7EF629C1E}"/>
                </a:ext>
              </a:extLst>
            </p:cNvPr>
            <p:cNvSpPr/>
            <p:nvPr/>
          </p:nvSpPr>
          <p:spPr>
            <a:xfrm>
              <a:off x="8545618" y="0"/>
              <a:ext cx="51491" cy="2896377"/>
            </a:xfrm>
            <a:custGeom>
              <a:avLst/>
              <a:gdLst/>
              <a:ahLst/>
              <a:cxnLst/>
              <a:rect l="l" t="t" r="r" b="b"/>
              <a:pathLst>
                <a:path w="695" h="39094" extrusionOk="0">
                  <a:moveTo>
                    <a:pt x="1" y="0"/>
                  </a:moveTo>
                  <a:lnTo>
                    <a:pt x="1" y="39093"/>
                  </a:lnTo>
                  <a:lnTo>
                    <a:pt x="694" y="39093"/>
                  </a:lnTo>
                  <a:lnTo>
                    <a:pt x="694" y="0"/>
                  </a:lnTo>
                  <a:close/>
                </a:path>
              </a:pathLst>
            </a:custGeom>
            <a:solidFill>
              <a:srgbClr val="87B7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/>
                <a:sym typeface="Arial"/>
              </a:endParaRPr>
            </a:p>
          </p:txBody>
        </p:sp>
        <p:sp>
          <p:nvSpPr>
            <p:cNvPr id="476" name="Google Shape;1077;p43">
              <a:extLst>
                <a:ext uri="{FF2B5EF4-FFF2-40B4-BE49-F238E27FC236}">
                  <a16:creationId xmlns="" xmlns:a16="http://schemas.microsoft.com/office/drawing/2014/main" id="{7715EE9D-684C-4BA2-B333-0136B751918D}"/>
                </a:ext>
              </a:extLst>
            </p:cNvPr>
            <p:cNvSpPr/>
            <p:nvPr/>
          </p:nvSpPr>
          <p:spPr>
            <a:xfrm>
              <a:off x="8332244" y="3189851"/>
              <a:ext cx="133802" cy="342284"/>
            </a:xfrm>
            <a:custGeom>
              <a:avLst/>
              <a:gdLst/>
              <a:ahLst/>
              <a:cxnLst/>
              <a:rect l="l" t="t" r="r" b="b"/>
              <a:pathLst>
                <a:path w="1806" h="4620" extrusionOk="0">
                  <a:moveTo>
                    <a:pt x="218" y="1"/>
                  </a:moveTo>
                  <a:cubicBezTo>
                    <a:pt x="208" y="1"/>
                    <a:pt x="198" y="2"/>
                    <a:pt x="189" y="6"/>
                  </a:cubicBezTo>
                  <a:lnTo>
                    <a:pt x="71" y="47"/>
                  </a:lnTo>
                  <a:cubicBezTo>
                    <a:pt x="30" y="59"/>
                    <a:pt x="1" y="112"/>
                    <a:pt x="18" y="159"/>
                  </a:cubicBezTo>
                  <a:lnTo>
                    <a:pt x="1505" y="4561"/>
                  </a:lnTo>
                  <a:cubicBezTo>
                    <a:pt x="1519" y="4594"/>
                    <a:pt x="1556" y="4619"/>
                    <a:pt x="1591" y="4619"/>
                  </a:cubicBezTo>
                  <a:cubicBezTo>
                    <a:pt x="1600" y="4619"/>
                    <a:pt x="1609" y="4618"/>
                    <a:pt x="1617" y="4614"/>
                  </a:cubicBezTo>
                  <a:lnTo>
                    <a:pt x="1735" y="4573"/>
                  </a:lnTo>
                  <a:cubicBezTo>
                    <a:pt x="1782" y="4555"/>
                    <a:pt x="1805" y="4508"/>
                    <a:pt x="1793" y="4461"/>
                  </a:cubicBezTo>
                  <a:lnTo>
                    <a:pt x="300" y="59"/>
                  </a:lnTo>
                  <a:cubicBezTo>
                    <a:pt x="291" y="26"/>
                    <a:pt x="255" y="1"/>
                    <a:pt x="218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/>
                <a:sym typeface="Arial"/>
              </a:endParaRPr>
            </a:p>
          </p:txBody>
        </p:sp>
        <p:sp>
          <p:nvSpPr>
            <p:cNvPr id="477" name="Google Shape;1078;p43">
              <a:extLst>
                <a:ext uri="{FF2B5EF4-FFF2-40B4-BE49-F238E27FC236}">
                  <a16:creationId xmlns="" xmlns:a16="http://schemas.microsoft.com/office/drawing/2014/main" id="{F0F3BEEC-412E-4917-8358-FE135CF0373D}"/>
                </a:ext>
              </a:extLst>
            </p:cNvPr>
            <p:cNvSpPr/>
            <p:nvPr/>
          </p:nvSpPr>
          <p:spPr>
            <a:xfrm>
              <a:off x="7742208" y="3189851"/>
              <a:ext cx="133728" cy="342284"/>
            </a:xfrm>
            <a:custGeom>
              <a:avLst/>
              <a:gdLst/>
              <a:ahLst/>
              <a:cxnLst/>
              <a:rect l="l" t="t" r="r" b="b"/>
              <a:pathLst>
                <a:path w="1805" h="4620" extrusionOk="0">
                  <a:moveTo>
                    <a:pt x="1588" y="1"/>
                  </a:moveTo>
                  <a:cubicBezTo>
                    <a:pt x="1552" y="1"/>
                    <a:pt x="1519" y="26"/>
                    <a:pt x="1505" y="59"/>
                  </a:cubicBezTo>
                  <a:lnTo>
                    <a:pt x="18" y="4461"/>
                  </a:lnTo>
                  <a:cubicBezTo>
                    <a:pt x="0" y="4508"/>
                    <a:pt x="24" y="4561"/>
                    <a:pt x="71" y="4573"/>
                  </a:cubicBezTo>
                  <a:lnTo>
                    <a:pt x="188" y="4614"/>
                  </a:lnTo>
                  <a:cubicBezTo>
                    <a:pt x="198" y="4618"/>
                    <a:pt x="207" y="4619"/>
                    <a:pt x="217" y="4619"/>
                  </a:cubicBezTo>
                  <a:cubicBezTo>
                    <a:pt x="253" y="4619"/>
                    <a:pt x="286" y="4594"/>
                    <a:pt x="300" y="4561"/>
                  </a:cubicBezTo>
                  <a:lnTo>
                    <a:pt x="1787" y="159"/>
                  </a:lnTo>
                  <a:cubicBezTo>
                    <a:pt x="1805" y="112"/>
                    <a:pt x="1781" y="59"/>
                    <a:pt x="1734" y="47"/>
                  </a:cubicBezTo>
                  <a:lnTo>
                    <a:pt x="1617" y="6"/>
                  </a:lnTo>
                  <a:cubicBezTo>
                    <a:pt x="1607" y="2"/>
                    <a:pt x="1597" y="1"/>
                    <a:pt x="1588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/>
                <a:sym typeface="Arial"/>
              </a:endParaRPr>
            </a:p>
          </p:txBody>
        </p:sp>
        <p:sp>
          <p:nvSpPr>
            <p:cNvPr id="478" name="Google Shape;1079;p43">
              <a:extLst>
                <a:ext uri="{FF2B5EF4-FFF2-40B4-BE49-F238E27FC236}">
                  <a16:creationId xmlns="" xmlns:a16="http://schemas.microsoft.com/office/drawing/2014/main" id="{06A7495F-034B-46A9-8AA7-2142252F0A0D}"/>
                </a:ext>
              </a:extLst>
            </p:cNvPr>
            <p:cNvSpPr/>
            <p:nvPr/>
          </p:nvSpPr>
          <p:spPr>
            <a:xfrm>
              <a:off x="8340987" y="3222450"/>
              <a:ext cx="124615" cy="309686"/>
            </a:xfrm>
            <a:custGeom>
              <a:avLst/>
              <a:gdLst/>
              <a:ahLst/>
              <a:cxnLst/>
              <a:rect l="l" t="t" r="r" b="b"/>
              <a:pathLst>
                <a:path w="1682" h="4180" extrusionOk="0">
                  <a:moveTo>
                    <a:pt x="0" y="1"/>
                  </a:moveTo>
                  <a:lnTo>
                    <a:pt x="1393" y="4115"/>
                  </a:lnTo>
                  <a:cubicBezTo>
                    <a:pt x="1405" y="4150"/>
                    <a:pt x="1440" y="4174"/>
                    <a:pt x="1475" y="4180"/>
                  </a:cubicBezTo>
                  <a:cubicBezTo>
                    <a:pt x="1487" y="4180"/>
                    <a:pt x="1493" y="4174"/>
                    <a:pt x="1505" y="4174"/>
                  </a:cubicBezTo>
                  <a:lnTo>
                    <a:pt x="1622" y="4133"/>
                  </a:lnTo>
                  <a:cubicBezTo>
                    <a:pt x="1658" y="4121"/>
                    <a:pt x="1681" y="4086"/>
                    <a:pt x="1681" y="4051"/>
                  </a:cubicBezTo>
                  <a:cubicBezTo>
                    <a:pt x="1681" y="4039"/>
                    <a:pt x="1681" y="4027"/>
                    <a:pt x="1675" y="4021"/>
                  </a:cubicBezTo>
                  <a:lnTo>
                    <a:pt x="318" y="1"/>
                  </a:lnTo>
                  <a:close/>
                </a:path>
              </a:pathLst>
            </a:custGeom>
            <a:solidFill>
              <a:srgbClr val="C8D3EA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/>
                <a:sym typeface="Arial"/>
              </a:endParaRPr>
            </a:p>
          </p:txBody>
        </p:sp>
        <p:sp>
          <p:nvSpPr>
            <p:cNvPr id="479" name="Google Shape;1080;p43">
              <a:extLst>
                <a:ext uri="{FF2B5EF4-FFF2-40B4-BE49-F238E27FC236}">
                  <a16:creationId xmlns="" xmlns:a16="http://schemas.microsoft.com/office/drawing/2014/main" id="{03244C7A-F085-43D3-8DD8-A62BEADB1D13}"/>
                </a:ext>
              </a:extLst>
            </p:cNvPr>
            <p:cNvSpPr/>
            <p:nvPr/>
          </p:nvSpPr>
          <p:spPr>
            <a:xfrm>
              <a:off x="7743023" y="3222450"/>
              <a:ext cx="124615" cy="309686"/>
            </a:xfrm>
            <a:custGeom>
              <a:avLst/>
              <a:gdLst/>
              <a:ahLst/>
              <a:cxnLst/>
              <a:rect l="l" t="t" r="r" b="b"/>
              <a:pathLst>
                <a:path w="1682" h="4180" extrusionOk="0">
                  <a:moveTo>
                    <a:pt x="1365" y="1"/>
                  </a:moveTo>
                  <a:lnTo>
                    <a:pt x="7" y="4021"/>
                  </a:lnTo>
                  <a:cubicBezTo>
                    <a:pt x="1" y="4033"/>
                    <a:pt x="1" y="4039"/>
                    <a:pt x="1" y="4051"/>
                  </a:cubicBezTo>
                  <a:cubicBezTo>
                    <a:pt x="1" y="4086"/>
                    <a:pt x="24" y="4121"/>
                    <a:pt x="60" y="4133"/>
                  </a:cubicBezTo>
                  <a:lnTo>
                    <a:pt x="177" y="4174"/>
                  </a:lnTo>
                  <a:cubicBezTo>
                    <a:pt x="183" y="4174"/>
                    <a:pt x="195" y="4180"/>
                    <a:pt x="207" y="4180"/>
                  </a:cubicBezTo>
                  <a:cubicBezTo>
                    <a:pt x="242" y="4180"/>
                    <a:pt x="277" y="4156"/>
                    <a:pt x="289" y="4115"/>
                  </a:cubicBezTo>
                  <a:lnTo>
                    <a:pt x="1682" y="1"/>
                  </a:lnTo>
                  <a:close/>
                </a:path>
              </a:pathLst>
            </a:custGeom>
            <a:solidFill>
              <a:srgbClr val="C8D3EA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/>
                <a:sym typeface="Arial"/>
              </a:endParaRPr>
            </a:p>
          </p:txBody>
        </p:sp>
        <p:sp>
          <p:nvSpPr>
            <p:cNvPr id="480" name="Google Shape;1081;p43">
              <a:extLst>
                <a:ext uri="{FF2B5EF4-FFF2-40B4-BE49-F238E27FC236}">
                  <a16:creationId xmlns="" xmlns:a16="http://schemas.microsoft.com/office/drawing/2014/main" id="{EE7A67A9-EE9C-4853-91F5-15305529BFC0}"/>
                </a:ext>
              </a:extLst>
            </p:cNvPr>
            <p:cNvSpPr/>
            <p:nvPr/>
          </p:nvSpPr>
          <p:spPr>
            <a:xfrm>
              <a:off x="8357508" y="3188517"/>
              <a:ext cx="148101" cy="379698"/>
            </a:xfrm>
            <a:custGeom>
              <a:avLst/>
              <a:gdLst/>
              <a:ahLst/>
              <a:cxnLst/>
              <a:rect l="l" t="t" r="r" b="b"/>
              <a:pathLst>
                <a:path w="1999" h="5125" extrusionOk="0">
                  <a:moveTo>
                    <a:pt x="237" y="1"/>
                  </a:moveTo>
                  <a:cubicBezTo>
                    <a:pt x="227" y="1"/>
                    <a:pt x="217" y="3"/>
                    <a:pt x="206" y="6"/>
                  </a:cubicBezTo>
                  <a:lnTo>
                    <a:pt x="77" y="53"/>
                  </a:lnTo>
                  <a:cubicBezTo>
                    <a:pt x="24" y="71"/>
                    <a:pt x="0" y="124"/>
                    <a:pt x="18" y="177"/>
                  </a:cubicBezTo>
                  <a:lnTo>
                    <a:pt x="1670" y="5055"/>
                  </a:lnTo>
                  <a:cubicBezTo>
                    <a:pt x="1679" y="5098"/>
                    <a:pt x="1719" y="5125"/>
                    <a:pt x="1762" y="5125"/>
                  </a:cubicBezTo>
                  <a:cubicBezTo>
                    <a:pt x="1772" y="5125"/>
                    <a:pt x="1783" y="5123"/>
                    <a:pt x="1793" y="5120"/>
                  </a:cubicBezTo>
                  <a:lnTo>
                    <a:pt x="1923" y="5073"/>
                  </a:lnTo>
                  <a:cubicBezTo>
                    <a:pt x="1975" y="5055"/>
                    <a:pt x="1999" y="5002"/>
                    <a:pt x="1981" y="4949"/>
                  </a:cubicBezTo>
                  <a:lnTo>
                    <a:pt x="330" y="71"/>
                  </a:lnTo>
                  <a:cubicBezTo>
                    <a:pt x="315" y="28"/>
                    <a:pt x="279" y="1"/>
                    <a:pt x="237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/>
                <a:sym typeface="Arial"/>
              </a:endParaRPr>
            </a:p>
          </p:txBody>
        </p:sp>
        <p:sp>
          <p:nvSpPr>
            <p:cNvPr id="481" name="Google Shape;1082;p43">
              <a:extLst>
                <a:ext uri="{FF2B5EF4-FFF2-40B4-BE49-F238E27FC236}">
                  <a16:creationId xmlns="" xmlns:a16="http://schemas.microsoft.com/office/drawing/2014/main" id="{D7693204-014A-44F3-81E4-79EBAD99F33D}"/>
                </a:ext>
              </a:extLst>
            </p:cNvPr>
            <p:cNvSpPr/>
            <p:nvPr/>
          </p:nvSpPr>
          <p:spPr>
            <a:xfrm>
              <a:off x="7702571" y="3188517"/>
              <a:ext cx="148545" cy="379698"/>
            </a:xfrm>
            <a:custGeom>
              <a:avLst/>
              <a:gdLst/>
              <a:ahLst/>
              <a:cxnLst/>
              <a:rect l="l" t="t" r="r" b="b"/>
              <a:pathLst>
                <a:path w="2005" h="5125" extrusionOk="0">
                  <a:moveTo>
                    <a:pt x="1764" y="1"/>
                  </a:moveTo>
                  <a:cubicBezTo>
                    <a:pt x="1724" y="1"/>
                    <a:pt x="1684" y="28"/>
                    <a:pt x="1670" y="71"/>
                  </a:cubicBezTo>
                  <a:lnTo>
                    <a:pt x="18" y="4949"/>
                  </a:lnTo>
                  <a:cubicBezTo>
                    <a:pt x="0" y="5002"/>
                    <a:pt x="30" y="5055"/>
                    <a:pt x="83" y="5073"/>
                  </a:cubicBezTo>
                  <a:lnTo>
                    <a:pt x="212" y="5120"/>
                  </a:lnTo>
                  <a:cubicBezTo>
                    <a:pt x="221" y="5123"/>
                    <a:pt x="231" y="5125"/>
                    <a:pt x="241" y="5125"/>
                  </a:cubicBezTo>
                  <a:cubicBezTo>
                    <a:pt x="280" y="5125"/>
                    <a:pt x="321" y="5098"/>
                    <a:pt x="335" y="5055"/>
                  </a:cubicBezTo>
                  <a:lnTo>
                    <a:pt x="1987" y="177"/>
                  </a:lnTo>
                  <a:cubicBezTo>
                    <a:pt x="2005" y="124"/>
                    <a:pt x="1975" y="71"/>
                    <a:pt x="1922" y="53"/>
                  </a:cubicBezTo>
                  <a:lnTo>
                    <a:pt x="1793" y="6"/>
                  </a:lnTo>
                  <a:cubicBezTo>
                    <a:pt x="1784" y="3"/>
                    <a:pt x="1774" y="1"/>
                    <a:pt x="1764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/>
                <a:sym typeface="Arial"/>
              </a:endParaRPr>
            </a:p>
          </p:txBody>
        </p:sp>
        <p:sp>
          <p:nvSpPr>
            <p:cNvPr id="482" name="Google Shape;1083;p43">
              <a:extLst>
                <a:ext uri="{FF2B5EF4-FFF2-40B4-BE49-F238E27FC236}">
                  <a16:creationId xmlns="" xmlns:a16="http://schemas.microsoft.com/office/drawing/2014/main" id="{4F463E81-F492-46CC-AB4D-4C75FA814DC3}"/>
                </a:ext>
              </a:extLst>
            </p:cNvPr>
            <p:cNvSpPr/>
            <p:nvPr/>
          </p:nvSpPr>
          <p:spPr>
            <a:xfrm>
              <a:off x="7797922" y="2572922"/>
              <a:ext cx="911943" cy="649673"/>
            </a:xfrm>
            <a:custGeom>
              <a:avLst/>
              <a:gdLst/>
              <a:ahLst/>
              <a:cxnLst/>
              <a:rect l="l" t="t" r="r" b="b"/>
              <a:pathLst>
                <a:path w="12309" h="8769" extrusionOk="0">
                  <a:moveTo>
                    <a:pt x="11617" y="1"/>
                  </a:moveTo>
                  <a:cubicBezTo>
                    <a:pt x="11410" y="1"/>
                    <a:pt x="11214" y="116"/>
                    <a:pt x="11121" y="315"/>
                  </a:cubicBezTo>
                  <a:lnTo>
                    <a:pt x="7747" y="7357"/>
                  </a:lnTo>
                  <a:cubicBezTo>
                    <a:pt x="7659" y="7545"/>
                    <a:pt x="7465" y="7669"/>
                    <a:pt x="7254" y="7669"/>
                  </a:cubicBezTo>
                  <a:lnTo>
                    <a:pt x="571" y="7669"/>
                  </a:lnTo>
                  <a:cubicBezTo>
                    <a:pt x="564" y="7668"/>
                    <a:pt x="557" y="7668"/>
                    <a:pt x="550" y="7668"/>
                  </a:cubicBezTo>
                  <a:cubicBezTo>
                    <a:pt x="248" y="7668"/>
                    <a:pt x="0" y="7916"/>
                    <a:pt x="0" y="8215"/>
                  </a:cubicBezTo>
                  <a:cubicBezTo>
                    <a:pt x="0" y="8520"/>
                    <a:pt x="248" y="8768"/>
                    <a:pt x="550" y="8768"/>
                  </a:cubicBezTo>
                  <a:cubicBezTo>
                    <a:pt x="557" y="8768"/>
                    <a:pt x="564" y="8768"/>
                    <a:pt x="571" y="8768"/>
                  </a:cubicBezTo>
                  <a:lnTo>
                    <a:pt x="8024" y="8768"/>
                  </a:lnTo>
                  <a:cubicBezTo>
                    <a:pt x="8235" y="8768"/>
                    <a:pt x="8429" y="8644"/>
                    <a:pt x="8517" y="8456"/>
                  </a:cubicBezTo>
                  <a:lnTo>
                    <a:pt x="12173" y="815"/>
                  </a:lnTo>
                  <a:cubicBezTo>
                    <a:pt x="12309" y="527"/>
                    <a:pt x="12173" y="186"/>
                    <a:pt x="11880" y="69"/>
                  </a:cubicBezTo>
                  <a:lnTo>
                    <a:pt x="11821" y="45"/>
                  </a:lnTo>
                  <a:lnTo>
                    <a:pt x="11821" y="39"/>
                  </a:lnTo>
                  <a:cubicBezTo>
                    <a:pt x="11754" y="13"/>
                    <a:pt x="11685" y="1"/>
                    <a:pt x="11617" y="1"/>
                  </a:cubicBezTo>
                  <a:close/>
                </a:path>
              </a:pathLst>
            </a:custGeom>
            <a:solidFill>
              <a:srgbClr val="4A6CB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/>
                <a:sym typeface="Arial"/>
              </a:endParaRPr>
            </a:p>
          </p:txBody>
        </p:sp>
        <p:sp>
          <p:nvSpPr>
            <p:cNvPr id="483" name="Google Shape;1084;p43">
              <a:extLst>
                <a:ext uri="{FF2B5EF4-FFF2-40B4-BE49-F238E27FC236}">
                  <a16:creationId xmlns="" xmlns:a16="http://schemas.microsoft.com/office/drawing/2014/main" id="{E0F0B400-E742-493A-9157-4B063454F496}"/>
                </a:ext>
              </a:extLst>
            </p:cNvPr>
            <p:cNvSpPr/>
            <p:nvPr/>
          </p:nvSpPr>
          <p:spPr>
            <a:xfrm>
              <a:off x="7826743" y="2959438"/>
              <a:ext cx="639301" cy="210483"/>
            </a:xfrm>
            <a:custGeom>
              <a:avLst/>
              <a:gdLst/>
              <a:ahLst/>
              <a:cxnLst/>
              <a:rect l="l" t="t" r="r" b="b"/>
              <a:pathLst>
                <a:path w="8629" h="2841" extrusionOk="0">
                  <a:moveTo>
                    <a:pt x="3908" y="1"/>
                  </a:moveTo>
                  <a:cubicBezTo>
                    <a:pt x="3873" y="1"/>
                    <a:pt x="3844" y="12"/>
                    <a:pt x="3820" y="30"/>
                  </a:cubicBezTo>
                  <a:lnTo>
                    <a:pt x="140" y="2557"/>
                  </a:lnTo>
                  <a:cubicBezTo>
                    <a:pt x="1" y="2654"/>
                    <a:pt x="94" y="2841"/>
                    <a:pt x="226" y="2841"/>
                  </a:cubicBezTo>
                  <a:cubicBezTo>
                    <a:pt x="255" y="2841"/>
                    <a:pt x="286" y="2831"/>
                    <a:pt x="317" y="2810"/>
                  </a:cubicBezTo>
                  <a:lnTo>
                    <a:pt x="3908" y="347"/>
                  </a:lnTo>
                  <a:cubicBezTo>
                    <a:pt x="3938" y="330"/>
                    <a:pt x="3967" y="318"/>
                    <a:pt x="3996" y="318"/>
                  </a:cubicBezTo>
                  <a:lnTo>
                    <a:pt x="8469" y="318"/>
                  </a:lnTo>
                  <a:cubicBezTo>
                    <a:pt x="8558" y="318"/>
                    <a:pt x="8628" y="247"/>
                    <a:pt x="8622" y="165"/>
                  </a:cubicBezTo>
                  <a:lnTo>
                    <a:pt x="8622" y="153"/>
                  </a:lnTo>
                  <a:cubicBezTo>
                    <a:pt x="8622" y="71"/>
                    <a:pt x="8558" y="1"/>
                    <a:pt x="8469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/>
                <a:sym typeface="Arial"/>
              </a:endParaRPr>
            </a:p>
          </p:txBody>
        </p:sp>
        <p:sp>
          <p:nvSpPr>
            <p:cNvPr id="484" name="Google Shape;1085;p43">
              <a:extLst>
                <a:ext uri="{FF2B5EF4-FFF2-40B4-BE49-F238E27FC236}">
                  <a16:creationId xmlns="" xmlns:a16="http://schemas.microsoft.com/office/drawing/2014/main" id="{6DF4B6C9-C705-4147-B984-E364C130D36D}"/>
                </a:ext>
              </a:extLst>
            </p:cNvPr>
            <p:cNvSpPr/>
            <p:nvPr/>
          </p:nvSpPr>
          <p:spPr>
            <a:xfrm>
              <a:off x="8442858" y="3217708"/>
              <a:ext cx="133802" cy="342136"/>
            </a:xfrm>
            <a:custGeom>
              <a:avLst/>
              <a:gdLst/>
              <a:ahLst/>
              <a:cxnLst/>
              <a:rect l="l" t="t" r="r" b="b"/>
              <a:pathLst>
                <a:path w="1806" h="4618" extrusionOk="0">
                  <a:moveTo>
                    <a:pt x="220" y="0"/>
                  </a:moveTo>
                  <a:cubicBezTo>
                    <a:pt x="210" y="0"/>
                    <a:pt x="199" y="2"/>
                    <a:pt x="189" y="6"/>
                  </a:cubicBezTo>
                  <a:lnTo>
                    <a:pt x="71" y="41"/>
                  </a:lnTo>
                  <a:cubicBezTo>
                    <a:pt x="24" y="59"/>
                    <a:pt x="1" y="112"/>
                    <a:pt x="18" y="153"/>
                  </a:cubicBezTo>
                  <a:lnTo>
                    <a:pt x="1505" y="4555"/>
                  </a:lnTo>
                  <a:cubicBezTo>
                    <a:pt x="1520" y="4594"/>
                    <a:pt x="1555" y="4617"/>
                    <a:pt x="1593" y="4617"/>
                  </a:cubicBezTo>
                  <a:cubicBezTo>
                    <a:pt x="1601" y="4617"/>
                    <a:pt x="1609" y="4616"/>
                    <a:pt x="1617" y="4614"/>
                  </a:cubicBezTo>
                  <a:lnTo>
                    <a:pt x="1734" y="4573"/>
                  </a:lnTo>
                  <a:cubicBezTo>
                    <a:pt x="1782" y="4555"/>
                    <a:pt x="1805" y="4508"/>
                    <a:pt x="1787" y="4461"/>
                  </a:cubicBezTo>
                  <a:lnTo>
                    <a:pt x="300" y="59"/>
                  </a:lnTo>
                  <a:cubicBezTo>
                    <a:pt x="287" y="22"/>
                    <a:pt x="255" y="0"/>
                    <a:pt x="22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/>
                <a:sym typeface="Arial"/>
              </a:endParaRPr>
            </a:p>
          </p:txBody>
        </p:sp>
        <p:sp>
          <p:nvSpPr>
            <p:cNvPr id="485" name="Google Shape;1086;p43">
              <a:extLst>
                <a:ext uri="{FF2B5EF4-FFF2-40B4-BE49-F238E27FC236}">
                  <a16:creationId xmlns="" xmlns:a16="http://schemas.microsoft.com/office/drawing/2014/main" id="{71646BC3-AE46-478A-B800-DC9493817B7B}"/>
                </a:ext>
              </a:extLst>
            </p:cNvPr>
            <p:cNvSpPr/>
            <p:nvPr/>
          </p:nvSpPr>
          <p:spPr>
            <a:xfrm>
              <a:off x="7852377" y="3217708"/>
              <a:ext cx="133728" cy="342136"/>
            </a:xfrm>
            <a:custGeom>
              <a:avLst/>
              <a:gdLst/>
              <a:ahLst/>
              <a:cxnLst/>
              <a:rect l="l" t="t" r="r" b="b"/>
              <a:pathLst>
                <a:path w="1805" h="4618" extrusionOk="0">
                  <a:moveTo>
                    <a:pt x="1585" y="0"/>
                  </a:moveTo>
                  <a:cubicBezTo>
                    <a:pt x="1550" y="0"/>
                    <a:pt x="1519" y="22"/>
                    <a:pt x="1505" y="59"/>
                  </a:cubicBezTo>
                  <a:lnTo>
                    <a:pt x="18" y="4461"/>
                  </a:lnTo>
                  <a:cubicBezTo>
                    <a:pt x="0" y="4508"/>
                    <a:pt x="24" y="4555"/>
                    <a:pt x="71" y="4573"/>
                  </a:cubicBezTo>
                  <a:lnTo>
                    <a:pt x="188" y="4614"/>
                  </a:lnTo>
                  <a:cubicBezTo>
                    <a:pt x="196" y="4616"/>
                    <a:pt x="205" y="4617"/>
                    <a:pt x="213" y="4617"/>
                  </a:cubicBezTo>
                  <a:cubicBezTo>
                    <a:pt x="252" y="4617"/>
                    <a:pt x="290" y="4594"/>
                    <a:pt x="300" y="4555"/>
                  </a:cubicBezTo>
                  <a:lnTo>
                    <a:pt x="1793" y="153"/>
                  </a:lnTo>
                  <a:cubicBezTo>
                    <a:pt x="1805" y="112"/>
                    <a:pt x="1781" y="59"/>
                    <a:pt x="1734" y="41"/>
                  </a:cubicBezTo>
                  <a:lnTo>
                    <a:pt x="1617" y="6"/>
                  </a:lnTo>
                  <a:cubicBezTo>
                    <a:pt x="1606" y="2"/>
                    <a:pt x="1595" y="0"/>
                    <a:pt x="1585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/>
                <a:sym typeface="Arial"/>
              </a:endParaRPr>
            </a:p>
          </p:txBody>
        </p:sp>
        <p:sp>
          <p:nvSpPr>
            <p:cNvPr id="486" name="Google Shape;1087;p43">
              <a:extLst>
                <a:ext uri="{FF2B5EF4-FFF2-40B4-BE49-F238E27FC236}">
                  <a16:creationId xmlns="" xmlns:a16="http://schemas.microsoft.com/office/drawing/2014/main" id="{C4D0B501-62C9-44BD-8F1E-04879506D92B}"/>
                </a:ext>
              </a:extLst>
            </p:cNvPr>
            <p:cNvSpPr/>
            <p:nvPr/>
          </p:nvSpPr>
          <p:spPr>
            <a:xfrm>
              <a:off x="8443747" y="3217708"/>
              <a:ext cx="132913" cy="341914"/>
            </a:xfrm>
            <a:custGeom>
              <a:avLst/>
              <a:gdLst/>
              <a:ahLst/>
              <a:cxnLst/>
              <a:rect l="l" t="t" r="r" b="b"/>
              <a:pathLst>
                <a:path w="1794" h="4615" extrusionOk="0">
                  <a:moveTo>
                    <a:pt x="200" y="0"/>
                  </a:moveTo>
                  <a:cubicBezTo>
                    <a:pt x="201" y="0"/>
                    <a:pt x="201" y="0"/>
                    <a:pt x="202" y="0"/>
                  </a:cubicBezTo>
                  <a:lnTo>
                    <a:pt x="202" y="0"/>
                  </a:lnTo>
                  <a:cubicBezTo>
                    <a:pt x="203" y="0"/>
                    <a:pt x="205" y="0"/>
                    <a:pt x="206" y="0"/>
                  </a:cubicBezTo>
                  <a:close/>
                  <a:moveTo>
                    <a:pt x="202" y="0"/>
                  </a:moveTo>
                  <a:cubicBezTo>
                    <a:pt x="191" y="0"/>
                    <a:pt x="182" y="1"/>
                    <a:pt x="177" y="6"/>
                  </a:cubicBezTo>
                  <a:lnTo>
                    <a:pt x="59" y="41"/>
                  </a:lnTo>
                  <a:cubicBezTo>
                    <a:pt x="24" y="53"/>
                    <a:pt x="0" y="88"/>
                    <a:pt x="0" y="129"/>
                  </a:cubicBezTo>
                  <a:cubicBezTo>
                    <a:pt x="0" y="135"/>
                    <a:pt x="0" y="147"/>
                    <a:pt x="0" y="153"/>
                  </a:cubicBezTo>
                  <a:lnTo>
                    <a:pt x="1493" y="4555"/>
                  </a:lnTo>
                  <a:cubicBezTo>
                    <a:pt x="1505" y="4591"/>
                    <a:pt x="1534" y="4614"/>
                    <a:pt x="1576" y="4614"/>
                  </a:cubicBezTo>
                  <a:lnTo>
                    <a:pt x="1605" y="4614"/>
                  </a:lnTo>
                  <a:lnTo>
                    <a:pt x="1722" y="4573"/>
                  </a:lnTo>
                  <a:cubicBezTo>
                    <a:pt x="1764" y="4555"/>
                    <a:pt x="1793" y="4508"/>
                    <a:pt x="1775" y="4461"/>
                  </a:cubicBezTo>
                  <a:lnTo>
                    <a:pt x="288" y="59"/>
                  </a:lnTo>
                  <a:cubicBezTo>
                    <a:pt x="277" y="24"/>
                    <a:pt x="242" y="1"/>
                    <a:pt x="202" y="0"/>
                  </a:cubicBezTo>
                  <a:close/>
                </a:path>
              </a:pathLst>
            </a:custGeom>
            <a:solidFill>
              <a:srgbClr val="C8D3EA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/>
                <a:sym typeface="Arial"/>
              </a:endParaRPr>
            </a:p>
          </p:txBody>
        </p:sp>
        <p:sp>
          <p:nvSpPr>
            <p:cNvPr id="487" name="Google Shape;1088;p43">
              <a:extLst>
                <a:ext uri="{FF2B5EF4-FFF2-40B4-BE49-F238E27FC236}">
                  <a16:creationId xmlns="" xmlns:a16="http://schemas.microsoft.com/office/drawing/2014/main" id="{91E106B2-BA79-413A-BF37-87C5D5FA642E}"/>
                </a:ext>
              </a:extLst>
            </p:cNvPr>
            <p:cNvSpPr/>
            <p:nvPr/>
          </p:nvSpPr>
          <p:spPr>
            <a:xfrm>
              <a:off x="7853192" y="3217708"/>
              <a:ext cx="132468" cy="341914"/>
            </a:xfrm>
            <a:custGeom>
              <a:avLst/>
              <a:gdLst/>
              <a:ahLst/>
              <a:cxnLst/>
              <a:rect l="l" t="t" r="r" b="b"/>
              <a:pathLst>
                <a:path w="1788" h="4615" extrusionOk="0">
                  <a:moveTo>
                    <a:pt x="1582" y="0"/>
                  </a:moveTo>
                  <a:cubicBezTo>
                    <a:pt x="1541" y="0"/>
                    <a:pt x="1506" y="24"/>
                    <a:pt x="1494" y="59"/>
                  </a:cubicBezTo>
                  <a:lnTo>
                    <a:pt x="7" y="4461"/>
                  </a:lnTo>
                  <a:cubicBezTo>
                    <a:pt x="1" y="4467"/>
                    <a:pt x="1" y="4479"/>
                    <a:pt x="1" y="4491"/>
                  </a:cubicBezTo>
                  <a:cubicBezTo>
                    <a:pt x="1" y="4526"/>
                    <a:pt x="24" y="4561"/>
                    <a:pt x="60" y="4573"/>
                  </a:cubicBezTo>
                  <a:lnTo>
                    <a:pt x="177" y="4614"/>
                  </a:lnTo>
                  <a:lnTo>
                    <a:pt x="207" y="4614"/>
                  </a:lnTo>
                  <a:cubicBezTo>
                    <a:pt x="248" y="4614"/>
                    <a:pt x="277" y="4591"/>
                    <a:pt x="289" y="4555"/>
                  </a:cubicBezTo>
                  <a:lnTo>
                    <a:pt x="1782" y="153"/>
                  </a:lnTo>
                  <a:cubicBezTo>
                    <a:pt x="1782" y="147"/>
                    <a:pt x="1782" y="135"/>
                    <a:pt x="1788" y="129"/>
                  </a:cubicBezTo>
                  <a:cubicBezTo>
                    <a:pt x="1782" y="88"/>
                    <a:pt x="1758" y="53"/>
                    <a:pt x="1723" y="41"/>
                  </a:cubicBezTo>
                  <a:lnTo>
                    <a:pt x="1606" y="6"/>
                  </a:lnTo>
                  <a:cubicBezTo>
                    <a:pt x="1600" y="0"/>
                    <a:pt x="1588" y="0"/>
                    <a:pt x="1582" y="0"/>
                  </a:cubicBezTo>
                  <a:close/>
                </a:path>
              </a:pathLst>
            </a:custGeom>
            <a:solidFill>
              <a:srgbClr val="C8D3EA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/>
                <a:sym typeface="Arial"/>
              </a:endParaRPr>
            </a:p>
          </p:txBody>
        </p:sp>
        <p:sp>
          <p:nvSpPr>
            <p:cNvPr id="488" name="Google Shape;1089;p43">
              <a:extLst>
                <a:ext uri="{FF2B5EF4-FFF2-40B4-BE49-F238E27FC236}">
                  <a16:creationId xmlns="" xmlns:a16="http://schemas.microsoft.com/office/drawing/2014/main" id="{FDD87BC8-4811-429F-9DD6-6BA33E5713EF}"/>
                </a:ext>
              </a:extLst>
            </p:cNvPr>
            <p:cNvSpPr/>
            <p:nvPr/>
          </p:nvSpPr>
          <p:spPr>
            <a:xfrm>
              <a:off x="8467677" y="3216449"/>
              <a:ext cx="148545" cy="379254"/>
            </a:xfrm>
            <a:custGeom>
              <a:avLst/>
              <a:gdLst/>
              <a:ahLst/>
              <a:cxnLst/>
              <a:rect l="l" t="t" r="r" b="b"/>
              <a:pathLst>
                <a:path w="2005" h="5119" extrusionOk="0">
                  <a:moveTo>
                    <a:pt x="244" y="0"/>
                  </a:moveTo>
                  <a:cubicBezTo>
                    <a:pt x="233" y="0"/>
                    <a:pt x="223" y="2"/>
                    <a:pt x="212" y="5"/>
                  </a:cubicBezTo>
                  <a:lnTo>
                    <a:pt x="83" y="46"/>
                  </a:lnTo>
                  <a:cubicBezTo>
                    <a:pt x="30" y="64"/>
                    <a:pt x="1" y="123"/>
                    <a:pt x="18" y="170"/>
                  </a:cubicBezTo>
                  <a:lnTo>
                    <a:pt x="1670" y="5054"/>
                  </a:lnTo>
                  <a:cubicBezTo>
                    <a:pt x="1684" y="5096"/>
                    <a:pt x="1722" y="5119"/>
                    <a:pt x="1764" y="5119"/>
                  </a:cubicBezTo>
                  <a:cubicBezTo>
                    <a:pt x="1775" y="5119"/>
                    <a:pt x="1787" y="5117"/>
                    <a:pt x="1799" y="5113"/>
                  </a:cubicBezTo>
                  <a:lnTo>
                    <a:pt x="1928" y="5072"/>
                  </a:lnTo>
                  <a:cubicBezTo>
                    <a:pt x="1976" y="5054"/>
                    <a:pt x="2005" y="4996"/>
                    <a:pt x="1987" y="4949"/>
                  </a:cubicBezTo>
                  <a:lnTo>
                    <a:pt x="336" y="64"/>
                  </a:lnTo>
                  <a:cubicBezTo>
                    <a:pt x="322" y="26"/>
                    <a:pt x="285" y="0"/>
                    <a:pt x="244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/>
                <a:sym typeface="Arial"/>
              </a:endParaRPr>
            </a:p>
          </p:txBody>
        </p:sp>
        <p:sp>
          <p:nvSpPr>
            <p:cNvPr id="489" name="Google Shape;1090;p43">
              <a:extLst>
                <a:ext uri="{FF2B5EF4-FFF2-40B4-BE49-F238E27FC236}">
                  <a16:creationId xmlns="" xmlns:a16="http://schemas.microsoft.com/office/drawing/2014/main" id="{132BBC5F-14E9-49C5-B99F-D52A857D26D4}"/>
                </a:ext>
              </a:extLst>
            </p:cNvPr>
            <p:cNvSpPr/>
            <p:nvPr/>
          </p:nvSpPr>
          <p:spPr>
            <a:xfrm>
              <a:off x="7812740" y="3216449"/>
              <a:ext cx="148545" cy="379254"/>
            </a:xfrm>
            <a:custGeom>
              <a:avLst/>
              <a:gdLst/>
              <a:ahLst/>
              <a:cxnLst/>
              <a:rect l="l" t="t" r="r" b="b"/>
              <a:pathLst>
                <a:path w="2005" h="5119" extrusionOk="0">
                  <a:moveTo>
                    <a:pt x="1767" y="0"/>
                  </a:moveTo>
                  <a:cubicBezTo>
                    <a:pt x="1724" y="0"/>
                    <a:pt x="1685" y="26"/>
                    <a:pt x="1676" y="64"/>
                  </a:cubicBezTo>
                  <a:lnTo>
                    <a:pt x="18" y="4949"/>
                  </a:lnTo>
                  <a:cubicBezTo>
                    <a:pt x="0" y="4996"/>
                    <a:pt x="30" y="5054"/>
                    <a:pt x="83" y="5072"/>
                  </a:cubicBezTo>
                  <a:lnTo>
                    <a:pt x="212" y="5113"/>
                  </a:lnTo>
                  <a:cubicBezTo>
                    <a:pt x="224" y="5117"/>
                    <a:pt x="235" y="5119"/>
                    <a:pt x="247" y="5119"/>
                  </a:cubicBezTo>
                  <a:cubicBezTo>
                    <a:pt x="287" y="5119"/>
                    <a:pt x="322" y="5096"/>
                    <a:pt x="335" y="5054"/>
                  </a:cubicBezTo>
                  <a:lnTo>
                    <a:pt x="1987" y="170"/>
                  </a:lnTo>
                  <a:cubicBezTo>
                    <a:pt x="2005" y="123"/>
                    <a:pt x="1975" y="64"/>
                    <a:pt x="1928" y="46"/>
                  </a:cubicBezTo>
                  <a:lnTo>
                    <a:pt x="1799" y="5"/>
                  </a:lnTo>
                  <a:cubicBezTo>
                    <a:pt x="1788" y="2"/>
                    <a:pt x="1778" y="0"/>
                    <a:pt x="176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/>
                <a:sym typeface="Arial"/>
              </a:endParaRPr>
            </a:p>
          </p:txBody>
        </p:sp>
        <p:sp>
          <p:nvSpPr>
            <p:cNvPr id="490" name="Google Shape;1091;p43">
              <a:extLst>
                <a:ext uri="{FF2B5EF4-FFF2-40B4-BE49-F238E27FC236}">
                  <a16:creationId xmlns="" xmlns:a16="http://schemas.microsoft.com/office/drawing/2014/main" id="{03E9B093-5D7C-4D11-8A1D-C2A3EC40CD04}"/>
                </a:ext>
              </a:extLst>
            </p:cNvPr>
            <p:cNvSpPr/>
            <p:nvPr/>
          </p:nvSpPr>
          <p:spPr>
            <a:xfrm>
              <a:off x="7908091" y="2601001"/>
              <a:ext cx="912388" cy="649006"/>
            </a:xfrm>
            <a:custGeom>
              <a:avLst/>
              <a:gdLst/>
              <a:ahLst/>
              <a:cxnLst/>
              <a:rect l="l" t="t" r="r" b="b"/>
              <a:pathLst>
                <a:path w="12315" h="8760" extrusionOk="0">
                  <a:moveTo>
                    <a:pt x="11616" y="0"/>
                  </a:moveTo>
                  <a:cubicBezTo>
                    <a:pt x="11411" y="0"/>
                    <a:pt x="11218" y="114"/>
                    <a:pt x="11121" y="307"/>
                  </a:cubicBezTo>
                  <a:lnTo>
                    <a:pt x="7753" y="7354"/>
                  </a:lnTo>
                  <a:cubicBezTo>
                    <a:pt x="7659" y="7542"/>
                    <a:pt x="7465" y="7666"/>
                    <a:pt x="7260" y="7666"/>
                  </a:cubicBezTo>
                  <a:lnTo>
                    <a:pt x="571" y="7666"/>
                  </a:lnTo>
                  <a:cubicBezTo>
                    <a:pt x="564" y="7665"/>
                    <a:pt x="556" y="7665"/>
                    <a:pt x="549" y="7665"/>
                  </a:cubicBezTo>
                  <a:cubicBezTo>
                    <a:pt x="247" y="7665"/>
                    <a:pt x="1" y="7908"/>
                    <a:pt x="1" y="8212"/>
                  </a:cubicBezTo>
                  <a:cubicBezTo>
                    <a:pt x="1" y="8517"/>
                    <a:pt x="247" y="8759"/>
                    <a:pt x="549" y="8759"/>
                  </a:cubicBezTo>
                  <a:cubicBezTo>
                    <a:pt x="556" y="8759"/>
                    <a:pt x="564" y="8759"/>
                    <a:pt x="571" y="8759"/>
                  </a:cubicBezTo>
                  <a:lnTo>
                    <a:pt x="8030" y="8759"/>
                  </a:lnTo>
                  <a:cubicBezTo>
                    <a:pt x="8235" y="8759"/>
                    <a:pt x="8429" y="8641"/>
                    <a:pt x="8523" y="8447"/>
                  </a:cubicBezTo>
                  <a:lnTo>
                    <a:pt x="12174" y="806"/>
                  </a:lnTo>
                  <a:cubicBezTo>
                    <a:pt x="12315" y="524"/>
                    <a:pt x="12179" y="177"/>
                    <a:pt x="11880" y="60"/>
                  </a:cubicBezTo>
                  <a:lnTo>
                    <a:pt x="11827" y="42"/>
                  </a:lnTo>
                  <a:cubicBezTo>
                    <a:pt x="11757" y="14"/>
                    <a:pt x="11686" y="0"/>
                    <a:pt x="11616" y="0"/>
                  </a:cubicBezTo>
                  <a:close/>
                </a:path>
              </a:pathLst>
            </a:custGeom>
            <a:solidFill>
              <a:srgbClr val="4A6CB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/>
                <a:sym typeface="Arial"/>
              </a:endParaRPr>
            </a:p>
          </p:txBody>
        </p:sp>
        <p:sp>
          <p:nvSpPr>
            <p:cNvPr id="491" name="Google Shape;1092;p43">
              <a:extLst>
                <a:ext uri="{FF2B5EF4-FFF2-40B4-BE49-F238E27FC236}">
                  <a16:creationId xmlns="" xmlns:a16="http://schemas.microsoft.com/office/drawing/2014/main" id="{CF4D6CA8-E241-4E09-8CED-F680AA46AF9B}"/>
                </a:ext>
              </a:extLst>
            </p:cNvPr>
            <p:cNvSpPr/>
            <p:nvPr/>
          </p:nvSpPr>
          <p:spPr>
            <a:xfrm>
              <a:off x="7938171" y="2987295"/>
              <a:ext cx="638042" cy="210408"/>
            </a:xfrm>
            <a:custGeom>
              <a:avLst/>
              <a:gdLst/>
              <a:ahLst/>
              <a:cxnLst/>
              <a:rect l="l" t="t" r="r" b="b"/>
              <a:pathLst>
                <a:path w="8612" h="2840" extrusionOk="0">
                  <a:moveTo>
                    <a:pt x="3891" y="1"/>
                  </a:moveTo>
                  <a:cubicBezTo>
                    <a:pt x="3862" y="1"/>
                    <a:pt x="3827" y="7"/>
                    <a:pt x="3803" y="24"/>
                  </a:cubicBezTo>
                  <a:lnTo>
                    <a:pt x="124" y="2558"/>
                  </a:lnTo>
                  <a:cubicBezTo>
                    <a:pt x="0" y="2640"/>
                    <a:pt x="59" y="2840"/>
                    <a:pt x="212" y="2840"/>
                  </a:cubicBezTo>
                  <a:cubicBezTo>
                    <a:pt x="241" y="2840"/>
                    <a:pt x="276" y="2828"/>
                    <a:pt x="300" y="2810"/>
                  </a:cubicBezTo>
                  <a:lnTo>
                    <a:pt x="3897" y="342"/>
                  </a:lnTo>
                  <a:cubicBezTo>
                    <a:pt x="3921" y="330"/>
                    <a:pt x="3950" y="318"/>
                    <a:pt x="3979" y="318"/>
                  </a:cubicBezTo>
                  <a:lnTo>
                    <a:pt x="8458" y="318"/>
                  </a:lnTo>
                  <a:cubicBezTo>
                    <a:pt x="8541" y="318"/>
                    <a:pt x="8611" y="248"/>
                    <a:pt x="8611" y="165"/>
                  </a:cubicBezTo>
                  <a:lnTo>
                    <a:pt x="8611" y="154"/>
                  </a:lnTo>
                  <a:cubicBezTo>
                    <a:pt x="8611" y="65"/>
                    <a:pt x="8541" y="1"/>
                    <a:pt x="8458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/>
                <a:sym typeface="Arial"/>
              </a:endParaRPr>
            </a:p>
          </p:txBody>
        </p:sp>
        <p:sp>
          <p:nvSpPr>
            <p:cNvPr id="492" name="Google Shape;1093;p43">
              <a:extLst>
                <a:ext uri="{FF2B5EF4-FFF2-40B4-BE49-F238E27FC236}">
                  <a16:creationId xmlns="" xmlns:a16="http://schemas.microsoft.com/office/drawing/2014/main" id="{4323B859-69E9-47FC-85B9-5604ACF7AC6A}"/>
                </a:ext>
              </a:extLst>
            </p:cNvPr>
            <p:cNvSpPr/>
            <p:nvPr/>
          </p:nvSpPr>
          <p:spPr>
            <a:xfrm>
              <a:off x="6878639" y="3189851"/>
              <a:ext cx="134172" cy="342284"/>
            </a:xfrm>
            <a:custGeom>
              <a:avLst/>
              <a:gdLst/>
              <a:ahLst/>
              <a:cxnLst/>
              <a:rect l="l" t="t" r="r" b="b"/>
              <a:pathLst>
                <a:path w="1811" h="4620" extrusionOk="0">
                  <a:moveTo>
                    <a:pt x="221" y="1"/>
                  </a:moveTo>
                  <a:cubicBezTo>
                    <a:pt x="212" y="1"/>
                    <a:pt x="203" y="2"/>
                    <a:pt x="194" y="6"/>
                  </a:cubicBezTo>
                  <a:lnTo>
                    <a:pt x="77" y="47"/>
                  </a:lnTo>
                  <a:cubicBezTo>
                    <a:pt x="30" y="59"/>
                    <a:pt x="0" y="112"/>
                    <a:pt x="18" y="159"/>
                  </a:cubicBezTo>
                  <a:lnTo>
                    <a:pt x="1505" y="4561"/>
                  </a:lnTo>
                  <a:cubicBezTo>
                    <a:pt x="1519" y="4594"/>
                    <a:pt x="1556" y="4619"/>
                    <a:pt x="1594" y="4619"/>
                  </a:cubicBezTo>
                  <a:cubicBezTo>
                    <a:pt x="1603" y="4619"/>
                    <a:pt x="1613" y="4618"/>
                    <a:pt x="1623" y="4614"/>
                  </a:cubicBezTo>
                  <a:lnTo>
                    <a:pt x="1617" y="4614"/>
                  </a:lnTo>
                  <a:lnTo>
                    <a:pt x="1734" y="4573"/>
                  </a:lnTo>
                  <a:cubicBezTo>
                    <a:pt x="1781" y="4561"/>
                    <a:pt x="1811" y="4508"/>
                    <a:pt x="1793" y="4461"/>
                  </a:cubicBezTo>
                  <a:lnTo>
                    <a:pt x="306" y="59"/>
                  </a:lnTo>
                  <a:cubicBezTo>
                    <a:pt x="292" y="26"/>
                    <a:pt x="256" y="1"/>
                    <a:pt x="221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/>
                <a:sym typeface="Arial"/>
              </a:endParaRPr>
            </a:p>
          </p:txBody>
        </p:sp>
        <p:sp>
          <p:nvSpPr>
            <p:cNvPr id="493" name="Google Shape;1094;p43">
              <a:extLst>
                <a:ext uri="{FF2B5EF4-FFF2-40B4-BE49-F238E27FC236}">
                  <a16:creationId xmlns="" xmlns:a16="http://schemas.microsoft.com/office/drawing/2014/main" id="{E738FD67-AF11-4C7B-ABBA-E7285CDC8622}"/>
                </a:ext>
              </a:extLst>
            </p:cNvPr>
            <p:cNvSpPr/>
            <p:nvPr/>
          </p:nvSpPr>
          <p:spPr>
            <a:xfrm>
              <a:off x="6288529" y="3189851"/>
              <a:ext cx="133802" cy="342284"/>
            </a:xfrm>
            <a:custGeom>
              <a:avLst/>
              <a:gdLst/>
              <a:ahLst/>
              <a:cxnLst/>
              <a:rect l="l" t="t" r="r" b="b"/>
              <a:pathLst>
                <a:path w="1806" h="4620" extrusionOk="0">
                  <a:moveTo>
                    <a:pt x="1589" y="1"/>
                  </a:moveTo>
                  <a:cubicBezTo>
                    <a:pt x="1552" y="1"/>
                    <a:pt x="1520" y="26"/>
                    <a:pt x="1506" y="59"/>
                  </a:cubicBezTo>
                  <a:lnTo>
                    <a:pt x="19" y="4461"/>
                  </a:lnTo>
                  <a:cubicBezTo>
                    <a:pt x="1" y="4508"/>
                    <a:pt x="24" y="4561"/>
                    <a:pt x="72" y="4573"/>
                  </a:cubicBezTo>
                  <a:lnTo>
                    <a:pt x="189" y="4614"/>
                  </a:lnTo>
                  <a:cubicBezTo>
                    <a:pt x="199" y="4618"/>
                    <a:pt x="208" y="4619"/>
                    <a:pt x="217" y="4619"/>
                  </a:cubicBezTo>
                  <a:cubicBezTo>
                    <a:pt x="254" y="4619"/>
                    <a:pt x="287" y="4594"/>
                    <a:pt x="301" y="4561"/>
                  </a:cubicBezTo>
                  <a:lnTo>
                    <a:pt x="1794" y="159"/>
                  </a:lnTo>
                  <a:cubicBezTo>
                    <a:pt x="1805" y="112"/>
                    <a:pt x="1782" y="59"/>
                    <a:pt x="1735" y="47"/>
                  </a:cubicBezTo>
                  <a:lnTo>
                    <a:pt x="1617" y="6"/>
                  </a:lnTo>
                  <a:cubicBezTo>
                    <a:pt x="1608" y="2"/>
                    <a:pt x="1598" y="1"/>
                    <a:pt x="1589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/>
                <a:sym typeface="Arial"/>
              </a:endParaRPr>
            </a:p>
          </p:txBody>
        </p:sp>
        <p:sp>
          <p:nvSpPr>
            <p:cNvPr id="494" name="Google Shape;1095;p43">
              <a:extLst>
                <a:ext uri="{FF2B5EF4-FFF2-40B4-BE49-F238E27FC236}">
                  <a16:creationId xmlns="" xmlns:a16="http://schemas.microsoft.com/office/drawing/2014/main" id="{C51A93C5-9035-4F4A-A8B1-34D9CF5E1858}"/>
                </a:ext>
              </a:extLst>
            </p:cNvPr>
            <p:cNvSpPr/>
            <p:nvPr/>
          </p:nvSpPr>
          <p:spPr>
            <a:xfrm>
              <a:off x="6886937" y="3222450"/>
              <a:ext cx="125060" cy="309686"/>
            </a:xfrm>
            <a:custGeom>
              <a:avLst/>
              <a:gdLst/>
              <a:ahLst/>
              <a:cxnLst/>
              <a:rect l="l" t="t" r="r" b="b"/>
              <a:pathLst>
                <a:path w="1688" h="4180" extrusionOk="0">
                  <a:moveTo>
                    <a:pt x="0" y="1"/>
                  </a:moveTo>
                  <a:lnTo>
                    <a:pt x="1399" y="4115"/>
                  </a:lnTo>
                  <a:cubicBezTo>
                    <a:pt x="1411" y="4150"/>
                    <a:pt x="1446" y="4174"/>
                    <a:pt x="1481" y="4180"/>
                  </a:cubicBezTo>
                  <a:cubicBezTo>
                    <a:pt x="1493" y="4180"/>
                    <a:pt x="1505" y="4174"/>
                    <a:pt x="1511" y="4174"/>
                  </a:cubicBezTo>
                  <a:lnTo>
                    <a:pt x="1628" y="4133"/>
                  </a:lnTo>
                  <a:cubicBezTo>
                    <a:pt x="1664" y="4121"/>
                    <a:pt x="1687" y="4086"/>
                    <a:pt x="1687" y="4051"/>
                  </a:cubicBezTo>
                  <a:cubicBezTo>
                    <a:pt x="1687" y="4039"/>
                    <a:pt x="1687" y="4027"/>
                    <a:pt x="1687" y="4021"/>
                  </a:cubicBezTo>
                  <a:lnTo>
                    <a:pt x="323" y="1"/>
                  </a:lnTo>
                  <a:close/>
                </a:path>
              </a:pathLst>
            </a:custGeom>
            <a:solidFill>
              <a:srgbClr val="C8D3EA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/>
                <a:sym typeface="Arial"/>
              </a:endParaRPr>
            </a:p>
          </p:txBody>
        </p:sp>
        <p:sp>
          <p:nvSpPr>
            <p:cNvPr id="495" name="Google Shape;1096;p43">
              <a:extLst>
                <a:ext uri="{FF2B5EF4-FFF2-40B4-BE49-F238E27FC236}">
                  <a16:creationId xmlns="" xmlns:a16="http://schemas.microsoft.com/office/drawing/2014/main" id="{D94699B6-8ABF-4851-937F-5138EADFAF2D}"/>
                </a:ext>
              </a:extLst>
            </p:cNvPr>
            <p:cNvSpPr/>
            <p:nvPr/>
          </p:nvSpPr>
          <p:spPr>
            <a:xfrm>
              <a:off x="6289418" y="3222450"/>
              <a:ext cx="125060" cy="309686"/>
            </a:xfrm>
            <a:custGeom>
              <a:avLst/>
              <a:gdLst/>
              <a:ahLst/>
              <a:cxnLst/>
              <a:rect l="l" t="t" r="r" b="b"/>
              <a:pathLst>
                <a:path w="1688" h="4180" extrusionOk="0">
                  <a:moveTo>
                    <a:pt x="1370" y="1"/>
                  </a:moveTo>
                  <a:lnTo>
                    <a:pt x="7" y="4021"/>
                  </a:lnTo>
                  <a:cubicBezTo>
                    <a:pt x="7" y="4033"/>
                    <a:pt x="1" y="4039"/>
                    <a:pt x="1" y="4051"/>
                  </a:cubicBezTo>
                  <a:cubicBezTo>
                    <a:pt x="1" y="4086"/>
                    <a:pt x="24" y="4121"/>
                    <a:pt x="65" y="4133"/>
                  </a:cubicBezTo>
                  <a:lnTo>
                    <a:pt x="183" y="4174"/>
                  </a:lnTo>
                  <a:cubicBezTo>
                    <a:pt x="189" y="4174"/>
                    <a:pt x="201" y="4180"/>
                    <a:pt x="206" y="4180"/>
                  </a:cubicBezTo>
                  <a:cubicBezTo>
                    <a:pt x="248" y="4180"/>
                    <a:pt x="283" y="4156"/>
                    <a:pt x="295" y="4115"/>
                  </a:cubicBezTo>
                  <a:lnTo>
                    <a:pt x="1688" y="1"/>
                  </a:lnTo>
                  <a:close/>
                </a:path>
              </a:pathLst>
            </a:custGeom>
            <a:solidFill>
              <a:srgbClr val="C8D3EA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/>
                <a:sym typeface="Arial"/>
              </a:endParaRPr>
            </a:p>
          </p:txBody>
        </p:sp>
        <p:sp>
          <p:nvSpPr>
            <p:cNvPr id="496" name="Google Shape;1097;p43">
              <a:extLst>
                <a:ext uri="{FF2B5EF4-FFF2-40B4-BE49-F238E27FC236}">
                  <a16:creationId xmlns="" xmlns:a16="http://schemas.microsoft.com/office/drawing/2014/main" id="{A4ACFB5B-F1DB-425E-9A1D-DCB1204BDE1D}"/>
                </a:ext>
              </a:extLst>
            </p:cNvPr>
            <p:cNvSpPr/>
            <p:nvPr/>
          </p:nvSpPr>
          <p:spPr>
            <a:xfrm>
              <a:off x="6903903" y="3188517"/>
              <a:ext cx="148101" cy="379550"/>
            </a:xfrm>
            <a:custGeom>
              <a:avLst/>
              <a:gdLst/>
              <a:ahLst/>
              <a:cxnLst/>
              <a:rect l="l" t="t" r="r" b="b"/>
              <a:pathLst>
                <a:path w="1999" h="5123" extrusionOk="0">
                  <a:moveTo>
                    <a:pt x="237" y="1"/>
                  </a:moveTo>
                  <a:cubicBezTo>
                    <a:pt x="227" y="1"/>
                    <a:pt x="216" y="3"/>
                    <a:pt x="206" y="6"/>
                  </a:cubicBezTo>
                  <a:lnTo>
                    <a:pt x="77" y="53"/>
                  </a:lnTo>
                  <a:cubicBezTo>
                    <a:pt x="24" y="71"/>
                    <a:pt x="0" y="124"/>
                    <a:pt x="18" y="177"/>
                  </a:cubicBezTo>
                  <a:lnTo>
                    <a:pt x="1670" y="5055"/>
                  </a:lnTo>
                  <a:cubicBezTo>
                    <a:pt x="1684" y="5099"/>
                    <a:pt x="1723" y="5123"/>
                    <a:pt x="1766" y="5123"/>
                  </a:cubicBezTo>
                  <a:cubicBezTo>
                    <a:pt x="1775" y="5123"/>
                    <a:pt x="1784" y="5122"/>
                    <a:pt x="1793" y="5120"/>
                  </a:cubicBezTo>
                  <a:lnTo>
                    <a:pt x="1922" y="5073"/>
                  </a:lnTo>
                  <a:cubicBezTo>
                    <a:pt x="1975" y="5055"/>
                    <a:pt x="1999" y="5002"/>
                    <a:pt x="1981" y="4949"/>
                  </a:cubicBezTo>
                  <a:lnTo>
                    <a:pt x="329" y="71"/>
                  </a:lnTo>
                  <a:cubicBezTo>
                    <a:pt x="315" y="28"/>
                    <a:pt x="278" y="1"/>
                    <a:pt x="237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/>
                <a:sym typeface="Arial"/>
              </a:endParaRPr>
            </a:p>
          </p:txBody>
        </p:sp>
        <p:sp>
          <p:nvSpPr>
            <p:cNvPr id="497" name="Google Shape;1098;p43">
              <a:extLst>
                <a:ext uri="{FF2B5EF4-FFF2-40B4-BE49-F238E27FC236}">
                  <a16:creationId xmlns="" xmlns:a16="http://schemas.microsoft.com/office/drawing/2014/main" id="{8933E52E-FB01-4610-AB39-8B0C8B815891}"/>
                </a:ext>
              </a:extLst>
            </p:cNvPr>
            <p:cNvSpPr/>
            <p:nvPr/>
          </p:nvSpPr>
          <p:spPr>
            <a:xfrm>
              <a:off x="6248966" y="3188517"/>
              <a:ext cx="148545" cy="379698"/>
            </a:xfrm>
            <a:custGeom>
              <a:avLst/>
              <a:gdLst/>
              <a:ahLst/>
              <a:cxnLst/>
              <a:rect l="l" t="t" r="r" b="b"/>
              <a:pathLst>
                <a:path w="2005" h="5125" extrusionOk="0">
                  <a:moveTo>
                    <a:pt x="1764" y="1"/>
                  </a:moveTo>
                  <a:cubicBezTo>
                    <a:pt x="1724" y="1"/>
                    <a:pt x="1684" y="28"/>
                    <a:pt x="1669" y="71"/>
                  </a:cubicBezTo>
                  <a:lnTo>
                    <a:pt x="18" y="4949"/>
                  </a:lnTo>
                  <a:cubicBezTo>
                    <a:pt x="0" y="5002"/>
                    <a:pt x="29" y="5055"/>
                    <a:pt x="82" y="5073"/>
                  </a:cubicBezTo>
                  <a:lnTo>
                    <a:pt x="212" y="5120"/>
                  </a:lnTo>
                  <a:cubicBezTo>
                    <a:pt x="221" y="5123"/>
                    <a:pt x="231" y="5125"/>
                    <a:pt x="240" y="5125"/>
                  </a:cubicBezTo>
                  <a:cubicBezTo>
                    <a:pt x="280" y="5125"/>
                    <a:pt x="321" y="5098"/>
                    <a:pt x="335" y="5055"/>
                  </a:cubicBezTo>
                  <a:lnTo>
                    <a:pt x="1987" y="177"/>
                  </a:lnTo>
                  <a:cubicBezTo>
                    <a:pt x="2004" y="124"/>
                    <a:pt x="1975" y="71"/>
                    <a:pt x="1928" y="53"/>
                  </a:cubicBezTo>
                  <a:lnTo>
                    <a:pt x="1793" y="6"/>
                  </a:lnTo>
                  <a:cubicBezTo>
                    <a:pt x="1784" y="3"/>
                    <a:pt x="1774" y="1"/>
                    <a:pt x="1764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/>
                <a:sym typeface="Arial"/>
              </a:endParaRPr>
            </a:p>
          </p:txBody>
        </p:sp>
        <p:sp>
          <p:nvSpPr>
            <p:cNvPr id="498" name="Google Shape;1099;p43">
              <a:extLst>
                <a:ext uri="{FF2B5EF4-FFF2-40B4-BE49-F238E27FC236}">
                  <a16:creationId xmlns="" xmlns:a16="http://schemas.microsoft.com/office/drawing/2014/main" id="{718CF2F6-188A-4217-9A99-FFF833ACF330}"/>
                </a:ext>
              </a:extLst>
            </p:cNvPr>
            <p:cNvSpPr/>
            <p:nvPr/>
          </p:nvSpPr>
          <p:spPr>
            <a:xfrm>
              <a:off x="6344317" y="2572922"/>
              <a:ext cx="911943" cy="649673"/>
            </a:xfrm>
            <a:custGeom>
              <a:avLst/>
              <a:gdLst/>
              <a:ahLst/>
              <a:cxnLst/>
              <a:rect l="l" t="t" r="r" b="b"/>
              <a:pathLst>
                <a:path w="12309" h="8769" extrusionOk="0">
                  <a:moveTo>
                    <a:pt x="11620" y="1"/>
                  </a:moveTo>
                  <a:cubicBezTo>
                    <a:pt x="11416" y="1"/>
                    <a:pt x="11219" y="116"/>
                    <a:pt x="11121" y="315"/>
                  </a:cubicBezTo>
                  <a:lnTo>
                    <a:pt x="7753" y="7357"/>
                  </a:lnTo>
                  <a:cubicBezTo>
                    <a:pt x="7659" y="7551"/>
                    <a:pt x="7465" y="7669"/>
                    <a:pt x="7254" y="7669"/>
                  </a:cubicBezTo>
                  <a:lnTo>
                    <a:pt x="570" y="7669"/>
                  </a:lnTo>
                  <a:cubicBezTo>
                    <a:pt x="564" y="7668"/>
                    <a:pt x="557" y="7668"/>
                    <a:pt x="550" y="7668"/>
                  </a:cubicBezTo>
                  <a:cubicBezTo>
                    <a:pt x="248" y="7668"/>
                    <a:pt x="0" y="7916"/>
                    <a:pt x="0" y="8215"/>
                  </a:cubicBezTo>
                  <a:cubicBezTo>
                    <a:pt x="0" y="8520"/>
                    <a:pt x="248" y="8768"/>
                    <a:pt x="550" y="8768"/>
                  </a:cubicBezTo>
                  <a:cubicBezTo>
                    <a:pt x="557" y="8768"/>
                    <a:pt x="564" y="8768"/>
                    <a:pt x="570" y="8768"/>
                  </a:cubicBezTo>
                  <a:lnTo>
                    <a:pt x="8024" y="8768"/>
                  </a:lnTo>
                  <a:cubicBezTo>
                    <a:pt x="8235" y="8768"/>
                    <a:pt x="8429" y="8644"/>
                    <a:pt x="8517" y="8456"/>
                  </a:cubicBezTo>
                  <a:lnTo>
                    <a:pt x="12173" y="815"/>
                  </a:lnTo>
                  <a:cubicBezTo>
                    <a:pt x="12308" y="527"/>
                    <a:pt x="12173" y="186"/>
                    <a:pt x="11879" y="69"/>
                  </a:cubicBezTo>
                  <a:lnTo>
                    <a:pt x="11827" y="45"/>
                  </a:lnTo>
                  <a:lnTo>
                    <a:pt x="11821" y="39"/>
                  </a:lnTo>
                  <a:cubicBezTo>
                    <a:pt x="11755" y="13"/>
                    <a:pt x="11687" y="1"/>
                    <a:pt x="11620" y="1"/>
                  </a:cubicBezTo>
                  <a:close/>
                </a:path>
              </a:pathLst>
            </a:custGeom>
            <a:solidFill>
              <a:srgbClr val="4A6CB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/>
                <a:sym typeface="Arial"/>
              </a:endParaRPr>
            </a:p>
          </p:txBody>
        </p:sp>
        <p:sp>
          <p:nvSpPr>
            <p:cNvPr id="499" name="Google Shape;1100;p43">
              <a:extLst>
                <a:ext uri="{FF2B5EF4-FFF2-40B4-BE49-F238E27FC236}">
                  <a16:creationId xmlns="" xmlns:a16="http://schemas.microsoft.com/office/drawing/2014/main" id="{730340C2-2238-4AD4-8BBB-B9BD31D457EF}"/>
                </a:ext>
              </a:extLst>
            </p:cNvPr>
            <p:cNvSpPr/>
            <p:nvPr/>
          </p:nvSpPr>
          <p:spPr>
            <a:xfrm>
              <a:off x="6374323" y="2959438"/>
              <a:ext cx="638042" cy="210408"/>
            </a:xfrm>
            <a:custGeom>
              <a:avLst/>
              <a:gdLst/>
              <a:ahLst/>
              <a:cxnLst/>
              <a:rect l="l" t="t" r="r" b="b"/>
              <a:pathLst>
                <a:path w="8612" h="2840" extrusionOk="0">
                  <a:moveTo>
                    <a:pt x="3892" y="1"/>
                  </a:moveTo>
                  <a:cubicBezTo>
                    <a:pt x="3857" y="1"/>
                    <a:pt x="3827" y="12"/>
                    <a:pt x="3804" y="30"/>
                  </a:cubicBezTo>
                  <a:lnTo>
                    <a:pt x="124" y="2557"/>
                  </a:lnTo>
                  <a:cubicBezTo>
                    <a:pt x="1" y="2646"/>
                    <a:pt x="60" y="2839"/>
                    <a:pt x="213" y="2839"/>
                  </a:cubicBezTo>
                  <a:cubicBezTo>
                    <a:pt x="242" y="2839"/>
                    <a:pt x="271" y="2834"/>
                    <a:pt x="301" y="2810"/>
                  </a:cubicBezTo>
                  <a:lnTo>
                    <a:pt x="3892" y="347"/>
                  </a:lnTo>
                  <a:cubicBezTo>
                    <a:pt x="3921" y="330"/>
                    <a:pt x="3951" y="318"/>
                    <a:pt x="3980" y="318"/>
                  </a:cubicBezTo>
                  <a:lnTo>
                    <a:pt x="8453" y="318"/>
                  </a:lnTo>
                  <a:cubicBezTo>
                    <a:pt x="8541" y="318"/>
                    <a:pt x="8612" y="253"/>
                    <a:pt x="8612" y="165"/>
                  </a:cubicBezTo>
                  <a:lnTo>
                    <a:pt x="8612" y="153"/>
                  </a:lnTo>
                  <a:cubicBezTo>
                    <a:pt x="8612" y="71"/>
                    <a:pt x="8541" y="1"/>
                    <a:pt x="8453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/>
                <a:sym typeface="Arial"/>
              </a:endParaRPr>
            </a:p>
          </p:txBody>
        </p:sp>
        <p:sp>
          <p:nvSpPr>
            <p:cNvPr id="500" name="Google Shape;1101;p43">
              <a:extLst>
                <a:ext uri="{FF2B5EF4-FFF2-40B4-BE49-F238E27FC236}">
                  <a16:creationId xmlns="" xmlns:a16="http://schemas.microsoft.com/office/drawing/2014/main" id="{2FF8058A-E393-40CE-89D7-8476780C6E4C}"/>
                </a:ext>
              </a:extLst>
            </p:cNvPr>
            <p:cNvSpPr/>
            <p:nvPr/>
          </p:nvSpPr>
          <p:spPr>
            <a:xfrm>
              <a:off x="6989253" y="3217708"/>
              <a:ext cx="133728" cy="342136"/>
            </a:xfrm>
            <a:custGeom>
              <a:avLst/>
              <a:gdLst/>
              <a:ahLst/>
              <a:cxnLst/>
              <a:rect l="l" t="t" r="r" b="b"/>
              <a:pathLst>
                <a:path w="1805" h="4618" extrusionOk="0">
                  <a:moveTo>
                    <a:pt x="220" y="0"/>
                  </a:moveTo>
                  <a:cubicBezTo>
                    <a:pt x="210" y="0"/>
                    <a:pt x="199" y="2"/>
                    <a:pt x="188" y="6"/>
                  </a:cubicBezTo>
                  <a:lnTo>
                    <a:pt x="71" y="41"/>
                  </a:lnTo>
                  <a:cubicBezTo>
                    <a:pt x="24" y="59"/>
                    <a:pt x="0" y="112"/>
                    <a:pt x="12" y="153"/>
                  </a:cubicBezTo>
                  <a:lnTo>
                    <a:pt x="1505" y="4555"/>
                  </a:lnTo>
                  <a:cubicBezTo>
                    <a:pt x="1515" y="4594"/>
                    <a:pt x="1553" y="4617"/>
                    <a:pt x="1592" y="4617"/>
                  </a:cubicBezTo>
                  <a:cubicBezTo>
                    <a:pt x="1600" y="4617"/>
                    <a:pt x="1609" y="4616"/>
                    <a:pt x="1617" y="4614"/>
                  </a:cubicBezTo>
                  <a:lnTo>
                    <a:pt x="1734" y="4573"/>
                  </a:lnTo>
                  <a:cubicBezTo>
                    <a:pt x="1781" y="4555"/>
                    <a:pt x="1805" y="4508"/>
                    <a:pt x="1787" y="4461"/>
                  </a:cubicBezTo>
                  <a:lnTo>
                    <a:pt x="300" y="59"/>
                  </a:lnTo>
                  <a:cubicBezTo>
                    <a:pt x="286" y="22"/>
                    <a:pt x="255" y="0"/>
                    <a:pt x="22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/>
                <a:sym typeface="Arial"/>
              </a:endParaRPr>
            </a:p>
          </p:txBody>
        </p:sp>
        <p:sp>
          <p:nvSpPr>
            <p:cNvPr id="501" name="Google Shape;1102;p43">
              <a:extLst>
                <a:ext uri="{FF2B5EF4-FFF2-40B4-BE49-F238E27FC236}">
                  <a16:creationId xmlns="" xmlns:a16="http://schemas.microsoft.com/office/drawing/2014/main" id="{D6966DD1-ED6B-4456-970B-6E9AEFFA3696}"/>
                </a:ext>
              </a:extLst>
            </p:cNvPr>
            <p:cNvSpPr/>
            <p:nvPr/>
          </p:nvSpPr>
          <p:spPr>
            <a:xfrm>
              <a:off x="6398772" y="3217708"/>
              <a:ext cx="133728" cy="342136"/>
            </a:xfrm>
            <a:custGeom>
              <a:avLst/>
              <a:gdLst/>
              <a:ahLst/>
              <a:cxnLst/>
              <a:rect l="l" t="t" r="r" b="b"/>
              <a:pathLst>
                <a:path w="1805" h="4618" extrusionOk="0">
                  <a:moveTo>
                    <a:pt x="1587" y="0"/>
                  </a:moveTo>
                  <a:cubicBezTo>
                    <a:pt x="1553" y="0"/>
                    <a:pt x="1518" y="22"/>
                    <a:pt x="1505" y="59"/>
                  </a:cubicBezTo>
                  <a:lnTo>
                    <a:pt x="18" y="4461"/>
                  </a:lnTo>
                  <a:cubicBezTo>
                    <a:pt x="0" y="4508"/>
                    <a:pt x="29" y="4555"/>
                    <a:pt x="76" y="4573"/>
                  </a:cubicBezTo>
                  <a:lnTo>
                    <a:pt x="188" y="4614"/>
                  </a:lnTo>
                  <a:cubicBezTo>
                    <a:pt x="196" y="4616"/>
                    <a:pt x="204" y="4617"/>
                    <a:pt x="213" y="4617"/>
                  </a:cubicBezTo>
                  <a:cubicBezTo>
                    <a:pt x="252" y="4617"/>
                    <a:pt x="290" y="4594"/>
                    <a:pt x="300" y="4555"/>
                  </a:cubicBezTo>
                  <a:lnTo>
                    <a:pt x="1793" y="153"/>
                  </a:lnTo>
                  <a:cubicBezTo>
                    <a:pt x="1805" y="112"/>
                    <a:pt x="1781" y="59"/>
                    <a:pt x="1734" y="41"/>
                  </a:cubicBezTo>
                  <a:lnTo>
                    <a:pt x="1616" y="6"/>
                  </a:lnTo>
                  <a:cubicBezTo>
                    <a:pt x="1607" y="2"/>
                    <a:pt x="1597" y="0"/>
                    <a:pt x="158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/>
                <a:sym typeface="Arial"/>
              </a:endParaRPr>
            </a:p>
          </p:txBody>
        </p:sp>
        <p:sp>
          <p:nvSpPr>
            <p:cNvPr id="502" name="Google Shape;1103;p43">
              <a:extLst>
                <a:ext uri="{FF2B5EF4-FFF2-40B4-BE49-F238E27FC236}">
                  <a16:creationId xmlns="" xmlns:a16="http://schemas.microsoft.com/office/drawing/2014/main" id="{E2CF58D4-9D86-4EE8-A86E-617CA26A822B}"/>
                </a:ext>
              </a:extLst>
            </p:cNvPr>
            <p:cNvSpPr/>
            <p:nvPr/>
          </p:nvSpPr>
          <p:spPr>
            <a:xfrm>
              <a:off x="6990142" y="3217708"/>
              <a:ext cx="132839" cy="341914"/>
            </a:xfrm>
            <a:custGeom>
              <a:avLst/>
              <a:gdLst/>
              <a:ahLst/>
              <a:cxnLst/>
              <a:rect l="l" t="t" r="r" b="b"/>
              <a:pathLst>
                <a:path w="1793" h="4615" extrusionOk="0">
                  <a:moveTo>
                    <a:pt x="206" y="0"/>
                  </a:moveTo>
                  <a:cubicBezTo>
                    <a:pt x="194" y="0"/>
                    <a:pt x="182" y="0"/>
                    <a:pt x="176" y="6"/>
                  </a:cubicBezTo>
                  <a:lnTo>
                    <a:pt x="59" y="41"/>
                  </a:lnTo>
                  <a:cubicBezTo>
                    <a:pt x="24" y="53"/>
                    <a:pt x="0" y="88"/>
                    <a:pt x="0" y="129"/>
                  </a:cubicBezTo>
                  <a:cubicBezTo>
                    <a:pt x="0" y="135"/>
                    <a:pt x="0" y="147"/>
                    <a:pt x="0" y="153"/>
                  </a:cubicBezTo>
                  <a:lnTo>
                    <a:pt x="1493" y="4555"/>
                  </a:lnTo>
                  <a:cubicBezTo>
                    <a:pt x="1505" y="4591"/>
                    <a:pt x="1534" y="4614"/>
                    <a:pt x="1575" y="4614"/>
                  </a:cubicBezTo>
                  <a:lnTo>
                    <a:pt x="1605" y="4614"/>
                  </a:lnTo>
                  <a:lnTo>
                    <a:pt x="1722" y="4573"/>
                  </a:lnTo>
                  <a:cubicBezTo>
                    <a:pt x="1763" y="4555"/>
                    <a:pt x="1793" y="4508"/>
                    <a:pt x="1775" y="4461"/>
                  </a:cubicBezTo>
                  <a:lnTo>
                    <a:pt x="288" y="59"/>
                  </a:lnTo>
                  <a:cubicBezTo>
                    <a:pt x="276" y="24"/>
                    <a:pt x="241" y="0"/>
                    <a:pt x="206" y="0"/>
                  </a:cubicBezTo>
                  <a:close/>
                </a:path>
              </a:pathLst>
            </a:custGeom>
            <a:solidFill>
              <a:srgbClr val="C8D3EA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/>
                <a:sym typeface="Arial"/>
              </a:endParaRPr>
            </a:p>
          </p:txBody>
        </p:sp>
        <p:sp>
          <p:nvSpPr>
            <p:cNvPr id="503" name="Google Shape;1104;p43">
              <a:extLst>
                <a:ext uri="{FF2B5EF4-FFF2-40B4-BE49-F238E27FC236}">
                  <a16:creationId xmlns="" xmlns:a16="http://schemas.microsoft.com/office/drawing/2014/main" id="{54BDEB8D-1E54-4D1F-AA19-78A739E7235E}"/>
                </a:ext>
              </a:extLst>
            </p:cNvPr>
            <p:cNvSpPr/>
            <p:nvPr/>
          </p:nvSpPr>
          <p:spPr>
            <a:xfrm>
              <a:off x="6398772" y="3217708"/>
              <a:ext cx="133283" cy="341914"/>
            </a:xfrm>
            <a:custGeom>
              <a:avLst/>
              <a:gdLst/>
              <a:ahLst/>
              <a:cxnLst/>
              <a:rect l="l" t="t" r="r" b="b"/>
              <a:pathLst>
                <a:path w="1799" h="4615" extrusionOk="0">
                  <a:moveTo>
                    <a:pt x="1593" y="0"/>
                  </a:moveTo>
                  <a:cubicBezTo>
                    <a:pt x="1552" y="0"/>
                    <a:pt x="1517" y="24"/>
                    <a:pt x="1505" y="59"/>
                  </a:cubicBezTo>
                  <a:lnTo>
                    <a:pt x="18" y="4461"/>
                  </a:lnTo>
                  <a:cubicBezTo>
                    <a:pt x="0" y="4508"/>
                    <a:pt x="29" y="4555"/>
                    <a:pt x="76" y="4573"/>
                  </a:cubicBezTo>
                  <a:lnTo>
                    <a:pt x="188" y="4614"/>
                  </a:lnTo>
                  <a:lnTo>
                    <a:pt x="218" y="4614"/>
                  </a:lnTo>
                  <a:cubicBezTo>
                    <a:pt x="259" y="4614"/>
                    <a:pt x="288" y="4591"/>
                    <a:pt x="300" y="4555"/>
                  </a:cubicBezTo>
                  <a:lnTo>
                    <a:pt x="1793" y="153"/>
                  </a:lnTo>
                  <a:cubicBezTo>
                    <a:pt x="1793" y="147"/>
                    <a:pt x="1793" y="135"/>
                    <a:pt x="1799" y="129"/>
                  </a:cubicBezTo>
                  <a:cubicBezTo>
                    <a:pt x="1793" y="88"/>
                    <a:pt x="1769" y="53"/>
                    <a:pt x="1734" y="41"/>
                  </a:cubicBezTo>
                  <a:lnTo>
                    <a:pt x="1616" y="6"/>
                  </a:lnTo>
                  <a:cubicBezTo>
                    <a:pt x="1611" y="0"/>
                    <a:pt x="1599" y="0"/>
                    <a:pt x="1593" y="0"/>
                  </a:cubicBezTo>
                  <a:close/>
                </a:path>
              </a:pathLst>
            </a:custGeom>
            <a:solidFill>
              <a:srgbClr val="C8D3EA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/>
                <a:sym typeface="Arial"/>
              </a:endParaRPr>
            </a:p>
          </p:txBody>
        </p:sp>
        <p:sp>
          <p:nvSpPr>
            <p:cNvPr id="504" name="Google Shape;1105;p43">
              <a:extLst>
                <a:ext uri="{FF2B5EF4-FFF2-40B4-BE49-F238E27FC236}">
                  <a16:creationId xmlns="" xmlns:a16="http://schemas.microsoft.com/office/drawing/2014/main" id="{64F46998-5D04-491B-9700-C1FD0B609A30}"/>
                </a:ext>
              </a:extLst>
            </p:cNvPr>
            <p:cNvSpPr/>
            <p:nvPr/>
          </p:nvSpPr>
          <p:spPr>
            <a:xfrm>
              <a:off x="7014072" y="3216375"/>
              <a:ext cx="148545" cy="379328"/>
            </a:xfrm>
            <a:custGeom>
              <a:avLst/>
              <a:gdLst/>
              <a:ahLst/>
              <a:cxnLst/>
              <a:rect l="l" t="t" r="r" b="b"/>
              <a:pathLst>
                <a:path w="2005" h="5120" extrusionOk="0">
                  <a:moveTo>
                    <a:pt x="244" y="1"/>
                  </a:moveTo>
                  <a:cubicBezTo>
                    <a:pt x="233" y="1"/>
                    <a:pt x="222" y="2"/>
                    <a:pt x="212" y="6"/>
                  </a:cubicBezTo>
                  <a:lnTo>
                    <a:pt x="77" y="47"/>
                  </a:lnTo>
                  <a:cubicBezTo>
                    <a:pt x="30" y="65"/>
                    <a:pt x="0" y="124"/>
                    <a:pt x="18" y="171"/>
                  </a:cubicBezTo>
                  <a:lnTo>
                    <a:pt x="1670" y="5055"/>
                  </a:lnTo>
                  <a:cubicBezTo>
                    <a:pt x="1683" y="5097"/>
                    <a:pt x="1719" y="5120"/>
                    <a:pt x="1758" y="5120"/>
                  </a:cubicBezTo>
                  <a:cubicBezTo>
                    <a:pt x="1770" y="5120"/>
                    <a:pt x="1781" y="5118"/>
                    <a:pt x="1793" y="5114"/>
                  </a:cubicBezTo>
                  <a:lnTo>
                    <a:pt x="1922" y="5073"/>
                  </a:lnTo>
                  <a:cubicBezTo>
                    <a:pt x="1975" y="5055"/>
                    <a:pt x="2005" y="4997"/>
                    <a:pt x="1987" y="4950"/>
                  </a:cubicBezTo>
                  <a:lnTo>
                    <a:pt x="335" y="65"/>
                  </a:lnTo>
                  <a:cubicBezTo>
                    <a:pt x="322" y="24"/>
                    <a:pt x="283" y="1"/>
                    <a:pt x="244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/>
                <a:sym typeface="Arial"/>
              </a:endParaRPr>
            </a:p>
          </p:txBody>
        </p:sp>
        <p:sp>
          <p:nvSpPr>
            <p:cNvPr id="505" name="Google Shape;1106;p43">
              <a:extLst>
                <a:ext uri="{FF2B5EF4-FFF2-40B4-BE49-F238E27FC236}">
                  <a16:creationId xmlns="" xmlns:a16="http://schemas.microsoft.com/office/drawing/2014/main" id="{FA782513-883F-424A-84D9-10618B7E8BE0}"/>
                </a:ext>
              </a:extLst>
            </p:cNvPr>
            <p:cNvSpPr/>
            <p:nvPr/>
          </p:nvSpPr>
          <p:spPr>
            <a:xfrm>
              <a:off x="6359580" y="3216375"/>
              <a:ext cx="148545" cy="379550"/>
            </a:xfrm>
            <a:custGeom>
              <a:avLst/>
              <a:gdLst/>
              <a:ahLst/>
              <a:cxnLst/>
              <a:rect l="l" t="t" r="r" b="b"/>
              <a:pathLst>
                <a:path w="2005" h="5123" extrusionOk="0">
                  <a:moveTo>
                    <a:pt x="1758" y="1"/>
                  </a:moveTo>
                  <a:cubicBezTo>
                    <a:pt x="1718" y="1"/>
                    <a:pt x="1683" y="24"/>
                    <a:pt x="1669" y="65"/>
                  </a:cubicBezTo>
                  <a:lnTo>
                    <a:pt x="18" y="4950"/>
                  </a:lnTo>
                  <a:cubicBezTo>
                    <a:pt x="0" y="4997"/>
                    <a:pt x="24" y="5055"/>
                    <a:pt x="76" y="5073"/>
                  </a:cubicBezTo>
                  <a:lnTo>
                    <a:pt x="206" y="5114"/>
                  </a:lnTo>
                  <a:cubicBezTo>
                    <a:pt x="218" y="5120"/>
                    <a:pt x="231" y="5122"/>
                    <a:pt x="244" y="5122"/>
                  </a:cubicBezTo>
                  <a:cubicBezTo>
                    <a:pt x="284" y="5122"/>
                    <a:pt x="322" y="5096"/>
                    <a:pt x="335" y="5055"/>
                  </a:cubicBezTo>
                  <a:lnTo>
                    <a:pt x="1987" y="171"/>
                  </a:lnTo>
                  <a:cubicBezTo>
                    <a:pt x="2004" y="124"/>
                    <a:pt x="1975" y="65"/>
                    <a:pt x="1922" y="47"/>
                  </a:cubicBezTo>
                  <a:lnTo>
                    <a:pt x="1793" y="6"/>
                  </a:lnTo>
                  <a:cubicBezTo>
                    <a:pt x="1781" y="2"/>
                    <a:pt x="1769" y="1"/>
                    <a:pt x="1758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/>
                <a:sym typeface="Arial"/>
              </a:endParaRPr>
            </a:p>
          </p:txBody>
        </p:sp>
        <p:sp>
          <p:nvSpPr>
            <p:cNvPr id="506" name="Google Shape;1107;p43">
              <a:extLst>
                <a:ext uri="{FF2B5EF4-FFF2-40B4-BE49-F238E27FC236}">
                  <a16:creationId xmlns="" xmlns:a16="http://schemas.microsoft.com/office/drawing/2014/main" id="{5EC4C50A-5518-46B8-ABFF-B2DA28B122CE}"/>
                </a:ext>
              </a:extLst>
            </p:cNvPr>
            <p:cNvSpPr/>
            <p:nvPr/>
          </p:nvSpPr>
          <p:spPr>
            <a:xfrm>
              <a:off x="6454486" y="2601001"/>
              <a:ext cx="912388" cy="649006"/>
            </a:xfrm>
            <a:custGeom>
              <a:avLst/>
              <a:gdLst/>
              <a:ahLst/>
              <a:cxnLst/>
              <a:rect l="l" t="t" r="r" b="b"/>
              <a:pathLst>
                <a:path w="12315" h="8760" extrusionOk="0">
                  <a:moveTo>
                    <a:pt x="11615" y="0"/>
                  </a:moveTo>
                  <a:cubicBezTo>
                    <a:pt x="11411" y="0"/>
                    <a:pt x="11217" y="114"/>
                    <a:pt x="11121" y="307"/>
                  </a:cubicBezTo>
                  <a:lnTo>
                    <a:pt x="7753" y="7354"/>
                  </a:lnTo>
                  <a:cubicBezTo>
                    <a:pt x="7659" y="7542"/>
                    <a:pt x="7471" y="7666"/>
                    <a:pt x="7260" y="7666"/>
                  </a:cubicBezTo>
                  <a:lnTo>
                    <a:pt x="571" y="7666"/>
                  </a:lnTo>
                  <a:cubicBezTo>
                    <a:pt x="563" y="7665"/>
                    <a:pt x="556" y="7665"/>
                    <a:pt x="549" y="7665"/>
                  </a:cubicBezTo>
                  <a:cubicBezTo>
                    <a:pt x="247" y="7665"/>
                    <a:pt x="0" y="7908"/>
                    <a:pt x="0" y="8212"/>
                  </a:cubicBezTo>
                  <a:cubicBezTo>
                    <a:pt x="0" y="8517"/>
                    <a:pt x="247" y="8759"/>
                    <a:pt x="549" y="8759"/>
                  </a:cubicBezTo>
                  <a:cubicBezTo>
                    <a:pt x="556" y="8759"/>
                    <a:pt x="563" y="8759"/>
                    <a:pt x="571" y="8759"/>
                  </a:cubicBezTo>
                  <a:lnTo>
                    <a:pt x="8030" y="8759"/>
                  </a:lnTo>
                  <a:cubicBezTo>
                    <a:pt x="8235" y="8759"/>
                    <a:pt x="8429" y="8641"/>
                    <a:pt x="8523" y="8447"/>
                  </a:cubicBezTo>
                  <a:lnTo>
                    <a:pt x="12173" y="806"/>
                  </a:lnTo>
                  <a:cubicBezTo>
                    <a:pt x="12314" y="524"/>
                    <a:pt x="12179" y="177"/>
                    <a:pt x="11879" y="60"/>
                  </a:cubicBezTo>
                  <a:lnTo>
                    <a:pt x="11827" y="42"/>
                  </a:lnTo>
                  <a:cubicBezTo>
                    <a:pt x="11757" y="14"/>
                    <a:pt x="11686" y="0"/>
                    <a:pt x="11615" y="0"/>
                  </a:cubicBezTo>
                  <a:close/>
                </a:path>
              </a:pathLst>
            </a:custGeom>
            <a:solidFill>
              <a:srgbClr val="4A6CB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/>
                <a:sym typeface="Arial"/>
              </a:endParaRPr>
            </a:p>
          </p:txBody>
        </p:sp>
        <p:sp>
          <p:nvSpPr>
            <p:cNvPr id="507" name="Google Shape;1108;p43">
              <a:extLst>
                <a:ext uri="{FF2B5EF4-FFF2-40B4-BE49-F238E27FC236}">
                  <a16:creationId xmlns="" xmlns:a16="http://schemas.microsoft.com/office/drawing/2014/main" id="{83C22DEB-92C7-4D27-A480-16C34FEF9185}"/>
                </a:ext>
              </a:extLst>
            </p:cNvPr>
            <p:cNvSpPr/>
            <p:nvPr/>
          </p:nvSpPr>
          <p:spPr>
            <a:xfrm>
              <a:off x="6483306" y="2987295"/>
              <a:ext cx="639227" cy="210483"/>
            </a:xfrm>
            <a:custGeom>
              <a:avLst/>
              <a:gdLst/>
              <a:ahLst/>
              <a:cxnLst/>
              <a:rect l="l" t="t" r="r" b="b"/>
              <a:pathLst>
                <a:path w="8628" h="2841" extrusionOk="0">
                  <a:moveTo>
                    <a:pt x="3908" y="1"/>
                  </a:moveTo>
                  <a:cubicBezTo>
                    <a:pt x="3879" y="1"/>
                    <a:pt x="3849" y="7"/>
                    <a:pt x="3820" y="24"/>
                  </a:cubicBezTo>
                  <a:lnTo>
                    <a:pt x="140" y="2558"/>
                  </a:lnTo>
                  <a:cubicBezTo>
                    <a:pt x="0" y="2649"/>
                    <a:pt x="94" y="2840"/>
                    <a:pt x="227" y="2840"/>
                  </a:cubicBezTo>
                  <a:cubicBezTo>
                    <a:pt x="256" y="2840"/>
                    <a:pt x="286" y="2831"/>
                    <a:pt x="317" y="2810"/>
                  </a:cubicBezTo>
                  <a:lnTo>
                    <a:pt x="3914" y="342"/>
                  </a:lnTo>
                  <a:cubicBezTo>
                    <a:pt x="3938" y="324"/>
                    <a:pt x="3967" y="318"/>
                    <a:pt x="4002" y="318"/>
                  </a:cubicBezTo>
                  <a:lnTo>
                    <a:pt x="8475" y="318"/>
                  </a:lnTo>
                  <a:cubicBezTo>
                    <a:pt x="8557" y="318"/>
                    <a:pt x="8628" y="248"/>
                    <a:pt x="8628" y="165"/>
                  </a:cubicBezTo>
                  <a:lnTo>
                    <a:pt x="8628" y="154"/>
                  </a:lnTo>
                  <a:cubicBezTo>
                    <a:pt x="8628" y="65"/>
                    <a:pt x="8557" y="1"/>
                    <a:pt x="8475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/>
                <a:sym typeface="Arial"/>
              </a:endParaRPr>
            </a:p>
          </p:txBody>
        </p:sp>
        <p:sp>
          <p:nvSpPr>
            <p:cNvPr id="508" name="Google Shape;1109;p43">
              <a:extLst>
                <a:ext uri="{FF2B5EF4-FFF2-40B4-BE49-F238E27FC236}">
                  <a16:creationId xmlns="" xmlns:a16="http://schemas.microsoft.com/office/drawing/2014/main" id="{B6461960-1BF8-4051-9E45-732A0099D4FD}"/>
                </a:ext>
              </a:extLst>
            </p:cNvPr>
            <p:cNvSpPr/>
            <p:nvPr/>
          </p:nvSpPr>
          <p:spPr>
            <a:xfrm>
              <a:off x="5710718" y="2604928"/>
              <a:ext cx="26153" cy="835337"/>
            </a:xfrm>
            <a:custGeom>
              <a:avLst/>
              <a:gdLst/>
              <a:ahLst/>
              <a:cxnLst/>
              <a:rect l="l" t="t" r="r" b="b"/>
              <a:pathLst>
                <a:path w="353" h="11275" extrusionOk="0">
                  <a:moveTo>
                    <a:pt x="0" y="1"/>
                  </a:moveTo>
                  <a:lnTo>
                    <a:pt x="65" y="11275"/>
                  </a:lnTo>
                  <a:lnTo>
                    <a:pt x="353" y="11275"/>
                  </a:lnTo>
                  <a:lnTo>
                    <a:pt x="294" y="1"/>
                  </a:lnTo>
                  <a:close/>
                </a:path>
              </a:pathLst>
            </a:custGeom>
            <a:solidFill>
              <a:srgbClr val="26499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/>
                <a:sym typeface="Arial"/>
              </a:endParaRPr>
            </a:p>
          </p:txBody>
        </p:sp>
        <p:sp>
          <p:nvSpPr>
            <p:cNvPr id="509" name="Google Shape;1110;p43">
              <a:extLst>
                <a:ext uri="{FF2B5EF4-FFF2-40B4-BE49-F238E27FC236}">
                  <a16:creationId xmlns="" xmlns:a16="http://schemas.microsoft.com/office/drawing/2014/main" id="{C502AE4B-CE49-4D1F-AD72-E084F2B9AE9E}"/>
                </a:ext>
              </a:extLst>
            </p:cNvPr>
            <p:cNvSpPr/>
            <p:nvPr/>
          </p:nvSpPr>
          <p:spPr>
            <a:xfrm>
              <a:off x="5686787" y="2590925"/>
              <a:ext cx="62308" cy="51713"/>
            </a:xfrm>
            <a:custGeom>
              <a:avLst/>
              <a:gdLst/>
              <a:ahLst/>
              <a:cxnLst/>
              <a:rect l="l" t="t" r="r" b="b"/>
              <a:pathLst>
                <a:path w="841" h="698" extrusionOk="0">
                  <a:moveTo>
                    <a:pt x="404" y="0"/>
                  </a:moveTo>
                  <a:cubicBezTo>
                    <a:pt x="254" y="0"/>
                    <a:pt x="114" y="99"/>
                    <a:pt x="70" y="255"/>
                  </a:cubicBezTo>
                  <a:cubicBezTo>
                    <a:pt x="0" y="489"/>
                    <a:pt x="188" y="697"/>
                    <a:pt x="404" y="697"/>
                  </a:cubicBezTo>
                  <a:cubicBezTo>
                    <a:pt x="459" y="697"/>
                    <a:pt x="515" y="684"/>
                    <a:pt x="570" y="654"/>
                  </a:cubicBezTo>
                  <a:cubicBezTo>
                    <a:pt x="840" y="502"/>
                    <a:pt x="799" y="102"/>
                    <a:pt x="499" y="14"/>
                  </a:cubicBezTo>
                  <a:cubicBezTo>
                    <a:pt x="468" y="4"/>
                    <a:pt x="436" y="0"/>
                    <a:pt x="404" y="0"/>
                  </a:cubicBezTo>
                  <a:close/>
                </a:path>
              </a:pathLst>
            </a:custGeom>
            <a:solidFill>
              <a:srgbClr val="26499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/>
                <a:sym typeface="Arial"/>
              </a:endParaRPr>
            </a:p>
          </p:txBody>
        </p:sp>
        <p:sp>
          <p:nvSpPr>
            <p:cNvPr id="510" name="Google Shape;1111;p43">
              <a:extLst>
                <a:ext uri="{FF2B5EF4-FFF2-40B4-BE49-F238E27FC236}">
                  <a16:creationId xmlns="" xmlns:a16="http://schemas.microsoft.com/office/drawing/2014/main" id="{8383C751-7CDA-407E-9F33-1E560363C218}"/>
                </a:ext>
              </a:extLst>
            </p:cNvPr>
            <p:cNvSpPr/>
            <p:nvPr/>
          </p:nvSpPr>
          <p:spPr>
            <a:xfrm>
              <a:off x="5711533" y="2993815"/>
              <a:ext cx="259677" cy="545803"/>
            </a:xfrm>
            <a:custGeom>
              <a:avLst/>
              <a:gdLst/>
              <a:ahLst/>
              <a:cxnLst/>
              <a:rect l="l" t="t" r="r" b="b"/>
              <a:pathLst>
                <a:path w="3505" h="7367" extrusionOk="0">
                  <a:moveTo>
                    <a:pt x="3257" y="1"/>
                  </a:moveTo>
                  <a:lnTo>
                    <a:pt x="177" y="30"/>
                  </a:lnTo>
                  <a:cubicBezTo>
                    <a:pt x="77" y="30"/>
                    <a:pt x="1" y="113"/>
                    <a:pt x="1" y="212"/>
                  </a:cubicBezTo>
                  <a:lnTo>
                    <a:pt x="66" y="7189"/>
                  </a:lnTo>
                  <a:cubicBezTo>
                    <a:pt x="66" y="7286"/>
                    <a:pt x="142" y="7366"/>
                    <a:pt x="232" y="7366"/>
                  </a:cubicBezTo>
                  <a:cubicBezTo>
                    <a:pt x="236" y="7366"/>
                    <a:pt x="239" y="7366"/>
                    <a:pt x="242" y="7366"/>
                  </a:cubicBezTo>
                  <a:lnTo>
                    <a:pt x="3322" y="7342"/>
                  </a:lnTo>
                  <a:cubicBezTo>
                    <a:pt x="3422" y="7336"/>
                    <a:pt x="3504" y="7260"/>
                    <a:pt x="3504" y="7160"/>
                  </a:cubicBezTo>
                  <a:lnTo>
                    <a:pt x="3439" y="183"/>
                  </a:lnTo>
                  <a:cubicBezTo>
                    <a:pt x="3439" y="83"/>
                    <a:pt x="3357" y="1"/>
                    <a:pt x="3257" y="1"/>
                  </a:cubicBezTo>
                  <a:close/>
                </a:path>
              </a:pathLst>
            </a:custGeom>
            <a:solidFill>
              <a:srgbClr val="42619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/>
                <a:sym typeface="Arial"/>
              </a:endParaRPr>
            </a:p>
          </p:txBody>
        </p:sp>
        <p:sp>
          <p:nvSpPr>
            <p:cNvPr id="511" name="Google Shape;1112;p43">
              <a:extLst>
                <a:ext uri="{FF2B5EF4-FFF2-40B4-BE49-F238E27FC236}">
                  <a16:creationId xmlns="" xmlns:a16="http://schemas.microsoft.com/office/drawing/2014/main" id="{2722815C-BFE2-4FA9-B705-87E8D100CDE0}"/>
                </a:ext>
              </a:extLst>
            </p:cNvPr>
            <p:cNvSpPr/>
            <p:nvPr/>
          </p:nvSpPr>
          <p:spPr>
            <a:xfrm>
              <a:off x="5750725" y="3503317"/>
              <a:ext cx="84163" cy="72235"/>
            </a:xfrm>
            <a:custGeom>
              <a:avLst/>
              <a:gdLst/>
              <a:ahLst/>
              <a:cxnLst/>
              <a:rect l="l" t="t" r="r" b="b"/>
              <a:pathLst>
                <a:path w="1136" h="975" extrusionOk="0">
                  <a:moveTo>
                    <a:pt x="483" y="1"/>
                  </a:moveTo>
                  <a:cubicBezTo>
                    <a:pt x="218" y="7"/>
                    <a:pt x="1" y="224"/>
                    <a:pt x="7" y="495"/>
                  </a:cubicBezTo>
                  <a:cubicBezTo>
                    <a:pt x="7" y="784"/>
                    <a:pt x="244" y="974"/>
                    <a:pt x="493" y="974"/>
                  </a:cubicBezTo>
                  <a:cubicBezTo>
                    <a:pt x="613" y="974"/>
                    <a:pt x="736" y="929"/>
                    <a:pt x="836" y="830"/>
                  </a:cubicBezTo>
                  <a:cubicBezTo>
                    <a:pt x="1135" y="518"/>
                    <a:pt x="918" y="1"/>
                    <a:pt x="483" y="1"/>
                  </a:cubicBezTo>
                  <a:close/>
                </a:path>
              </a:pathLst>
            </a:custGeom>
            <a:solidFill>
              <a:srgbClr val="26499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/>
                <a:sym typeface="Arial"/>
              </a:endParaRPr>
            </a:p>
          </p:txBody>
        </p:sp>
        <p:sp>
          <p:nvSpPr>
            <p:cNvPr id="512" name="Google Shape;1113;p43">
              <a:extLst>
                <a:ext uri="{FF2B5EF4-FFF2-40B4-BE49-F238E27FC236}">
                  <a16:creationId xmlns="" xmlns:a16="http://schemas.microsoft.com/office/drawing/2014/main" id="{BA64DFE6-E140-480F-81E2-E0194D14A624}"/>
                </a:ext>
              </a:extLst>
            </p:cNvPr>
            <p:cNvSpPr/>
            <p:nvPr/>
          </p:nvSpPr>
          <p:spPr>
            <a:xfrm>
              <a:off x="5765987" y="3518134"/>
              <a:ext cx="48824" cy="41934"/>
            </a:xfrm>
            <a:custGeom>
              <a:avLst/>
              <a:gdLst/>
              <a:ahLst/>
              <a:cxnLst/>
              <a:rect l="l" t="t" r="r" b="b"/>
              <a:pathLst>
                <a:path w="659" h="566" extrusionOk="0">
                  <a:moveTo>
                    <a:pt x="283" y="1"/>
                  </a:moveTo>
                  <a:cubicBezTo>
                    <a:pt x="124" y="7"/>
                    <a:pt x="1" y="130"/>
                    <a:pt x="1" y="289"/>
                  </a:cubicBezTo>
                  <a:cubicBezTo>
                    <a:pt x="5" y="455"/>
                    <a:pt x="142" y="566"/>
                    <a:pt x="286" y="566"/>
                  </a:cubicBezTo>
                  <a:cubicBezTo>
                    <a:pt x="355" y="566"/>
                    <a:pt x="425" y="540"/>
                    <a:pt x="483" y="483"/>
                  </a:cubicBezTo>
                  <a:cubicBezTo>
                    <a:pt x="659" y="300"/>
                    <a:pt x="530" y="1"/>
                    <a:pt x="283" y="1"/>
                  </a:cubicBezTo>
                  <a:close/>
                </a:path>
              </a:pathLst>
            </a:custGeom>
            <a:solidFill>
              <a:srgbClr val="42619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/>
                <a:sym typeface="Arial"/>
              </a:endParaRPr>
            </a:p>
          </p:txBody>
        </p:sp>
        <p:sp>
          <p:nvSpPr>
            <p:cNvPr id="513" name="Google Shape;1114;p43">
              <a:extLst>
                <a:ext uri="{FF2B5EF4-FFF2-40B4-BE49-F238E27FC236}">
                  <a16:creationId xmlns="" xmlns:a16="http://schemas.microsoft.com/office/drawing/2014/main" id="{F47E204D-6600-4018-8F6E-45219B841F61}"/>
                </a:ext>
              </a:extLst>
            </p:cNvPr>
            <p:cNvSpPr/>
            <p:nvPr/>
          </p:nvSpPr>
          <p:spPr>
            <a:xfrm>
              <a:off x="5879860" y="3189703"/>
              <a:ext cx="51269" cy="298499"/>
            </a:xfrm>
            <a:custGeom>
              <a:avLst/>
              <a:gdLst/>
              <a:ahLst/>
              <a:cxnLst/>
              <a:rect l="l" t="t" r="r" b="b"/>
              <a:pathLst>
                <a:path w="692" h="4029" extrusionOk="0">
                  <a:moveTo>
                    <a:pt x="335" y="0"/>
                  </a:moveTo>
                  <a:cubicBezTo>
                    <a:pt x="167" y="0"/>
                    <a:pt x="1" y="115"/>
                    <a:pt x="15" y="343"/>
                  </a:cubicBezTo>
                  <a:lnTo>
                    <a:pt x="45" y="3711"/>
                  </a:lnTo>
                  <a:cubicBezTo>
                    <a:pt x="45" y="3884"/>
                    <a:pt x="186" y="4028"/>
                    <a:pt x="358" y="4028"/>
                  </a:cubicBezTo>
                  <a:cubicBezTo>
                    <a:pt x="361" y="4028"/>
                    <a:pt x="365" y="4028"/>
                    <a:pt x="368" y="4028"/>
                  </a:cubicBezTo>
                  <a:cubicBezTo>
                    <a:pt x="544" y="4028"/>
                    <a:pt x="691" y="3881"/>
                    <a:pt x="685" y="3705"/>
                  </a:cubicBezTo>
                  <a:lnTo>
                    <a:pt x="656" y="337"/>
                  </a:lnTo>
                  <a:cubicBezTo>
                    <a:pt x="665" y="112"/>
                    <a:pt x="500" y="0"/>
                    <a:pt x="335" y="0"/>
                  </a:cubicBezTo>
                  <a:close/>
                </a:path>
              </a:pathLst>
            </a:custGeom>
            <a:solidFill>
              <a:srgbClr val="26499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/>
                <a:sym typeface="Arial"/>
              </a:endParaRPr>
            </a:p>
          </p:txBody>
        </p:sp>
        <p:sp>
          <p:nvSpPr>
            <p:cNvPr id="514" name="Google Shape;1115;p43">
              <a:extLst>
                <a:ext uri="{FF2B5EF4-FFF2-40B4-BE49-F238E27FC236}">
                  <a16:creationId xmlns="" xmlns:a16="http://schemas.microsoft.com/office/drawing/2014/main" id="{04B0BFB8-42A9-4653-BA0B-9CBACAA3646C}"/>
                </a:ext>
              </a:extLst>
            </p:cNvPr>
            <p:cNvSpPr/>
            <p:nvPr/>
          </p:nvSpPr>
          <p:spPr>
            <a:xfrm>
              <a:off x="5130609" y="2449491"/>
              <a:ext cx="514390" cy="1049968"/>
            </a:xfrm>
            <a:custGeom>
              <a:avLst/>
              <a:gdLst/>
              <a:ahLst/>
              <a:cxnLst/>
              <a:rect l="l" t="t" r="r" b="b"/>
              <a:pathLst>
                <a:path w="6943" h="14172" extrusionOk="0">
                  <a:moveTo>
                    <a:pt x="1077" y="1"/>
                  </a:moveTo>
                  <a:lnTo>
                    <a:pt x="1" y="14172"/>
                  </a:lnTo>
                  <a:lnTo>
                    <a:pt x="753" y="14172"/>
                  </a:lnTo>
                  <a:lnTo>
                    <a:pt x="3040" y="2452"/>
                  </a:lnTo>
                  <a:cubicBezTo>
                    <a:pt x="3081" y="2246"/>
                    <a:pt x="3263" y="2099"/>
                    <a:pt x="3469" y="2099"/>
                  </a:cubicBezTo>
                  <a:cubicBezTo>
                    <a:pt x="3680" y="2099"/>
                    <a:pt x="3863" y="2246"/>
                    <a:pt x="3904" y="2452"/>
                  </a:cubicBezTo>
                  <a:lnTo>
                    <a:pt x="6190" y="14172"/>
                  </a:lnTo>
                  <a:lnTo>
                    <a:pt x="6943" y="14172"/>
                  </a:lnTo>
                  <a:lnTo>
                    <a:pt x="5867" y="1"/>
                  </a:lnTo>
                  <a:close/>
                </a:path>
              </a:pathLst>
            </a:custGeom>
            <a:solidFill>
              <a:srgbClr val="4A6CB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/>
                <a:sym typeface="Arial"/>
              </a:endParaRPr>
            </a:p>
          </p:txBody>
        </p:sp>
        <p:sp>
          <p:nvSpPr>
            <p:cNvPr id="515" name="Google Shape;1116;p43">
              <a:extLst>
                <a:ext uri="{FF2B5EF4-FFF2-40B4-BE49-F238E27FC236}">
                  <a16:creationId xmlns="" xmlns:a16="http://schemas.microsoft.com/office/drawing/2014/main" id="{D97416A5-81B2-4779-8A30-181FDEF9C8F5}"/>
                </a:ext>
              </a:extLst>
            </p:cNvPr>
            <p:cNvSpPr/>
            <p:nvPr/>
          </p:nvSpPr>
          <p:spPr>
            <a:xfrm>
              <a:off x="4987101" y="1844046"/>
              <a:ext cx="352657" cy="395405"/>
            </a:xfrm>
            <a:custGeom>
              <a:avLst/>
              <a:gdLst/>
              <a:ahLst/>
              <a:cxnLst/>
              <a:rect l="l" t="t" r="r" b="b"/>
              <a:pathLst>
                <a:path w="4760" h="5337" extrusionOk="0">
                  <a:moveTo>
                    <a:pt x="3229" y="1"/>
                  </a:moveTo>
                  <a:cubicBezTo>
                    <a:pt x="2389" y="1"/>
                    <a:pt x="1" y="3795"/>
                    <a:pt x="116" y="4799"/>
                  </a:cubicBezTo>
                  <a:cubicBezTo>
                    <a:pt x="165" y="5210"/>
                    <a:pt x="569" y="5336"/>
                    <a:pt x="1048" y="5336"/>
                  </a:cubicBezTo>
                  <a:cubicBezTo>
                    <a:pt x="1817" y="5336"/>
                    <a:pt x="2778" y="5010"/>
                    <a:pt x="2778" y="5010"/>
                  </a:cubicBezTo>
                  <a:cubicBezTo>
                    <a:pt x="2778" y="5010"/>
                    <a:pt x="2408" y="4423"/>
                    <a:pt x="2567" y="4105"/>
                  </a:cubicBezTo>
                  <a:lnTo>
                    <a:pt x="1903" y="3976"/>
                  </a:lnTo>
                  <a:cubicBezTo>
                    <a:pt x="1903" y="3976"/>
                    <a:pt x="4759" y="1396"/>
                    <a:pt x="3384" y="61"/>
                  </a:cubicBezTo>
                  <a:cubicBezTo>
                    <a:pt x="3341" y="20"/>
                    <a:pt x="3289" y="1"/>
                    <a:pt x="3229" y="1"/>
                  </a:cubicBezTo>
                  <a:close/>
                </a:path>
              </a:pathLst>
            </a:custGeom>
            <a:solidFill>
              <a:srgbClr val="42619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/>
                <a:sym typeface="Arial"/>
              </a:endParaRPr>
            </a:p>
          </p:txBody>
        </p:sp>
        <p:sp>
          <p:nvSpPr>
            <p:cNvPr id="516" name="Google Shape;1117;p43">
              <a:extLst>
                <a:ext uri="{FF2B5EF4-FFF2-40B4-BE49-F238E27FC236}">
                  <a16:creationId xmlns="" xmlns:a16="http://schemas.microsoft.com/office/drawing/2014/main" id="{A469DA46-C48D-4146-AB4E-7047C4A01DDD}"/>
                </a:ext>
              </a:extLst>
            </p:cNvPr>
            <p:cNvSpPr/>
            <p:nvPr/>
          </p:nvSpPr>
          <p:spPr>
            <a:xfrm>
              <a:off x="5151132" y="1799371"/>
              <a:ext cx="483421" cy="702424"/>
            </a:xfrm>
            <a:custGeom>
              <a:avLst/>
              <a:gdLst/>
              <a:ahLst/>
              <a:cxnLst/>
              <a:rect l="l" t="t" r="r" b="b"/>
              <a:pathLst>
                <a:path w="6525" h="9481" extrusionOk="0">
                  <a:moveTo>
                    <a:pt x="2533" y="0"/>
                  </a:moveTo>
                  <a:cubicBezTo>
                    <a:pt x="2533" y="0"/>
                    <a:pt x="441" y="1040"/>
                    <a:pt x="218" y="1452"/>
                  </a:cubicBezTo>
                  <a:cubicBezTo>
                    <a:pt x="0" y="1863"/>
                    <a:pt x="541" y="5220"/>
                    <a:pt x="800" y="6084"/>
                  </a:cubicBezTo>
                  <a:lnTo>
                    <a:pt x="800" y="6495"/>
                  </a:lnTo>
                  <a:cubicBezTo>
                    <a:pt x="800" y="6495"/>
                    <a:pt x="541" y="7941"/>
                    <a:pt x="541" y="8940"/>
                  </a:cubicBezTo>
                  <a:cubicBezTo>
                    <a:pt x="541" y="8940"/>
                    <a:pt x="946" y="9481"/>
                    <a:pt x="3256" y="9481"/>
                  </a:cubicBezTo>
                  <a:cubicBezTo>
                    <a:pt x="5572" y="9481"/>
                    <a:pt x="5978" y="8940"/>
                    <a:pt x="5978" y="8940"/>
                  </a:cubicBezTo>
                  <a:cubicBezTo>
                    <a:pt x="5978" y="7941"/>
                    <a:pt x="5719" y="6495"/>
                    <a:pt x="5719" y="6495"/>
                  </a:cubicBezTo>
                  <a:lnTo>
                    <a:pt x="5725" y="6084"/>
                  </a:lnTo>
                  <a:cubicBezTo>
                    <a:pt x="5984" y="5214"/>
                    <a:pt x="6525" y="1863"/>
                    <a:pt x="6301" y="1452"/>
                  </a:cubicBezTo>
                  <a:cubicBezTo>
                    <a:pt x="6084" y="1046"/>
                    <a:pt x="3991" y="0"/>
                    <a:pt x="3991" y="0"/>
                  </a:cubicBezTo>
                  <a:lnTo>
                    <a:pt x="3262" y="88"/>
                  </a:lnTo>
                  <a:lnTo>
                    <a:pt x="2533" y="0"/>
                  </a:lnTo>
                  <a:close/>
                </a:path>
              </a:pathLst>
            </a:custGeom>
            <a:solidFill>
              <a:srgbClr val="42619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/>
                <a:sym typeface="Arial"/>
              </a:endParaRPr>
            </a:p>
          </p:txBody>
        </p:sp>
        <p:sp>
          <p:nvSpPr>
            <p:cNvPr id="517" name="Google Shape;1118;p43">
              <a:extLst>
                <a:ext uri="{FF2B5EF4-FFF2-40B4-BE49-F238E27FC236}">
                  <a16:creationId xmlns="" xmlns:a16="http://schemas.microsoft.com/office/drawing/2014/main" id="{271C1DDF-7ED8-4E45-9A44-099B05DF2D38}"/>
                </a:ext>
              </a:extLst>
            </p:cNvPr>
            <p:cNvSpPr/>
            <p:nvPr/>
          </p:nvSpPr>
          <p:spPr>
            <a:xfrm>
              <a:off x="5333981" y="1716615"/>
              <a:ext cx="117206" cy="101055"/>
            </a:xfrm>
            <a:custGeom>
              <a:avLst/>
              <a:gdLst/>
              <a:ahLst/>
              <a:cxnLst/>
              <a:rect l="l" t="t" r="r" b="b"/>
              <a:pathLst>
                <a:path w="1582" h="1364" extrusionOk="0">
                  <a:moveTo>
                    <a:pt x="1" y="0"/>
                  </a:moveTo>
                  <a:lnTo>
                    <a:pt x="1" y="1282"/>
                  </a:lnTo>
                  <a:cubicBezTo>
                    <a:pt x="1" y="1282"/>
                    <a:pt x="177" y="1364"/>
                    <a:pt x="794" y="1364"/>
                  </a:cubicBezTo>
                  <a:cubicBezTo>
                    <a:pt x="1411" y="1364"/>
                    <a:pt x="1582" y="1282"/>
                    <a:pt x="1582" y="1282"/>
                  </a:cubicBezTo>
                  <a:lnTo>
                    <a:pt x="1582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/>
                <a:sym typeface="Arial"/>
              </a:endParaRPr>
            </a:p>
          </p:txBody>
        </p:sp>
        <p:sp>
          <p:nvSpPr>
            <p:cNvPr id="518" name="Google Shape;1119;p43">
              <a:extLst>
                <a:ext uri="{FF2B5EF4-FFF2-40B4-BE49-F238E27FC236}">
                  <a16:creationId xmlns="" xmlns:a16="http://schemas.microsoft.com/office/drawing/2014/main" id="{1C556215-D669-4B92-91C3-56F8D8906708}"/>
                </a:ext>
              </a:extLst>
            </p:cNvPr>
            <p:cNvSpPr/>
            <p:nvPr/>
          </p:nvSpPr>
          <p:spPr>
            <a:xfrm>
              <a:off x="5278044" y="1549843"/>
              <a:ext cx="229968" cy="240858"/>
            </a:xfrm>
            <a:custGeom>
              <a:avLst/>
              <a:gdLst/>
              <a:ahLst/>
              <a:cxnLst/>
              <a:rect l="l" t="t" r="r" b="b"/>
              <a:pathLst>
                <a:path w="3104" h="3251" extrusionOk="0">
                  <a:moveTo>
                    <a:pt x="1549" y="0"/>
                  </a:moveTo>
                  <a:cubicBezTo>
                    <a:pt x="703" y="0"/>
                    <a:pt x="368" y="165"/>
                    <a:pt x="474" y="1593"/>
                  </a:cubicBezTo>
                  <a:cubicBezTo>
                    <a:pt x="474" y="1593"/>
                    <a:pt x="387" y="1494"/>
                    <a:pt x="286" y="1494"/>
                  </a:cubicBezTo>
                  <a:cubicBezTo>
                    <a:pt x="236" y="1494"/>
                    <a:pt x="182" y="1519"/>
                    <a:pt x="133" y="1593"/>
                  </a:cubicBezTo>
                  <a:cubicBezTo>
                    <a:pt x="1" y="1799"/>
                    <a:pt x="281" y="2123"/>
                    <a:pt x="459" y="2123"/>
                  </a:cubicBezTo>
                  <a:cubicBezTo>
                    <a:pt x="479" y="2123"/>
                    <a:pt x="498" y="2119"/>
                    <a:pt x="515" y="2110"/>
                  </a:cubicBezTo>
                  <a:cubicBezTo>
                    <a:pt x="515" y="2110"/>
                    <a:pt x="644" y="3045"/>
                    <a:pt x="1549" y="3251"/>
                  </a:cubicBezTo>
                  <a:cubicBezTo>
                    <a:pt x="2455" y="3045"/>
                    <a:pt x="2584" y="2110"/>
                    <a:pt x="2584" y="2110"/>
                  </a:cubicBezTo>
                  <a:cubicBezTo>
                    <a:pt x="2601" y="2119"/>
                    <a:pt x="2619" y="2123"/>
                    <a:pt x="2640" y="2123"/>
                  </a:cubicBezTo>
                  <a:cubicBezTo>
                    <a:pt x="2818" y="2123"/>
                    <a:pt x="3104" y="1799"/>
                    <a:pt x="2972" y="1593"/>
                  </a:cubicBezTo>
                  <a:cubicBezTo>
                    <a:pt x="2923" y="1519"/>
                    <a:pt x="2868" y="1494"/>
                    <a:pt x="2817" y="1494"/>
                  </a:cubicBezTo>
                  <a:cubicBezTo>
                    <a:pt x="2714" y="1494"/>
                    <a:pt x="2625" y="1593"/>
                    <a:pt x="2625" y="1593"/>
                  </a:cubicBezTo>
                  <a:cubicBezTo>
                    <a:pt x="2731" y="165"/>
                    <a:pt x="2396" y="0"/>
                    <a:pt x="1549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/>
                <a:sym typeface="Arial"/>
              </a:endParaRPr>
            </a:p>
          </p:txBody>
        </p:sp>
        <p:sp>
          <p:nvSpPr>
            <p:cNvPr id="519" name="Google Shape;1120;p43">
              <a:extLst>
                <a:ext uri="{FF2B5EF4-FFF2-40B4-BE49-F238E27FC236}">
                  <a16:creationId xmlns="" xmlns:a16="http://schemas.microsoft.com/office/drawing/2014/main" id="{FC045C83-7972-4C79-97C7-A3CB0CD3656B}"/>
                </a:ext>
              </a:extLst>
            </p:cNvPr>
            <p:cNvSpPr/>
            <p:nvPr/>
          </p:nvSpPr>
          <p:spPr>
            <a:xfrm>
              <a:off x="5285675" y="1508650"/>
              <a:ext cx="231301" cy="297758"/>
            </a:xfrm>
            <a:custGeom>
              <a:avLst/>
              <a:gdLst/>
              <a:ahLst/>
              <a:cxnLst/>
              <a:rect l="l" t="t" r="r" b="b"/>
              <a:pathLst>
                <a:path w="3122" h="4019" extrusionOk="0">
                  <a:moveTo>
                    <a:pt x="1244" y="0"/>
                  </a:moveTo>
                  <a:cubicBezTo>
                    <a:pt x="961" y="0"/>
                    <a:pt x="662" y="106"/>
                    <a:pt x="476" y="474"/>
                  </a:cubicBezTo>
                  <a:cubicBezTo>
                    <a:pt x="476" y="474"/>
                    <a:pt x="474" y="474"/>
                    <a:pt x="471" y="474"/>
                  </a:cubicBezTo>
                  <a:cubicBezTo>
                    <a:pt x="419" y="474"/>
                    <a:pt x="42" y="499"/>
                    <a:pt x="136" y="1256"/>
                  </a:cubicBezTo>
                  <a:cubicBezTo>
                    <a:pt x="165" y="1479"/>
                    <a:pt x="0" y="4018"/>
                    <a:pt x="1376" y="4018"/>
                  </a:cubicBezTo>
                  <a:cubicBezTo>
                    <a:pt x="2751" y="4018"/>
                    <a:pt x="2757" y="1726"/>
                    <a:pt x="2816" y="1214"/>
                  </a:cubicBezTo>
                  <a:cubicBezTo>
                    <a:pt x="2816" y="1214"/>
                    <a:pt x="3121" y="803"/>
                    <a:pt x="2951" y="456"/>
                  </a:cubicBezTo>
                  <a:cubicBezTo>
                    <a:pt x="2887" y="321"/>
                    <a:pt x="2807" y="279"/>
                    <a:pt x="2734" y="279"/>
                  </a:cubicBezTo>
                  <a:cubicBezTo>
                    <a:pt x="2620" y="279"/>
                    <a:pt x="2522" y="380"/>
                    <a:pt x="2522" y="380"/>
                  </a:cubicBezTo>
                  <a:cubicBezTo>
                    <a:pt x="2522" y="380"/>
                    <a:pt x="2587" y="51"/>
                    <a:pt x="2281" y="51"/>
                  </a:cubicBezTo>
                  <a:cubicBezTo>
                    <a:pt x="1975" y="51"/>
                    <a:pt x="1975" y="192"/>
                    <a:pt x="1975" y="192"/>
                  </a:cubicBezTo>
                  <a:cubicBezTo>
                    <a:pt x="1975" y="192"/>
                    <a:pt x="1625" y="0"/>
                    <a:pt x="1244" y="0"/>
                  </a:cubicBezTo>
                  <a:close/>
                </a:path>
              </a:pathLst>
            </a:custGeom>
            <a:solidFill>
              <a:srgbClr val="F4996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/>
                <a:sym typeface="Arial"/>
              </a:endParaRPr>
            </a:p>
          </p:txBody>
        </p:sp>
        <p:sp>
          <p:nvSpPr>
            <p:cNvPr id="520" name="Google Shape;1121;p43">
              <a:extLst>
                <a:ext uri="{FF2B5EF4-FFF2-40B4-BE49-F238E27FC236}">
                  <a16:creationId xmlns="" xmlns:a16="http://schemas.microsoft.com/office/drawing/2014/main" id="{CCF42535-0D52-4774-BFC7-9F3DFC7EDB92}"/>
                </a:ext>
              </a:extLst>
            </p:cNvPr>
            <p:cNvSpPr/>
            <p:nvPr/>
          </p:nvSpPr>
          <p:spPr>
            <a:xfrm>
              <a:off x="5130609" y="1818041"/>
              <a:ext cx="171661" cy="432078"/>
            </a:xfrm>
            <a:custGeom>
              <a:avLst/>
              <a:gdLst/>
              <a:ahLst/>
              <a:cxnLst/>
              <a:rect l="l" t="t" r="r" b="b"/>
              <a:pathLst>
                <a:path w="2317" h="5832" extrusionOk="0">
                  <a:moveTo>
                    <a:pt x="2317" y="1"/>
                  </a:moveTo>
                  <a:cubicBezTo>
                    <a:pt x="2317" y="1"/>
                    <a:pt x="1359" y="1"/>
                    <a:pt x="1059" y="559"/>
                  </a:cubicBezTo>
                  <a:cubicBezTo>
                    <a:pt x="789" y="1065"/>
                    <a:pt x="1" y="2417"/>
                    <a:pt x="1082" y="5832"/>
                  </a:cubicBezTo>
                  <a:cubicBezTo>
                    <a:pt x="1082" y="5832"/>
                    <a:pt x="1647" y="3563"/>
                    <a:pt x="1635" y="2452"/>
                  </a:cubicBezTo>
                  <a:cubicBezTo>
                    <a:pt x="1623" y="1335"/>
                    <a:pt x="2317" y="1"/>
                    <a:pt x="2317" y="1"/>
                  </a:cubicBezTo>
                  <a:close/>
                </a:path>
              </a:pathLst>
            </a:custGeom>
            <a:solidFill>
              <a:srgbClr val="8EAFF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/>
                <a:sym typeface="Arial"/>
              </a:endParaRPr>
            </a:p>
          </p:txBody>
        </p:sp>
        <p:sp>
          <p:nvSpPr>
            <p:cNvPr id="521" name="Google Shape;1122;p43">
              <a:extLst>
                <a:ext uri="{FF2B5EF4-FFF2-40B4-BE49-F238E27FC236}">
                  <a16:creationId xmlns="" xmlns:a16="http://schemas.microsoft.com/office/drawing/2014/main" id="{B4ACFC32-0A9F-4816-8041-F6A916525B10}"/>
                </a:ext>
              </a:extLst>
            </p:cNvPr>
            <p:cNvSpPr/>
            <p:nvPr/>
          </p:nvSpPr>
          <p:spPr>
            <a:xfrm>
              <a:off x="5161578" y="2116022"/>
              <a:ext cx="117651" cy="93202"/>
            </a:xfrm>
            <a:custGeom>
              <a:avLst/>
              <a:gdLst/>
              <a:ahLst/>
              <a:cxnLst/>
              <a:rect l="l" t="t" r="r" b="b"/>
              <a:pathLst>
                <a:path w="1588" h="1258" extrusionOk="0">
                  <a:moveTo>
                    <a:pt x="761" y="1"/>
                  </a:moveTo>
                  <a:cubicBezTo>
                    <a:pt x="407" y="1"/>
                    <a:pt x="212" y="434"/>
                    <a:pt x="212" y="434"/>
                  </a:cubicBezTo>
                  <a:cubicBezTo>
                    <a:pt x="0" y="681"/>
                    <a:pt x="353" y="1210"/>
                    <a:pt x="353" y="1210"/>
                  </a:cubicBezTo>
                  <a:cubicBezTo>
                    <a:pt x="353" y="1210"/>
                    <a:pt x="383" y="1220"/>
                    <a:pt x="417" y="1220"/>
                  </a:cubicBezTo>
                  <a:cubicBezTo>
                    <a:pt x="440" y="1220"/>
                    <a:pt x="465" y="1215"/>
                    <a:pt x="482" y="1198"/>
                  </a:cubicBezTo>
                  <a:cubicBezTo>
                    <a:pt x="529" y="1150"/>
                    <a:pt x="573" y="1133"/>
                    <a:pt x="613" y="1133"/>
                  </a:cubicBezTo>
                  <a:cubicBezTo>
                    <a:pt x="719" y="1133"/>
                    <a:pt x="794" y="1257"/>
                    <a:pt x="794" y="1257"/>
                  </a:cubicBezTo>
                  <a:cubicBezTo>
                    <a:pt x="1587" y="658"/>
                    <a:pt x="1011" y="70"/>
                    <a:pt x="1011" y="70"/>
                  </a:cubicBezTo>
                  <a:cubicBezTo>
                    <a:pt x="920" y="21"/>
                    <a:pt x="837" y="1"/>
                    <a:pt x="761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/>
                <a:sym typeface="Arial"/>
              </a:endParaRPr>
            </a:p>
          </p:txBody>
        </p:sp>
        <p:sp>
          <p:nvSpPr>
            <p:cNvPr id="522" name="Google Shape;1123;p43">
              <a:extLst>
                <a:ext uri="{FF2B5EF4-FFF2-40B4-BE49-F238E27FC236}">
                  <a16:creationId xmlns="" xmlns:a16="http://schemas.microsoft.com/office/drawing/2014/main" id="{C915C874-85E4-4C48-B895-C0762662D027}"/>
                </a:ext>
              </a:extLst>
            </p:cNvPr>
            <p:cNvSpPr/>
            <p:nvPr/>
          </p:nvSpPr>
          <p:spPr>
            <a:xfrm>
              <a:off x="5445927" y="1844046"/>
              <a:ext cx="352582" cy="395405"/>
            </a:xfrm>
            <a:custGeom>
              <a:avLst/>
              <a:gdLst/>
              <a:ahLst/>
              <a:cxnLst/>
              <a:rect l="l" t="t" r="r" b="b"/>
              <a:pathLst>
                <a:path w="4759" h="5337" extrusionOk="0">
                  <a:moveTo>
                    <a:pt x="1531" y="1"/>
                  </a:moveTo>
                  <a:cubicBezTo>
                    <a:pt x="1471" y="1"/>
                    <a:pt x="1419" y="20"/>
                    <a:pt x="1376" y="61"/>
                  </a:cubicBezTo>
                  <a:cubicBezTo>
                    <a:pt x="0" y="1396"/>
                    <a:pt x="2851" y="3976"/>
                    <a:pt x="2851" y="3976"/>
                  </a:cubicBezTo>
                  <a:lnTo>
                    <a:pt x="2193" y="4105"/>
                  </a:lnTo>
                  <a:cubicBezTo>
                    <a:pt x="2352" y="4423"/>
                    <a:pt x="1981" y="5010"/>
                    <a:pt x="1981" y="5010"/>
                  </a:cubicBezTo>
                  <a:cubicBezTo>
                    <a:pt x="1981" y="5010"/>
                    <a:pt x="2943" y="5336"/>
                    <a:pt x="3710" y="5336"/>
                  </a:cubicBezTo>
                  <a:cubicBezTo>
                    <a:pt x="4188" y="5336"/>
                    <a:pt x="4591" y="5210"/>
                    <a:pt x="4638" y="4799"/>
                  </a:cubicBezTo>
                  <a:cubicBezTo>
                    <a:pt x="4759" y="3795"/>
                    <a:pt x="2371" y="1"/>
                    <a:pt x="1531" y="1"/>
                  </a:cubicBezTo>
                  <a:close/>
                </a:path>
              </a:pathLst>
            </a:custGeom>
            <a:solidFill>
              <a:srgbClr val="42619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/>
                <a:sym typeface="Arial"/>
              </a:endParaRPr>
            </a:p>
          </p:txBody>
        </p:sp>
        <p:sp>
          <p:nvSpPr>
            <p:cNvPr id="523" name="Google Shape;1124;p43">
              <a:extLst>
                <a:ext uri="{FF2B5EF4-FFF2-40B4-BE49-F238E27FC236}">
                  <a16:creationId xmlns="" xmlns:a16="http://schemas.microsoft.com/office/drawing/2014/main" id="{1099FE1F-4266-4F36-8A17-A59CC4A00DBB}"/>
                </a:ext>
              </a:extLst>
            </p:cNvPr>
            <p:cNvSpPr/>
            <p:nvPr/>
          </p:nvSpPr>
          <p:spPr>
            <a:xfrm>
              <a:off x="5483786" y="1818041"/>
              <a:ext cx="171216" cy="432078"/>
            </a:xfrm>
            <a:custGeom>
              <a:avLst/>
              <a:gdLst/>
              <a:ahLst/>
              <a:cxnLst/>
              <a:rect l="l" t="t" r="r" b="b"/>
              <a:pathLst>
                <a:path w="2311" h="5832" extrusionOk="0">
                  <a:moveTo>
                    <a:pt x="1" y="1"/>
                  </a:moveTo>
                  <a:lnTo>
                    <a:pt x="1" y="1"/>
                  </a:lnTo>
                  <a:cubicBezTo>
                    <a:pt x="1" y="1"/>
                    <a:pt x="688" y="1335"/>
                    <a:pt x="677" y="2452"/>
                  </a:cubicBezTo>
                  <a:cubicBezTo>
                    <a:pt x="665" y="3563"/>
                    <a:pt x="1235" y="5832"/>
                    <a:pt x="1235" y="5832"/>
                  </a:cubicBezTo>
                  <a:cubicBezTo>
                    <a:pt x="2311" y="2417"/>
                    <a:pt x="1523" y="1065"/>
                    <a:pt x="1253" y="559"/>
                  </a:cubicBezTo>
                  <a:cubicBezTo>
                    <a:pt x="953" y="1"/>
                    <a:pt x="1" y="1"/>
                    <a:pt x="1" y="1"/>
                  </a:cubicBezTo>
                  <a:close/>
                </a:path>
              </a:pathLst>
            </a:custGeom>
            <a:solidFill>
              <a:srgbClr val="8EAFF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/>
                <a:sym typeface="Arial"/>
              </a:endParaRPr>
            </a:p>
          </p:txBody>
        </p:sp>
        <p:sp>
          <p:nvSpPr>
            <p:cNvPr id="524" name="Google Shape;1125;p43">
              <a:extLst>
                <a:ext uri="{FF2B5EF4-FFF2-40B4-BE49-F238E27FC236}">
                  <a16:creationId xmlns="" xmlns:a16="http://schemas.microsoft.com/office/drawing/2014/main" id="{66D3FD85-B265-417B-B121-241C978B2541}"/>
                </a:ext>
              </a:extLst>
            </p:cNvPr>
            <p:cNvSpPr/>
            <p:nvPr/>
          </p:nvSpPr>
          <p:spPr>
            <a:xfrm>
              <a:off x="5506013" y="2116022"/>
              <a:ext cx="117651" cy="93202"/>
            </a:xfrm>
            <a:custGeom>
              <a:avLst/>
              <a:gdLst/>
              <a:ahLst/>
              <a:cxnLst/>
              <a:rect l="l" t="t" r="r" b="b"/>
              <a:pathLst>
                <a:path w="1588" h="1258" extrusionOk="0">
                  <a:moveTo>
                    <a:pt x="833" y="1"/>
                  </a:moveTo>
                  <a:cubicBezTo>
                    <a:pt x="757" y="1"/>
                    <a:pt x="673" y="21"/>
                    <a:pt x="582" y="70"/>
                  </a:cubicBezTo>
                  <a:cubicBezTo>
                    <a:pt x="582" y="70"/>
                    <a:pt x="1" y="658"/>
                    <a:pt x="806" y="1257"/>
                  </a:cubicBezTo>
                  <a:cubicBezTo>
                    <a:pt x="806" y="1257"/>
                    <a:pt x="877" y="1133"/>
                    <a:pt x="982" y="1133"/>
                  </a:cubicBezTo>
                  <a:cubicBezTo>
                    <a:pt x="1021" y="1133"/>
                    <a:pt x="1065" y="1150"/>
                    <a:pt x="1111" y="1198"/>
                  </a:cubicBezTo>
                  <a:cubicBezTo>
                    <a:pt x="1128" y="1215"/>
                    <a:pt x="1153" y="1220"/>
                    <a:pt x="1177" y="1220"/>
                  </a:cubicBezTo>
                  <a:cubicBezTo>
                    <a:pt x="1210" y="1220"/>
                    <a:pt x="1241" y="1210"/>
                    <a:pt x="1241" y="1210"/>
                  </a:cubicBezTo>
                  <a:cubicBezTo>
                    <a:pt x="1241" y="1210"/>
                    <a:pt x="1588" y="681"/>
                    <a:pt x="1382" y="434"/>
                  </a:cubicBezTo>
                  <a:cubicBezTo>
                    <a:pt x="1382" y="434"/>
                    <a:pt x="1187" y="1"/>
                    <a:pt x="833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/>
                <a:sym typeface="Arial"/>
              </a:endParaRPr>
            </a:p>
          </p:txBody>
        </p:sp>
        <p:sp>
          <p:nvSpPr>
            <p:cNvPr id="525" name="Google Shape;1126;p43">
              <a:extLst>
                <a:ext uri="{FF2B5EF4-FFF2-40B4-BE49-F238E27FC236}">
                  <a16:creationId xmlns="" xmlns:a16="http://schemas.microsoft.com/office/drawing/2014/main" id="{D34D120F-4C7B-4ADC-87C3-C9392278E0A1}"/>
                </a:ext>
              </a:extLst>
            </p:cNvPr>
            <p:cNvSpPr/>
            <p:nvPr/>
          </p:nvSpPr>
          <p:spPr>
            <a:xfrm>
              <a:off x="5210328" y="2250047"/>
              <a:ext cx="365029" cy="30598"/>
            </a:xfrm>
            <a:custGeom>
              <a:avLst/>
              <a:gdLst/>
              <a:ahLst/>
              <a:cxnLst/>
              <a:rect l="l" t="t" r="r" b="b"/>
              <a:pathLst>
                <a:path w="4927" h="413" extrusionOk="0">
                  <a:moveTo>
                    <a:pt x="1" y="1"/>
                  </a:moveTo>
                  <a:lnTo>
                    <a:pt x="1" y="412"/>
                  </a:lnTo>
                  <a:lnTo>
                    <a:pt x="4926" y="412"/>
                  </a:lnTo>
                  <a:lnTo>
                    <a:pt x="4926" y="1"/>
                  </a:lnTo>
                  <a:close/>
                </a:path>
              </a:pathLst>
            </a:custGeom>
            <a:solidFill>
              <a:srgbClr val="C4C4C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/>
                <a:sym typeface="Arial"/>
              </a:endParaRPr>
            </a:p>
          </p:txBody>
        </p:sp>
        <p:sp>
          <p:nvSpPr>
            <p:cNvPr id="526" name="Google Shape;1127;p43">
              <a:extLst>
                <a:ext uri="{FF2B5EF4-FFF2-40B4-BE49-F238E27FC236}">
                  <a16:creationId xmlns="" xmlns:a16="http://schemas.microsoft.com/office/drawing/2014/main" id="{A874BADF-2798-40C4-8A55-F37D0C8EFA1B}"/>
                </a:ext>
              </a:extLst>
            </p:cNvPr>
            <p:cNvSpPr/>
            <p:nvPr/>
          </p:nvSpPr>
          <p:spPr>
            <a:xfrm>
              <a:off x="5361023" y="2244416"/>
              <a:ext cx="53639" cy="41859"/>
            </a:xfrm>
            <a:custGeom>
              <a:avLst/>
              <a:gdLst/>
              <a:ahLst/>
              <a:cxnLst/>
              <a:rect l="l" t="t" r="r" b="b"/>
              <a:pathLst>
                <a:path w="724" h="565" extrusionOk="0">
                  <a:moveTo>
                    <a:pt x="0" y="0"/>
                  </a:moveTo>
                  <a:lnTo>
                    <a:pt x="0" y="564"/>
                  </a:lnTo>
                  <a:lnTo>
                    <a:pt x="723" y="564"/>
                  </a:lnTo>
                  <a:lnTo>
                    <a:pt x="723" y="0"/>
                  </a:lnTo>
                  <a:close/>
                </a:path>
              </a:pathLst>
            </a:custGeom>
            <a:solidFill>
              <a:srgbClr val="3D3A3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/>
                <a:sym typeface="Arial"/>
              </a:endParaRPr>
            </a:p>
          </p:txBody>
        </p:sp>
        <p:sp>
          <p:nvSpPr>
            <p:cNvPr id="527" name="Google Shape;1128;p43">
              <a:extLst>
                <a:ext uri="{FF2B5EF4-FFF2-40B4-BE49-F238E27FC236}">
                  <a16:creationId xmlns="" xmlns:a16="http://schemas.microsoft.com/office/drawing/2014/main" id="{DE85EBCB-2A27-4432-A51F-256797390B2D}"/>
                </a:ext>
              </a:extLst>
            </p:cNvPr>
            <p:cNvSpPr/>
            <p:nvPr/>
          </p:nvSpPr>
          <p:spPr>
            <a:xfrm>
              <a:off x="5023923" y="3499390"/>
              <a:ext cx="154695" cy="55417"/>
            </a:xfrm>
            <a:custGeom>
              <a:avLst/>
              <a:gdLst/>
              <a:ahLst/>
              <a:cxnLst/>
              <a:rect l="l" t="t" r="r" b="b"/>
              <a:pathLst>
                <a:path w="2088" h="748" extrusionOk="0">
                  <a:moveTo>
                    <a:pt x="1517" y="1"/>
                  </a:moveTo>
                  <a:lnTo>
                    <a:pt x="1441" y="254"/>
                  </a:lnTo>
                  <a:lnTo>
                    <a:pt x="1" y="747"/>
                  </a:lnTo>
                  <a:lnTo>
                    <a:pt x="2087" y="747"/>
                  </a:lnTo>
                  <a:lnTo>
                    <a:pt x="2087" y="1"/>
                  </a:lnTo>
                  <a:close/>
                </a:path>
              </a:pathLst>
            </a:custGeom>
            <a:solidFill>
              <a:srgbClr val="26499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/>
                <a:sym typeface="Arial"/>
              </a:endParaRPr>
            </a:p>
          </p:txBody>
        </p:sp>
        <p:sp>
          <p:nvSpPr>
            <p:cNvPr id="528" name="Google Shape;1129;p43">
              <a:extLst>
                <a:ext uri="{FF2B5EF4-FFF2-40B4-BE49-F238E27FC236}">
                  <a16:creationId xmlns="" xmlns:a16="http://schemas.microsoft.com/office/drawing/2014/main" id="{977E3409-DC00-4871-A4F5-7D2FC019C3AE}"/>
                </a:ext>
              </a:extLst>
            </p:cNvPr>
            <p:cNvSpPr/>
            <p:nvPr/>
          </p:nvSpPr>
          <p:spPr>
            <a:xfrm>
              <a:off x="5597067" y="3499390"/>
              <a:ext cx="131135" cy="55417"/>
            </a:xfrm>
            <a:custGeom>
              <a:avLst/>
              <a:gdLst/>
              <a:ahLst/>
              <a:cxnLst/>
              <a:rect l="l" t="t" r="r" b="b"/>
              <a:pathLst>
                <a:path w="1770" h="748" extrusionOk="0">
                  <a:moveTo>
                    <a:pt x="0" y="1"/>
                  </a:moveTo>
                  <a:lnTo>
                    <a:pt x="0" y="747"/>
                  </a:lnTo>
                  <a:lnTo>
                    <a:pt x="1675" y="747"/>
                  </a:lnTo>
                  <a:cubicBezTo>
                    <a:pt x="1752" y="747"/>
                    <a:pt x="1769" y="642"/>
                    <a:pt x="1699" y="618"/>
                  </a:cubicBezTo>
                  <a:lnTo>
                    <a:pt x="647" y="254"/>
                  </a:lnTo>
                  <a:lnTo>
                    <a:pt x="570" y="1"/>
                  </a:lnTo>
                  <a:close/>
                </a:path>
              </a:pathLst>
            </a:custGeom>
            <a:solidFill>
              <a:srgbClr val="26499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/>
                <a:sym typeface="Arial"/>
              </a:endParaRPr>
            </a:p>
          </p:txBody>
        </p:sp>
        <p:sp>
          <p:nvSpPr>
            <p:cNvPr id="529" name="Google Shape;1130;p43">
              <a:extLst>
                <a:ext uri="{FF2B5EF4-FFF2-40B4-BE49-F238E27FC236}">
                  <a16:creationId xmlns="" xmlns:a16="http://schemas.microsoft.com/office/drawing/2014/main" id="{CD916804-C859-41FC-B857-0269F9294AC9}"/>
                </a:ext>
              </a:extLst>
            </p:cNvPr>
            <p:cNvSpPr/>
            <p:nvPr/>
          </p:nvSpPr>
          <p:spPr>
            <a:xfrm>
              <a:off x="5167653" y="1851603"/>
              <a:ext cx="450378" cy="536986"/>
            </a:xfrm>
            <a:custGeom>
              <a:avLst/>
              <a:gdLst/>
              <a:ahLst/>
              <a:cxnLst/>
              <a:rect l="l" t="t" r="r" b="b"/>
              <a:pathLst>
                <a:path w="6079" h="7248" extrusionOk="0">
                  <a:moveTo>
                    <a:pt x="241" y="0"/>
                  </a:moveTo>
                  <a:cubicBezTo>
                    <a:pt x="106" y="0"/>
                    <a:pt x="0" y="112"/>
                    <a:pt x="0" y="247"/>
                  </a:cubicBezTo>
                  <a:lnTo>
                    <a:pt x="0" y="7001"/>
                  </a:lnTo>
                  <a:cubicBezTo>
                    <a:pt x="0" y="7136"/>
                    <a:pt x="106" y="7248"/>
                    <a:pt x="241" y="7248"/>
                  </a:cubicBezTo>
                  <a:lnTo>
                    <a:pt x="5831" y="7248"/>
                  </a:lnTo>
                  <a:cubicBezTo>
                    <a:pt x="5966" y="7248"/>
                    <a:pt x="6078" y="7136"/>
                    <a:pt x="6078" y="7001"/>
                  </a:cubicBezTo>
                  <a:lnTo>
                    <a:pt x="6078" y="247"/>
                  </a:lnTo>
                  <a:cubicBezTo>
                    <a:pt x="6078" y="112"/>
                    <a:pt x="5966" y="0"/>
                    <a:pt x="5831" y="0"/>
                  </a:cubicBezTo>
                  <a:close/>
                </a:path>
              </a:pathLst>
            </a:custGeom>
            <a:solidFill>
              <a:srgbClr val="F5CEBA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/>
                <a:sym typeface="Arial"/>
              </a:endParaRPr>
            </a:p>
          </p:txBody>
        </p:sp>
        <p:sp>
          <p:nvSpPr>
            <p:cNvPr id="530" name="Google Shape;1131;p43">
              <a:extLst>
                <a:ext uri="{FF2B5EF4-FFF2-40B4-BE49-F238E27FC236}">
                  <a16:creationId xmlns="" xmlns:a16="http://schemas.microsoft.com/office/drawing/2014/main" id="{9A525032-6070-4CEF-B57E-975957B0846A}"/>
                </a:ext>
              </a:extLst>
            </p:cNvPr>
            <p:cNvSpPr/>
            <p:nvPr/>
          </p:nvSpPr>
          <p:spPr>
            <a:xfrm>
              <a:off x="5167653" y="1851603"/>
              <a:ext cx="450378" cy="197369"/>
            </a:xfrm>
            <a:custGeom>
              <a:avLst/>
              <a:gdLst/>
              <a:ahLst/>
              <a:cxnLst/>
              <a:rect l="l" t="t" r="r" b="b"/>
              <a:pathLst>
                <a:path w="6079" h="2664" extrusionOk="0">
                  <a:moveTo>
                    <a:pt x="770" y="0"/>
                  </a:moveTo>
                  <a:cubicBezTo>
                    <a:pt x="341" y="0"/>
                    <a:pt x="0" y="347"/>
                    <a:pt x="0" y="776"/>
                  </a:cubicBezTo>
                  <a:lnTo>
                    <a:pt x="0" y="1229"/>
                  </a:lnTo>
                  <a:cubicBezTo>
                    <a:pt x="0" y="1229"/>
                    <a:pt x="506" y="2663"/>
                    <a:pt x="3039" y="2663"/>
                  </a:cubicBezTo>
                  <a:cubicBezTo>
                    <a:pt x="5567" y="2663"/>
                    <a:pt x="6078" y="1229"/>
                    <a:pt x="6078" y="1229"/>
                  </a:cubicBezTo>
                  <a:lnTo>
                    <a:pt x="6078" y="776"/>
                  </a:lnTo>
                  <a:cubicBezTo>
                    <a:pt x="6078" y="347"/>
                    <a:pt x="5731" y="0"/>
                    <a:pt x="5308" y="0"/>
                  </a:cubicBezTo>
                  <a:close/>
                </a:path>
              </a:pathLst>
            </a:custGeom>
            <a:solidFill>
              <a:srgbClr val="F4996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/>
                <a:sym typeface="Arial"/>
              </a:endParaRPr>
            </a:p>
          </p:txBody>
        </p:sp>
        <p:sp>
          <p:nvSpPr>
            <p:cNvPr id="531" name="Google Shape;1132;p43">
              <a:extLst>
                <a:ext uri="{FF2B5EF4-FFF2-40B4-BE49-F238E27FC236}">
                  <a16:creationId xmlns="" xmlns:a16="http://schemas.microsoft.com/office/drawing/2014/main" id="{C7E8CC47-8A04-4ADD-BB71-984703809370}"/>
                </a:ext>
              </a:extLst>
            </p:cNvPr>
            <p:cNvSpPr/>
            <p:nvPr/>
          </p:nvSpPr>
          <p:spPr>
            <a:xfrm>
              <a:off x="5228183" y="2112021"/>
              <a:ext cx="339321" cy="226041"/>
            </a:xfrm>
            <a:custGeom>
              <a:avLst/>
              <a:gdLst/>
              <a:ahLst/>
              <a:cxnLst/>
              <a:rect l="l" t="t" r="r" b="b"/>
              <a:pathLst>
                <a:path w="4580" h="3051" extrusionOk="0">
                  <a:moveTo>
                    <a:pt x="100" y="0"/>
                  </a:moveTo>
                  <a:cubicBezTo>
                    <a:pt x="42" y="0"/>
                    <a:pt x="1" y="41"/>
                    <a:pt x="1" y="100"/>
                  </a:cubicBezTo>
                  <a:lnTo>
                    <a:pt x="1" y="2951"/>
                  </a:lnTo>
                  <a:cubicBezTo>
                    <a:pt x="1" y="3010"/>
                    <a:pt x="42" y="3051"/>
                    <a:pt x="100" y="3051"/>
                  </a:cubicBezTo>
                  <a:lnTo>
                    <a:pt x="4479" y="3051"/>
                  </a:lnTo>
                  <a:cubicBezTo>
                    <a:pt x="4538" y="3051"/>
                    <a:pt x="4579" y="3010"/>
                    <a:pt x="4579" y="2951"/>
                  </a:cubicBezTo>
                  <a:lnTo>
                    <a:pt x="4579" y="100"/>
                  </a:lnTo>
                  <a:cubicBezTo>
                    <a:pt x="4579" y="41"/>
                    <a:pt x="4538" y="0"/>
                    <a:pt x="4479" y="0"/>
                  </a:cubicBezTo>
                  <a:close/>
                </a:path>
              </a:pathLst>
            </a:custGeom>
            <a:solidFill>
              <a:srgbClr val="F4996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/>
                <a:sym typeface="Arial"/>
              </a:endParaRPr>
            </a:p>
          </p:txBody>
        </p:sp>
        <p:sp>
          <p:nvSpPr>
            <p:cNvPr id="532" name="Google Shape;1133;p43">
              <a:extLst>
                <a:ext uri="{FF2B5EF4-FFF2-40B4-BE49-F238E27FC236}">
                  <a16:creationId xmlns="" xmlns:a16="http://schemas.microsoft.com/office/drawing/2014/main" id="{CAE2A144-01C6-4060-84A9-B5EA55E0058C}"/>
                </a:ext>
              </a:extLst>
            </p:cNvPr>
            <p:cNvSpPr/>
            <p:nvPr/>
          </p:nvSpPr>
          <p:spPr>
            <a:xfrm>
              <a:off x="5228183" y="2202557"/>
              <a:ext cx="339321" cy="11409"/>
            </a:xfrm>
            <a:custGeom>
              <a:avLst/>
              <a:gdLst/>
              <a:ahLst/>
              <a:cxnLst/>
              <a:rect l="l" t="t" r="r" b="b"/>
              <a:pathLst>
                <a:path w="4580" h="154" extrusionOk="0">
                  <a:moveTo>
                    <a:pt x="1" y="1"/>
                  </a:moveTo>
                  <a:lnTo>
                    <a:pt x="1" y="154"/>
                  </a:lnTo>
                  <a:lnTo>
                    <a:pt x="4579" y="154"/>
                  </a:lnTo>
                  <a:lnTo>
                    <a:pt x="4579" y="1"/>
                  </a:lnTo>
                  <a:close/>
                </a:path>
              </a:pathLst>
            </a:custGeom>
            <a:solidFill>
              <a:srgbClr val="42619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/>
                <a:sym typeface="Arial"/>
              </a:endParaRPr>
            </a:p>
          </p:txBody>
        </p:sp>
        <p:sp>
          <p:nvSpPr>
            <p:cNvPr id="533" name="Google Shape;1134;p43">
              <a:extLst>
                <a:ext uri="{FF2B5EF4-FFF2-40B4-BE49-F238E27FC236}">
                  <a16:creationId xmlns="" xmlns:a16="http://schemas.microsoft.com/office/drawing/2014/main" id="{84D9926A-72AD-4BFD-94E7-7B4D0D0F15C0}"/>
                </a:ext>
              </a:extLst>
            </p:cNvPr>
            <p:cNvSpPr/>
            <p:nvPr/>
          </p:nvSpPr>
          <p:spPr>
            <a:xfrm>
              <a:off x="5522164" y="2213892"/>
              <a:ext cx="34006" cy="56677"/>
            </a:xfrm>
            <a:custGeom>
              <a:avLst/>
              <a:gdLst/>
              <a:ahLst/>
              <a:cxnLst/>
              <a:rect l="l" t="t" r="r" b="b"/>
              <a:pathLst>
                <a:path w="459" h="765" extrusionOk="0">
                  <a:moveTo>
                    <a:pt x="0" y="1"/>
                  </a:moveTo>
                  <a:lnTo>
                    <a:pt x="0" y="765"/>
                  </a:lnTo>
                  <a:lnTo>
                    <a:pt x="459" y="765"/>
                  </a:lnTo>
                  <a:lnTo>
                    <a:pt x="459" y="1"/>
                  </a:lnTo>
                  <a:close/>
                </a:path>
              </a:pathLst>
            </a:custGeom>
            <a:solidFill>
              <a:srgbClr val="53768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/>
                <a:sym typeface="Arial"/>
              </a:endParaRPr>
            </a:p>
          </p:txBody>
        </p:sp>
        <p:sp>
          <p:nvSpPr>
            <p:cNvPr id="534" name="Google Shape;1135;p43">
              <a:extLst>
                <a:ext uri="{FF2B5EF4-FFF2-40B4-BE49-F238E27FC236}">
                  <a16:creationId xmlns="" xmlns:a16="http://schemas.microsoft.com/office/drawing/2014/main" id="{A78BDF8D-2C26-4296-A283-D4BAE8A88DEC}"/>
                </a:ext>
              </a:extLst>
            </p:cNvPr>
            <p:cNvSpPr/>
            <p:nvPr/>
          </p:nvSpPr>
          <p:spPr>
            <a:xfrm>
              <a:off x="5375840" y="2010077"/>
              <a:ext cx="34006" cy="77644"/>
            </a:xfrm>
            <a:custGeom>
              <a:avLst/>
              <a:gdLst/>
              <a:ahLst/>
              <a:cxnLst/>
              <a:rect l="l" t="t" r="r" b="b"/>
              <a:pathLst>
                <a:path w="459" h="1048" extrusionOk="0">
                  <a:moveTo>
                    <a:pt x="0" y="1"/>
                  </a:moveTo>
                  <a:lnTo>
                    <a:pt x="0" y="1047"/>
                  </a:lnTo>
                  <a:lnTo>
                    <a:pt x="459" y="1047"/>
                  </a:lnTo>
                  <a:lnTo>
                    <a:pt x="459" y="1"/>
                  </a:lnTo>
                  <a:close/>
                </a:path>
              </a:pathLst>
            </a:custGeom>
            <a:solidFill>
              <a:srgbClr val="53768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/>
                <a:sym typeface="Arial"/>
              </a:endParaRPr>
            </a:p>
          </p:txBody>
        </p:sp>
        <p:sp>
          <p:nvSpPr>
            <p:cNvPr id="535" name="Google Shape;1136;p43">
              <a:extLst>
                <a:ext uri="{FF2B5EF4-FFF2-40B4-BE49-F238E27FC236}">
                  <a16:creationId xmlns="" xmlns:a16="http://schemas.microsoft.com/office/drawing/2014/main" id="{B48C11C5-01C8-48C4-8C97-C5AF498BBF74}"/>
                </a:ext>
              </a:extLst>
            </p:cNvPr>
            <p:cNvSpPr/>
            <p:nvPr/>
          </p:nvSpPr>
          <p:spPr>
            <a:xfrm>
              <a:off x="5365764" y="2034526"/>
              <a:ext cx="54084" cy="28746"/>
            </a:xfrm>
            <a:custGeom>
              <a:avLst/>
              <a:gdLst/>
              <a:ahLst/>
              <a:cxnLst/>
              <a:rect l="l" t="t" r="r" b="b"/>
              <a:pathLst>
                <a:path w="730" h="388" extrusionOk="0">
                  <a:moveTo>
                    <a:pt x="1" y="0"/>
                  </a:moveTo>
                  <a:lnTo>
                    <a:pt x="1" y="388"/>
                  </a:lnTo>
                  <a:lnTo>
                    <a:pt x="730" y="388"/>
                  </a:lnTo>
                  <a:lnTo>
                    <a:pt x="730" y="0"/>
                  </a:lnTo>
                  <a:close/>
                </a:path>
              </a:pathLst>
            </a:custGeom>
            <a:solidFill>
              <a:srgbClr val="8EAFF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/>
                <a:sym typeface="Arial"/>
              </a:endParaRPr>
            </a:p>
          </p:txBody>
        </p:sp>
        <p:sp>
          <p:nvSpPr>
            <p:cNvPr id="536" name="Google Shape;1137;p43">
              <a:extLst>
                <a:ext uri="{FF2B5EF4-FFF2-40B4-BE49-F238E27FC236}">
                  <a16:creationId xmlns="" xmlns:a16="http://schemas.microsoft.com/office/drawing/2014/main" id="{BCD9D7C8-EFF9-4518-B1BE-6E18C94DF055}"/>
                </a:ext>
              </a:extLst>
            </p:cNvPr>
            <p:cNvSpPr/>
            <p:nvPr/>
          </p:nvSpPr>
          <p:spPr>
            <a:xfrm>
              <a:off x="4430404" y="2387184"/>
              <a:ext cx="97129" cy="84460"/>
            </a:xfrm>
            <a:custGeom>
              <a:avLst/>
              <a:gdLst/>
              <a:ahLst/>
              <a:cxnLst/>
              <a:rect l="l" t="t" r="r" b="b"/>
              <a:pathLst>
                <a:path w="1311" h="1140" extrusionOk="0">
                  <a:moveTo>
                    <a:pt x="386" y="0"/>
                  </a:moveTo>
                  <a:cubicBezTo>
                    <a:pt x="362" y="0"/>
                    <a:pt x="347" y="1"/>
                    <a:pt x="347" y="1"/>
                  </a:cubicBezTo>
                  <a:lnTo>
                    <a:pt x="0" y="465"/>
                  </a:lnTo>
                  <a:cubicBezTo>
                    <a:pt x="443" y="971"/>
                    <a:pt x="748" y="1139"/>
                    <a:pt x="942" y="1139"/>
                  </a:cubicBezTo>
                  <a:cubicBezTo>
                    <a:pt x="1311" y="1139"/>
                    <a:pt x="1278" y="529"/>
                    <a:pt x="1035" y="483"/>
                  </a:cubicBezTo>
                  <a:cubicBezTo>
                    <a:pt x="659" y="413"/>
                    <a:pt x="653" y="301"/>
                    <a:pt x="653" y="301"/>
                  </a:cubicBezTo>
                  <a:lnTo>
                    <a:pt x="770" y="107"/>
                  </a:lnTo>
                  <a:cubicBezTo>
                    <a:pt x="670" y="11"/>
                    <a:pt x="470" y="0"/>
                    <a:pt x="386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/>
                <a:sym typeface="Arial"/>
              </a:endParaRPr>
            </a:p>
          </p:txBody>
        </p:sp>
        <p:sp>
          <p:nvSpPr>
            <p:cNvPr id="537" name="Google Shape;1138;p43">
              <a:extLst>
                <a:ext uri="{FF2B5EF4-FFF2-40B4-BE49-F238E27FC236}">
                  <a16:creationId xmlns="" xmlns:a16="http://schemas.microsoft.com/office/drawing/2014/main" id="{BF17AB38-B4B2-442B-A929-F9DAF12A5DC2}"/>
                </a:ext>
              </a:extLst>
            </p:cNvPr>
            <p:cNvSpPr/>
            <p:nvPr/>
          </p:nvSpPr>
          <p:spPr>
            <a:xfrm>
              <a:off x="4716532" y="2387110"/>
              <a:ext cx="97129" cy="84534"/>
            </a:xfrm>
            <a:custGeom>
              <a:avLst/>
              <a:gdLst/>
              <a:ahLst/>
              <a:cxnLst/>
              <a:rect l="l" t="t" r="r" b="b"/>
              <a:pathLst>
                <a:path w="1311" h="1141" extrusionOk="0">
                  <a:moveTo>
                    <a:pt x="917" y="0"/>
                  </a:moveTo>
                  <a:cubicBezTo>
                    <a:pt x="831" y="0"/>
                    <a:pt x="664" y="13"/>
                    <a:pt x="570" y="102"/>
                  </a:cubicBezTo>
                  <a:lnTo>
                    <a:pt x="653" y="308"/>
                  </a:lnTo>
                  <a:cubicBezTo>
                    <a:pt x="653" y="308"/>
                    <a:pt x="653" y="414"/>
                    <a:pt x="276" y="484"/>
                  </a:cubicBezTo>
                  <a:cubicBezTo>
                    <a:pt x="33" y="530"/>
                    <a:pt x="0" y="1140"/>
                    <a:pt x="370" y="1140"/>
                  </a:cubicBezTo>
                  <a:cubicBezTo>
                    <a:pt x="563" y="1140"/>
                    <a:pt x="868" y="972"/>
                    <a:pt x="1311" y="466"/>
                  </a:cubicBezTo>
                  <a:lnTo>
                    <a:pt x="970" y="2"/>
                  </a:lnTo>
                  <a:cubicBezTo>
                    <a:pt x="970" y="2"/>
                    <a:pt x="949" y="0"/>
                    <a:pt x="91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/>
                <a:sym typeface="Arial"/>
              </a:endParaRPr>
            </a:p>
          </p:txBody>
        </p:sp>
        <p:sp>
          <p:nvSpPr>
            <p:cNvPr id="538" name="Google Shape;1139;p43">
              <a:extLst>
                <a:ext uri="{FF2B5EF4-FFF2-40B4-BE49-F238E27FC236}">
                  <a16:creationId xmlns="" xmlns:a16="http://schemas.microsoft.com/office/drawing/2014/main" id="{D005C257-40C0-4A8E-8FFB-E7ED2AEE10B3}"/>
                </a:ext>
              </a:extLst>
            </p:cNvPr>
            <p:cNvSpPr/>
            <p:nvPr/>
          </p:nvSpPr>
          <p:spPr>
            <a:xfrm>
              <a:off x="4696009" y="1941768"/>
              <a:ext cx="289238" cy="485125"/>
            </a:xfrm>
            <a:custGeom>
              <a:avLst/>
              <a:gdLst/>
              <a:ahLst/>
              <a:cxnLst/>
              <a:rect l="l" t="t" r="r" b="b"/>
              <a:pathLst>
                <a:path w="3904" h="6548" extrusionOk="0">
                  <a:moveTo>
                    <a:pt x="1" y="0"/>
                  </a:moveTo>
                  <a:lnTo>
                    <a:pt x="1247" y="2439"/>
                  </a:lnTo>
                  <a:lnTo>
                    <a:pt x="2581" y="3733"/>
                  </a:lnTo>
                  <a:lnTo>
                    <a:pt x="1241" y="6007"/>
                  </a:lnTo>
                  <a:lnTo>
                    <a:pt x="1647" y="6548"/>
                  </a:lnTo>
                  <a:cubicBezTo>
                    <a:pt x="1647" y="6548"/>
                    <a:pt x="3904" y="3844"/>
                    <a:pt x="3904" y="3462"/>
                  </a:cubicBezTo>
                  <a:cubicBezTo>
                    <a:pt x="3904" y="3086"/>
                    <a:pt x="1582" y="788"/>
                    <a:pt x="1582" y="788"/>
                  </a:cubicBezTo>
                  <a:cubicBezTo>
                    <a:pt x="1582" y="788"/>
                    <a:pt x="1447" y="547"/>
                    <a:pt x="1" y="0"/>
                  </a:cubicBezTo>
                  <a:close/>
                </a:path>
              </a:pathLst>
            </a:custGeom>
            <a:solidFill>
              <a:srgbClr val="8EAFF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/>
                <a:sym typeface="Arial"/>
              </a:endParaRPr>
            </a:p>
          </p:txBody>
        </p:sp>
        <p:sp>
          <p:nvSpPr>
            <p:cNvPr id="539" name="Google Shape;1140;p43">
              <a:extLst>
                <a:ext uri="{FF2B5EF4-FFF2-40B4-BE49-F238E27FC236}">
                  <a16:creationId xmlns="" xmlns:a16="http://schemas.microsoft.com/office/drawing/2014/main" id="{26698F2C-609C-4C39-8997-210EA7416B4B}"/>
                </a:ext>
              </a:extLst>
            </p:cNvPr>
            <p:cNvSpPr/>
            <p:nvPr/>
          </p:nvSpPr>
          <p:spPr>
            <a:xfrm>
              <a:off x="4356390" y="2342360"/>
              <a:ext cx="434671" cy="1124056"/>
            </a:xfrm>
            <a:custGeom>
              <a:avLst/>
              <a:gdLst/>
              <a:ahLst/>
              <a:cxnLst/>
              <a:rect l="l" t="t" r="r" b="b"/>
              <a:pathLst>
                <a:path w="5867" h="15172" extrusionOk="0">
                  <a:moveTo>
                    <a:pt x="2275" y="1"/>
                  </a:moveTo>
                  <a:cubicBezTo>
                    <a:pt x="2275" y="1"/>
                    <a:pt x="1017" y="1535"/>
                    <a:pt x="1082" y="2616"/>
                  </a:cubicBezTo>
                  <a:cubicBezTo>
                    <a:pt x="1152" y="3692"/>
                    <a:pt x="0" y="15171"/>
                    <a:pt x="0" y="15171"/>
                  </a:cubicBezTo>
                  <a:lnTo>
                    <a:pt x="811" y="15171"/>
                  </a:lnTo>
                  <a:lnTo>
                    <a:pt x="3415" y="4280"/>
                  </a:lnTo>
                  <a:cubicBezTo>
                    <a:pt x="3426" y="4224"/>
                    <a:pt x="3470" y="4198"/>
                    <a:pt x="3515" y="4198"/>
                  </a:cubicBezTo>
                  <a:cubicBezTo>
                    <a:pt x="3569" y="4198"/>
                    <a:pt x="3624" y="4236"/>
                    <a:pt x="3621" y="4303"/>
                  </a:cubicBezTo>
                  <a:lnTo>
                    <a:pt x="3509" y="15171"/>
                  </a:lnTo>
                  <a:lnTo>
                    <a:pt x="4444" y="15171"/>
                  </a:lnTo>
                  <a:cubicBezTo>
                    <a:pt x="4444" y="15171"/>
                    <a:pt x="5866" y="3809"/>
                    <a:pt x="5866" y="2740"/>
                  </a:cubicBezTo>
                  <a:cubicBezTo>
                    <a:pt x="5866" y="1241"/>
                    <a:pt x="5073" y="1"/>
                    <a:pt x="5073" y="1"/>
                  </a:cubicBezTo>
                  <a:cubicBezTo>
                    <a:pt x="5073" y="1"/>
                    <a:pt x="4164" y="155"/>
                    <a:pt x="3335" y="155"/>
                  </a:cubicBezTo>
                  <a:cubicBezTo>
                    <a:pt x="2920" y="155"/>
                    <a:pt x="2526" y="116"/>
                    <a:pt x="2275" y="1"/>
                  </a:cubicBezTo>
                  <a:close/>
                </a:path>
              </a:pathLst>
            </a:custGeom>
            <a:solidFill>
              <a:srgbClr val="26499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/>
                <a:sym typeface="Arial"/>
              </a:endParaRPr>
            </a:p>
          </p:txBody>
        </p:sp>
        <p:sp>
          <p:nvSpPr>
            <p:cNvPr id="540" name="Google Shape;1141;p43">
              <a:extLst>
                <a:ext uri="{FF2B5EF4-FFF2-40B4-BE49-F238E27FC236}">
                  <a16:creationId xmlns="" xmlns:a16="http://schemas.microsoft.com/office/drawing/2014/main" id="{AB11A32F-652E-499C-8130-BB33C58BA325}"/>
                </a:ext>
              </a:extLst>
            </p:cNvPr>
            <p:cNvSpPr/>
            <p:nvPr/>
          </p:nvSpPr>
          <p:spPr>
            <a:xfrm>
              <a:off x="4524866" y="2284424"/>
              <a:ext cx="207371" cy="79792"/>
            </a:xfrm>
            <a:custGeom>
              <a:avLst/>
              <a:gdLst/>
              <a:ahLst/>
              <a:cxnLst/>
              <a:rect l="l" t="t" r="r" b="b"/>
              <a:pathLst>
                <a:path w="2799" h="1077" extrusionOk="0">
                  <a:moveTo>
                    <a:pt x="1400" y="1"/>
                  </a:moveTo>
                  <a:lnTo>
                    <a:pt x="1" y="107"/>
                  </a:lnTo>
                  <a:lnTo>
                    <a:pt x="1" y="783"/>
                  </a:lnTo>
                  <a:cubicBezTo>
                    <a:pt x="1" y="783"/>
                    <a:pt x="89" y="1077"/>
                    <a:pt x="1400" y="1077"/>
                  </a:cubicBezTo>
                  <a:cubicBezTo>
                    <a:pt x="2711" y="1077"/>
                    <a:pt x="2799" y="783"/>
                    <a:pt x="2799" y="783"/>
                  </a:cubicBezTo>
                  <a:lnTo>
                    <a:pt x="2799" y="107"/>
                  </a:lnTo>
                  <a:lnTo>
                    <a:pt x="1400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/>
                <a:sym typeface="Arial"/>
              </a:endParaRPr>
            </a:p>
          </p:txBody>
        </p:sp>
        <p:sp>
          <p:nvSpPr>
            <p:cNvPr id="541" name="Google Shape;1142;p43">
              <a:extLst>
                <a:ext uri="{FF2B5EF4-FFF2-40B4-BE49-F238E27FC236}">
                  <a16:creationId xmlns="" xmlns:a16="http://schemas.microsoft.com/office/drawing/2014/main" id="{95F43A43-C8DC-46E2-9C9A-38E6DC7A5F9A}"/>
                </a:ext>
              </a:extLst>
            </p:cNvPr>
            <p:cNvSpPr/>
            <p:nvPr/>
          </p:nvSpPr>
          <p:spPr>
            <a:xfrm>
              <a:off x="4430404" y="1929543"/>
              <a:ext cx="382440" cy="618853"/>
            </a:xfrm>
            <a:custGeom>
              <a:avLst/>
              <a:gdLst/>
              <a:ahLst/>
              <a:cxnLst/>
              <a:rect l="l" t="t" r="r" b="b"/>
              <a:pathLst>
                <a:path w="5162" h="8353" extrusionOk="0">
                  <a:moveTo>
                    <a:pt x="2146" y="1"/>
                  </a:moveTo>
                  <a:cubicBezTo>
                    <a:pt x="2146" y="1"/>
                    <a:pt x="811" y="512"/>
                    <a:pt x="682" y="941"/>
                  </a:cubicBezTo>
                  <a:cubicBezTo>
                    <a:pt x="553" y="1370"/>
                    <a:pt x="188" y="2845"/>
                    <a:pt x="953" y="3380"/>
                  </a:cubicBezTo>
                  <a:cubicBezTo>
                    <a:pt x="953" y="3380"/>
                    <a:pt x="94" y="7077"/>
                    <a:pt x="0" y="7836"/>
                  </a:cubicBezTo>
                  <a:cubicBezTo>
                    <a:pt x="0" y="7836"/>
                    <a:pt x="1399" y="8353"/>
                    <a:pt x="2498" y="8353"/>
                  </a:cubicBezTo>
                  <a:cubicBezTo>
                    <a:pt x="3603" y="8353"/>
                    <a:pt x="4996" y="7836"/>
                    <a:pt x="4996" y="7836"/>
                  </a:cubicBezTo>
                  <a:cubicBezTo>
                    <a:pt x="4902" y="7077"/>
                    <a:pt x="4397" y="3380"/>
                    <a:pt x="4397" y="3380"/>
                  </a:cubicBezTo>
                  <a:cubicBezTo>
                    <a:pt x="5161" y="2845"/>
                    <a:pt x="4797" y="1370"/>
                    <a:pt x="4667" y="941"/>
                  </a:cubicBezTo>
                  <a:cubicBezTo>
                    <a:pt x="4538" y="512"/>
                    <a:pt x="3204" y="1"/>
                    <a:pt x="3204" y="1"/>
                  </a:cubicBezTo>
                  <a:lnTo>
                    <a:pt x="2675" y="118"/>
                  </a:lnTo>
                  <a:lnTo>
                    <a:pt x="2146" y="1"/>
                  </a:lnTo>
                  <a:close/>
                </a:path>
              </a:pathLst>
            </a:custGeom>
            <a:solidFill>
              <a:srgbClr val="8EAFF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/>
                <a:sym typeface="Arial"/>
              </a:endParaRPr>
            </a:p>
          </p:txBody>
        </p:sp>
        <p:sp>
          <p:nvSpPr>
            <p:cNvPr id="542" name="Google Shape;1143;p43">
              <a:extLst>
                <a:ext uri="{FF2B5EF4-FFF2-40B4-BE49-F238E27FC236}">
                  <a16:creationId xmlns="" xmlns:a16="http://schemas.microsoft.com/office/drawing/2014/main" id="{8FE30CB0-CE92-432F-9D9B-6CDE49D20B6D}"/>
                </a:ext>
              </a:extLst>
            </p:cNvPr>
            <p:cNvSpPr/>
            <p:nvPr/>
          </p:nvSpPr>
          <p:spPr>
            <a:xfrm>
              <a:off x="4271856" y="1941768"/>
              <a:ext cx="289238" cy="482976"/>
            </a:xfrm>
            <a:custGeom>
              <a:avLst/>
              <a:gdLst/>
              <a:ahLst/>
              <a:cxnLst/>
              <a:rect l="l" t="t" r="r" b="b"/>
              <a:pathLst>
                <a:path w="3904" h="6519" extrusionOk="0">
                  <a:moveTo>
                    <a:pt x="3904" y="0"/>
                  </a:moveTo>
                  <a:lnTo>
                    <a:pt x="3904" y="0"/>
                  </a:lnTo>
                  <a:cubicBezTo>
                    <a:pt x="2458" y="547"/>
                    <a:pt x="2323" y="788"/>
                    <a:pt x="2323" y="788"/>
                  </a:cubicBezTo>
                  <a:cubicBezTo>
                    <a:pt x="2323" y="788"/>
                    <a:pt x="1" y="3086"/>
                    <a:pt x="1" y="3462"/>
                  </a:cubicBezTo>
                  <a:cubicBezTo>
                    <a:pt x="1" y="3844"/>
                    <a:pt x="2105" y="6519"/>
                    <a:pt x="2105" y="6519"/>
                  </a:cubicBezTo>
                  <a:lnTo>
                    <a:pt x="2511" y="5978"/>
                  </a:lnTo>
                  <a:lnTo>
                    <a:pt x="1323" y="3733"/>
                  </a:lnTo>
                  <a:lnTo>
                    <a:pt x="2658" y="2439"/>
                  </a:lnTo>
                  <a:lnTo>
                    <a:pt x="3904" y="0"/>
                  </a:lnTo>
                  <a:close/>
                </a:path>
              </a:pathLst>
            </a:custGeom>
            <a:solidFill>
              <a:srgbClr val="8EAFF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/>
                <a:sym typeface="Arial"/>
              </a:endParaRPr>
            </a:p>
          </p:txBody>
        </p:sp>
        <p:sp>
          <p:nvSpPr>
            <p:cNvPr id="543" name="Google Shape;1144;p43">
              <a:extLst>
                <a:ext uri="{FF2B5EF4-FFF2-40B4-BE49-F238E27FC236}">
                  <a16:creationId xmlns="" xmlns:a16="http://schemas.microsoft.com/office/drawing/2014/main" id="{D5DC271E-314E-4CD7-BBF7-89504244BC0C}"/>
                </a:ext>
              </a:extLst>
            </p:cNvPr>
            <p:cNvSpPr/>
            <p:nvPr/>
          </p:nvSpPr>
          <p:spPr>
            <a:xfrm>
              <a:off x="4440258" y="1936656"/>
              <a:ext cx="131283" cy="185886"/>
            </a:xfrm>
            <a:custGeom>
              <a:avLst/>
              <a:gdLst/>
              <a:ahLst/>
              <a:cxnLst/>
              <a:rect l="l" t="t" r="r" b="b"/>
              <a:pathLst>
                <a:path w="1772" h="2509" extrusionOk="0">
                  <a:moveTo>
                    <a:pt x="1674" y="0"/>
                  </a:moveTo>
                  <a:cubicBezTo>
                    <a:pt x="1301" y="0"/>
                    <a:pt x="1" y="165"/>
                    <a:pt x="385" y="2508"/>
                  </a:cubicBezTo>
                  <a:cubicBezTo>
                    <a:pt x="390" y="1492"/>
                    <a:pt x="914" y="551"/>
                    <a:pt x="1772" y="4"/>
                  </a:cubicBezTo>
                  <a:cubicBezTo>
                    <a:pt x="1772" y="4"/>
                    <a:pt x="1735" y="0"/>
                    <a:pt x="1674" y="0"/>
                  </a:cubicBezTo>
                  <a:close/>
                </a:path>
              </a:pathLst>
            </a:custGeom>
            <a:solidFill>
              <a:srgbClr val="EE794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/>
                <a:sym typeface="Arial"/>
              </a:endParaRPr>
            </a:p>
          </p:txBody>
        </p:sp>
        <p:sp>
          <p:nvSpPr>
            <p:cNvPr id="544" name="Google Shape;1145;p43">
              <a:extLst>
                <a:ext uri="{FF2B5EF4-FFF2-40B4-BE49-F238E27FC236}">
                  <a16:creationId xmlns="" xmlns:a16="http://schemas.microsoft.com/office/drawing/2014/main" id="{323D939E-1DE2-4FDE-BF26-514219F07E2E}"/>
                </a:ext>
              </a:extLst>
            </p:cNvPr>
            <p:cNvSpPr/>
            <p:nvPr/>
          </p:nvSpPr>
          <p:spPr>
            <a:xfrm>
              <a:off x="4685563" y="1936656"/>
              <a:ext cx="131283" cy="185886"/>
            </a:xfrm>
            <a:custGeom>
              <a:avLst/>
              <a:gdLst/>
              <a:ahLst/>
              <a:cxnLst/>
              <a:rect l="l" t="t" r="r" b="b"/>
              <a:pathLst>
                <a:path w="1772" h="2509" extrusionOk="0">
                  <a:moveTo>
                    <a:pt x="98" y="0"/>
                  </a:moveTo>
                  <a:cubicBezTo>
                    <a:pt x="37" y="0"/>
                    <a:pt x="1" y="4"/>
                    <a:pt x="1" y="4"/>
                  </a:cubicBezTo>
                  <a:cubicBezTo>
                    <a:pt x="859" y="551"/>
                    <a:pt x="1382" y="1492"/>
                    <a:pt x="1388" y="2508"/>
                  </a:cubicBezTo>
                  <a:cubicBezTo>
                    <a:pt x="1772" y="165"/>
                    <a:pt x="472" y="0"/>
                    <a:pt x="98" y="0"/>
                  </a:cubicBezTo>
                  <a:close/>
                </a:path>
              </a:pathLst>
            </a:custGeom>
            <a:solidFill>
              <a:srgbClr val="EE794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/>
                <a:sym typeface="Arial"/>
              </a:endParaRPr>
            </a:p>
          </p:txBody>
        </p:sp>
        <p:sp>
          <p:nvSpPr>
            <p:cNvPr id="545" name="Google Shape;1146;p43">
              <a:extLst>
                <a:ext uri="{FF2B5EF4-FFF2-40B4-BE49-F238E27FC236}">
                  <a16:creationId xmlns="" xmlns:a16="http://schemas.microsoft.com/office/drawing/2014/main" id="{2EDFD6FD-460C-4409-9217-C348388F6A4F}"/>
                </a:ext>
              </a:extLst>
            </p:cNvPr>
            <p:cNvSpPr/>
            <p:nvPr/>
          </p:nvSpPr>
          <p:spPr>
            <a:xfrm>
              <a:off x="4230960" y="3465902"/>
              <a:ext cx="179440" cy="82830"/>
            </a:xfrm>
            <a:custGeom>
              <a:avLst/>
              <a:gdLst/>
              <a:ahLst/>
              <a:cxnLst/>
              <a:rect l="l" t="t" r="r" b="b"/>
              <a:pathLst>
                <a:path w="2422" h="1118" extrusionOk="0">
                  <a:moveTo>
                    <a:pt x="1764" y="0"/>
                  </a:moveTo>
                  <a:lnTo>
                    <a:pt x="1693" y="300"/>
                  </a:lnTo>
                  <a:lnTo>
                    <a:pt x="71" y="982"/>
                  </a:lnTo>
                  <a:cubicBezTo>
                    <a:pt x="0" y="1017"/>
                    <a:pt x="24" y="1117"/>
                    <a:pt x="94" y="1117"/>
                  </a:cubicBezTo>
                  <a:lnTo>
                    <a:pt x="2275" y="1117"/>
                  </a:lnTo>
                  <a:lnTo>
                    <a:pt x="2422" y="6"/>
                  </a:lnTo>
                  <a:lnTo>
                    <a:pt x="1764" y="0"/>
                  </a:lnTo>
                  <a:close/>
                </a:path>
              </a:pathLst>
            </a:custGeom>
            <a:solidFill>
              <a:srgbClr val="42619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/>
                <a:sym typeface="Arial"/>
              </a:endParaRPr>
            </a:p>
          </p:txBody>
        </p:sp>
        <p:sp>
          <p:nvSpPr>
            <p:cNvPr id="546" name="Google Shape;1147;p43">
              <a:extLst>
                <a:ext uri="{FF2B5EF4-FFF2-40B4-BE49-F238E27FC236}">
                  <a16:creationId xmlns="" xmlns:a16="http://schemas.microsoft.com/office/drawing/2014/main" id="{27FDF49B-416A-4FC4-BFB7-B5D5EEAFC658}"/>
                </a:ext>
              </a:extLst>
            </p:cNvPr>
            <p:cNvSpPr/>
            <p:nvPr/>
          </p:nvSpPr>
          <p:spPr>
            <a:xfrm>
              <a:off x="4625922" y="3466347"/>
              <a:ext cx="156843" cy="82385"/>
            </a:xfrm>
            <a:custGeom>
              <a:avLst/>
              <a:gdLst/>
              <a:ahLst/>
              <a:cxnLst/>
              <a:rect l="l" t="t" r="r" b="b"/>
              <a:pathLst>
                <a:path w="2117" h="1112" extrusionOk="0">
                  <a:moveTo>
                    <a:pt x="0" y="0"/>
                  </a:moveTo>
                  <a:lnTo>
                    <a:pt x="0" y="1111"/>
                  </a:lnTo>
                  <a:lnTo>
                    <a:pt x="2117" y="1111"/>
                  </a:lnTo>
                  <a:lnTo>
                    <a:pt x="723" y="329"/>
                  </a:lnTo>
                  <a:lnTo>
                    <a:pt x="723" y="0"/>
                  </a:lnTo>
                  <a:close/>
                </a:path>
              </a:pathLst>
            </a:custGeom>
            <a:solidFill>
              <a:srgbClr val="42619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/>
                <a:sym typeface="Arial"/>
              </a:endParaRPr>
            </a:p>
          </p:txBody>
        </p:sp>
        <p:sp>
          <p:nvSpPr>
            <p:cNvPr id="547" name="Google Shape;1148;p43">
              <a:extLst>
                <a:ext uri="{FF2B5EF4-FFF2-40B4-BE49-F238E27FC236}">
                  <a16:creationId xmlns="" xmlns:a16="http://schemas.microsoft.com/office/drawing/2014/main" id="{0DC99E92-856F-48A6-AE6C-9ABFD5A1602D}"/>
                </a:ext>
              </a:extLst>
            </p:cNvPr>
            <p:cNvSpPr/>
            <p:nvPr/>
          </p:nvSpPr>
          <p:spPr>
            <a:xfrm>
              <a:off x="4397954" y="1663494"/>
              <a:ext cx="379550" cy="244192"/>
            </a:xfrm>
            <a:custGeom>
              <a:avLst/>
              <a:gdLst/>
              <a:ahLst/>
              <a:cxnLst/>
              <a:rect l="l" t="t" r="r" b="b"/>
              <a:pathLst>
                <a:path w="5123" h="3296" extrusionOk="0">
                  <a:moveTo>
                    <a:pt x="3113" y="0"/>
                  </a:moveTo>
                  <a:cubicBezTo>
                    <a:pt x="665" y="0"/>
                    <a:pt x="1" y="3296"/>
                    <a:pt x="1247" y="3296"/>
                  </a:cubicBezTo>
                  <a:cubicBezTo>
                    <a:pt x="1272" y="3296"/>
                    <a:pt x="1299" y="3295"/>
                    <a:pt x="1326" y="3292"/>
                  </a:cubicBezTo>
                  <a:cubicBezTo>
                    <a:pt x="2672" y="3157"/>
                    <a:pt x="3360" y="1017"/>
                    <a:pt x="3360" y="1017"/>
                  </a:cubicBezTo>
                  <a:cubicBezTo>
                    <a:pt x="3495" y="1558"/>
                    <a:pt x="4083" y="1916"/>
                    <a:pt x="4083" y="1916"/>
                  </a:cubicBezTo>
                  <a:cubicBezTo>
                    <a:pt x="5123" y="94"/>
                    <a:pt x="3113" y="0"/>
                    <a:pt x="3113" y="0"/>
                  </a:cubicBezTo>
                  <a:close/>
                </a:path>
              </a:pathLst>
            </a:custGeom>
            <a:solidFill>
              <a:srgbClr val="26499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/>
                <a:sym typeface="Arial"/>
              </a:endParaRPr>
            </a:p>
          </p:txBody>
        </p:sp>
        <p:sp>
          <p:nvSpPr>
            <p:cNvPr id="548" name="Google Shape;1149;p43">
              <a:extLst>
                <a:ext uri="{FF2B5EF4-FFF2-40B4-BE49-F238E27FC236}">
                  <a16:creationId xmlns="" xmlns:a16="http://schemas.microsoft.com/office/drawing/2014/main" id="{FF2CF964-EFC1-4F13-AEA8-06D2622849AC}"/>
                </a:ext>
              </a:extLst>
            </p:cNvPr>
            <p:cNvSpPr/>
            <p:nvPr/>
          </p:nvSpPr>
          <p:spPr>
            <a:xfrm>
              <a:off x="4456113" y="1665642"/>
              <a:ext cx="344951" cy="470826"/>
            </a:xfrm>
            <a:custGeom>
              <a:avLst/>
              <a:gdLst/>
              <a:ahLst/>
              <a:cxnLst/>
              <a:rect l="l" t="t" r="r" b="b"/>
              <a:pathLst>
                <a:path w="4656" h="6355" extrusionOk="0">
                  <a:moveTo>
                    <a:pt x="2328" y="1"/>
                  </a:moveTo>
                  <a:cubicBezTo>
                    <a:pt x="835" y="1"/>
                    <a:pt x="641" y="865"/>
                    <a:pt x="641" y="1934"/>
                  </a:cubicBezTo>
                  <a:cubicBezTo>
                    <a:pt x="641" y="2998"/>
                    <a:pt x="0" y="6354"/>
                    <a:pt x="2328" y="6354"/>
                  </a:cubicBezTo>
                  <a:cubicBezTo>
                    <a:pt x="4655" y="6354"/>
                    <a:pt x="4015" y="2998"/>
                    <a:pt x="4015" y="1934"/>
                  </a:cubicBezTo>
                  <a:cubicBezTo>
                    <a:pt x="4015" y="865"/>
                    <a:pt x="3680" y="1"/>
                    <a:pt x="2328" y="1"/>
                  </a:cubicBezTo>
                  <a:close/>
                </a:path>
              </a:pathLst>
            </a:custGeom>
            <a:solidFill>
              <a:srgbClr val="26499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/>
                <a:sym typeface="Arial"/>
              </a:endParaRPr>
            </a:p>
          </p:txBody>
        </p:sp>
        <p:sp>
          <p:nvSpPr>
            <p:cNvPr id="549" name="Google Shape;1150;p43">
              <a:extLst>
                <a:ext uri="{FF2B5EF4-FFF2-40B4-BE49-F238E27FC236}">
                  <a16:creationId xmlns="" xmlns:a16="http://schemas.microsoft.com/office/drawing/2014/main" id="{BEB51E7F-4706-4352-859A-103A0F55B55C}"/>
                </a:ext>
              </a:extLst>
            </p:cNvPr>
            <p:cNvSpPr/>
            <p:nvPr/>
          </p:nvSpPr>
          <p:spPr>
            <a:xfrm>
              <a:off x="4431293" y="1996148"/>
              <a:ext cx="394590" cy="469567"/>
            </a:xfrm>
            <a:custGeom>
              <a:avLst/>
              <a:gdLst/>
              <a:ahLst/>
              <a:cxnLst/>
              <a:rect l="l" t="t" r="r" b="b"/>
              <a:pathLst>
                <a:path w="5326" h="6338" extrusionOk="0">
                  <a:moveTo>
                    <a:pt x="218" y="1"/>
                  </a:moveTo>
                  <a:cubicBezTo>
                    <a:pt x="100" y="1"/>
                    <a:pt x="0" y="95"/>
                    <a:pt x="0" y="218"/>
                  </a:cubicBezTo>
                  <a:lnTo>
                    <a:pt x="0" y="6125"/>
                  </a:lnTo>
                  <a:cubicBezTo>
                    <a:pt x="0" y="6243"/>
                    <a:pt x="100" y="6337"/>
                    <a:pt x="218" y="6337"/>
                  </a:cubicBezTo>
                  <a:lnTo>
                    <a:pt x="5108" y="6337"/>
                  </a:lnTo>
                  <a:cubicBezTo>
                    <a:pt x="5225" y="6337"/>
                    <a:pt x="5325" y="6243"/>
                    <a:pt x="5325" y="6125"/>
                  </a:cubicBezTo>
                  <a:lnTo>
                    <a:pt x="5325" y="218"/>
                  </a:lnTo>
                  <a:cubicBezTo>
                    <a:pt x="5325" y="101"/>
                    <a:pt x="5225" y="1"/>
                    <a:pt x="5108" y="1"/>
                  </a:cubicBezTo>
                  <a:close/>
                </a:path>
              </a:pathLst>
            </a:custGeom>
            <a:solidFill>
              <a:srgbClr val="F4996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/>
                <a:sym typeface="Arial"/>
              </a:endParaRPr>
            </a:p>
          </p:txBody>
        </p:sp>
        <p:sp>
          <p:nvSpPr>
            <p:cNvPr id="550" name="Google Shape;1151;p43">
              <a:extLst>
                <a:ext uri="{FF2B5EF4-FFF2-40B4-BE49-F238E27FC236}">
                  <a16:creationId xmlns="" xmlns:a16="http://schemas.microsoft.com/office/drawing/2014/main" id="{A0297C5D-4F56-4688-BC0D-04B3A4D73E58}"/>
                </a:ext>
              </a:extLst>
            </p:cNvPr>
            <p:cNvSpPr/>
            <p:nvPr/>
          </p:nvSpPr>
          <p:spPr>
            <a:xfrm>
              <a:off x="4480043" y="2223894"/>
              <a:ext cx="297091" cy="198258"/>
            </a:xfrm>
            <a:custGeom>
              <a:avLst/>
              <a:gdLst/>
              <a:ahLst/>
              <a:cxnLst/>
              <a:rect l="l" t="t" r="r" b="b"/>
              <a:pathLst>
                <a:path w="4010" h="2676" extrusionOk="0">
                  <a:moveTo>
                    <a:pt x="89" y="1"/>
                  </a:moveTo>
                  <a:cubicBezTo>
                    <a:pt x="36" y="1"/>
                    <a:pt x="0" y="42"/>
                    <a:pt x="0" y="89"/>
                  </a:cubicBezTo>
                  <a:lnTo>
                    <a:pt x="0" y="2587"/>
                  </a:lnTo>
                  <a:cubicBezTo>
                    <a:pt x="0" y="2634"/>
                    <a:pt x="36" y="2675"/>
                    <a:pt x="89" y="2675"/>
                  </a:cubicBezTo>
                  <a:lnTo>
                    <a:pt x="3915" y="2675"/>
                  </a:lnTo>
                  <a:cubicBezTo>
                    <a:pt x="3968" y="2675"/>
                    <a:pt x="4009" y="2634"/>
                    <a:pt x="4009" y="2587"/>
                  </a:cubicBezTo>
                  <a:lnTo>
                    <a:pt x="4009" y="89"/>
                  </a:lnTo>
                  <a:cubicBezTo>
                    <a:pt x="4009" y="42"/>
                    <a:pt x="3968" y="1"/>
                    <a:pt x="3915" y="1"/>
                  </a:cubicBezTo>
                  <a:close/>
                </a:path>
              </a:pathLst>
            </a:custGeom>
            <a:solidFill>
              <a:srgbClr val="F5CEBA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/>
                <a:sym typeface="Arial"/>
              </a:endParaRPr>
            </a:p>
          </p:txBody>
        </p:sp>
        <p:sp>
          <p:nvSpPr>
            <p:cNvPr id="551" name="Google Shape;1152;p43">
              <a:extLst>
                <a:ext uri="{FF2B5EF4-FFF2-40B4-BE49-F238E27FC236}">
                  <a16:creationId xmlns="" xmlns:a16="http://schemas.microsoft.com/office/drawing/2014/main" id="{E60C1283-24BA-48E0-B9DA-56514426BBC3}"/>
                </a:ext>
              </a:extLst>
            </p:cNvPr>
            <p:cNvSpPr/>
            <p:nvPr/>
          </p:nvSpPr>
          <p:spPr>
            <a:xfrm>
              <a:off x="4480043" y="2303168"/>
              <a:ext cx="297091" cy="10076"/>
            </a:xfrm>
            <a:custGeom>
              <a:avLst/>
              <a:gdLst/>
              <a:ahLst/>
              <a:cxnLst/>
              <a:rect l="l" t="t" r="r" b="b"/>
              <a:pathLst>
                <a:path w="4010" h="136" extrusionOk="0">
                  <a:moveTo>
                    <a:pt x="0" y="1"/>
                  </a:moveTo>
                  <a:lnTo>
                    <a:pt x="0" y="136"/>
                  </a:lnTo>
                  <a:lnTo>
                    <a:pt x="4009" y="136"/>
                  </a:lnTo>
                  <a:lnTo>
                    <a:pt x="4009" y="1"/>
                  </a:lnTo>
                  <a:close/>
                </a:path>
              </a:pathLst>
            </a:custGeom>
            <a:solidFill>
              <a:srgbClr val="26499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/>
                <a:sym typeface="Arial"/>
              </a:endParaRPr>
            </a:p>
          </p:txBody>
        </p:sp>
        <p:sp>
          <p:nvSpPr>
            <p:cNvPr id="552" name="Google Shape;1153;p43">
              <a:extLst>
                <a:ext uri="{FF2B5EF4-FFF2-40B4-BE49-F238E27FC236}">
                  <a16:creationId xmlns="" xmlns:a16="http://schemas.microsoft.com/office/drawing/2014/main" id="{02AFA0F1-5EA5-4D3F-AD8F-EAE3FBA8F39E}"/>
                </a:ext>
              </a:extLst>
            </p:cNvPr>
            <p:cNvSpPr/>
            <p:nvPr/>
          </p:nvSpPr>
          <p:spPr>
            <a:xfrm>
              <a:off x="4380321" y="2265309"/>
              <a:ext cx="51417" cy="156399"/>
            </a:xfrm>
            <a:custGeom>
              <a:avLst/>
              <a:gdLst/>
              <a:ahLst/>
              <a:cxnLst/>
              <a:rect l="l" t="t" r="r" b="b"/>
              <a:pathLst>
                <a:path w="694" h="2111" extrusionOk="0">
                  <a:moveTo>
                    <a:pt x="218" y="0"/>
                  </a:moveTo>
                  <a:cubicBezTo>
                    <a:pt x="100" y="0"/>
                    <a:pt x="0" y="94"/>
                    <a:pt x="0" y="218"/>
                  </a:cubicBezTo>
                  <a:lnTo>
                    <a:pt x="0" y="1893"/>
                  </a:lnTo>
                  <a:cubicBezTo>
                    <a:pt x="0" y="2011"/>
                    <a:pt x="100" y="2110"/>
                    <a:pt x="218" y="2110"/>
                  </a:cubicBezTo>
                  <a:lnTo>
                    <a:pt x="694" y="2110"/>
                  </a:lnTo>
                  <a:lnTo>
                    <a:pt x="694" y="0"/>
                  </a:lnTo>
                  <a:close/>
                </a:path>
              </a:pathLst>
            </a:custGeom>
            <a:solidFill>
              <a:srgbClr val="EE794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/>
                <a:sym typeface="Arial"/>
              </a:endParaRPr>
            </a:p>
          </p:txBody>
        </p:sp>
        <p:sp>
          <p:nvSpPr>
            <p:cNvPr id="553" name="Google Shape;1154;p43">
              <a:extLst>
                <a:ext uri="{FF2B5EF4-FFF2-40B4-BE49-F238E27FC236}">
                  <a16:creationId xmlns="" xmlns:a16="http://schemas.microsoft.com/office/drawing/2014/main" id="{628B3CC5-0EE7-4D49-A9D2-EDB35039505F}"/>
                </a:ext>
              </a:extLst>
            </p:cNvPr>
            <p:cNvSpPr/>
            <p:nvPr/>
          </p:nvSpPr>
          <p:spPr>
            <a:xfrm>
              <a:off x="4380321" y="2327987"/>
              <a:ext cx="51417" cy="7927"/>
            </a:xfrm>
            <a:custGeom>
              <a:avLst/>
              <a:gdLst/>
              <a:ahLst/>
              <a:cxnLst/>
              <a:rect l="l" t="t" r="r" b="b"/>
              <a:pathLst>
                <a:path w="694" h="107" extrusionOk="0">
                  <a:moveTo>
                    <a:pt x="0" y="1"/>
                  </a:moveTo>
                  <a:lnTo>
                    <a:pt x="0" y="107"/>
                  </a:lnTo>
                  <a:lnTo>
                    <a:pt x="694" y="107"/>
                  </a:lnTo>
                  <a:lnTo>
                    <a:pt x="694" y="1"/>
                  </a:lnTo>
                  <a:close/>
                </a:path>
              </a:pathLst>
            </a:custGeom>
            <a:solidFill>
              <a:srgbClr val="26499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/>
                <a:sym typeface="Arial"/>
              </a:endParaRPr>
            </a:p>
          </p:txBody>
        </p:sp>
        <p:sp>
          <p:nvSpPr>
            <p:cNvPr id="554" name="Google Shape;1155;p43">
              <a:extLst>
                <a:ext uri="{FF2B5EF4-FFF2-40B4-BE49-F238E27FC236}">
                  <a16:creationId xmlns="" xmlns:a16="http://schemas.microsoft.com/office/drawing/2014/main" id="{976FE737-0393-4D96-82B4-1BB486A4FCD1}"/>
                </a:ext>
              </a:extLst>
            </p:cNvPr>
            <p:cNvSpPr/>
            <p:nvPr/>
          </p:nvSpPr>
          <p:spPr>
            <a:xfrm>
              <a:off x="4825367" y="2265309"/>
              <a:ext cx="51491" cy="156399"/>
            </a:xfrm>
            <a:custGeom>
              <a:avLst/>
              <a:gdLst/>
              <a:ahLst/>
              <a:cxnLst/>
              <a:rect l="l" t="t" r="r" b="b"/>
              <a:pathLst>
                <a:path w="695" h="2111" extrusionOk="0">
                  <a:moveTo>
                    <a:pt x="1" y="0"/>
                  </a:moveTo>
                  <a:lnTo>
                    <a:pt x="1" y="2110"/>
                  </a:lnTo>
                  <a:lnTo>
                    <a:pt x="477" y="2110"/>
                  </a:lnTo>
                  <a:cubicBezTo>
                    <a:pt x="594" y="2110"/>
                    <a:pt x="694" y="2011"/>
                    <a:pt x="694" y="1893"/>
                  </a:cubicBezTo>
                  <a:lnTo>
                    <a:pt x="694" y="218"/>
                  </a:lnTo>
                  <a:cubicBezTo>
                    <a:pt x="694" y="94"/>
                    <a:pt x="594" y="0"/>
                    <a:pt x="477" y="0"/>
                  </a:cubicBezTo>
                  <a:close/>
                </a:path>
              </a:pathLst>
            </a:custGeom>
            <a:solidFill>
              <a:srgbClr val="EE794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/>
                <a:sym typeface="Arial"/>
              </a:endParaRPr>
            </a:p>
          </p:txBody>
        </p:sp>
        <p:sp>
          <p:nvSpPr>
            <p:cNvPr id="555" name="Google Shape;1156;p43">
              <a:extLst>
                <a:ext uri="{FF2B5EF4-FFF2-40B4-BE49-F238E27FC236}">
                  <a16:creationId xmlns="" xmlns:a16="http://schemas.microsoft.com/office/drawing/2014/main" id="{4FA5B13F-9B10-4C93-8788-5A3A19999FC7}"/>
                </a:ext>
              </a:extLst>
            </p:cNvPr>
            <p:cNvSpPr/>
            <p:nvPr/>
          </p:nvSpPr>
          <p:spPr>
            <a:xfrm>
              <a:off x="4825367" y="2327987"/>
              <a:ext cx="51491" cy="7927"/>
            </a:xfrm>
            <a:custGeom>
              <a:avLst/>
              <a:gdLst/>
              <a:ahLst/>
              <a:cxnLst/>
              <a:rect l="l" t="t" r="r" b="b"/>
              <a:pathLst>
                <a:path w="695" h="107" extrusionOk="0">
                  <a:moveTo>
                    <a:pt x="1" y="1"/>
                  </a:moveTo>
                  <a:lnTo>
                    <a:pt x="1" y="107"/>
                  </a:lnTo>
                  <a:lnTo>
                    <a:pt x="694" y="107"/>
                  </a:lnTo>
                  <a:lnTo>
                    <a:pt x="694" y="1"/>
                  </a:lnTo>
                  <a:close/>
                </a:path>
              </a:pathLst>
            </a:custGeom>
            <a:solidFill>
              <a:srgbClr val="26499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/>
                <a:sym typeface="Arial"/>
              </a:endParaRPr>
            </a:p>
          </p:txBody>
        </p:sp>
        <p:sp>
          <p:nvSpPr>
            <p:cNvPr id="556" name="Google Shape;1157;p43">
              <a:extLst>
                <a:ext uri="{FF2B5EF4-FFF2-40B4-BE49-F238E27FC236}">
                  <a16:creationId xmlns="" xmlns:a16="http://schemas.microsoft.com/office/drawing/2014/main" id="{6FD12567-CC09-4564-A308-43254AA40945}"/>
                </a:ext>
              </a:extLst>
            </p:cNvPr>
            <p:cNvSpPr/>
            <p:nvPr/>
          </p:nvSpPr>
          <p:spPr>
            <a:xfrm>
              <a:off x="4727423" y="2313170"/>
              <a:ext cx="29635" cy="49342"/>
            </a:xfrm>
            <a:custGeom>
              <a:avLst/>
              <a:gdLst/>
              <a:ahLst/>
              <a:cxnLst/>
              <a:rect l="l" t="t" r="r" b="b"/>
              <a:pathLst>
                <a:path w="400" h="666" extrusionOk="0">
                  <a:moveTo>
                    <a:pt x="0" y="1"/>
                  </a:moveTo>
                  <a:lnTo>
                    <a:pt x="0" y="665"/>
                  </a:lnTo>
                  <a:lnTo>
                    <a:pt x="400" y="665"/>
                  </a:lnTo>
                  <a:lnTo>
                    <a:pt x="400" y="1"/>
                  </a:lnTo>
                  <a:close/>
                </a:path>
              </a:pathLst>
            </a:custGeom>
            <a:solidFill>
              <a:srgbClr val="53768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/>
                <a:sym typeface="Arial"/>
              </a:endParaRPr>
            </a:p>
          </p:txBody>
        </p:sp>
        <p:sp>
          <p:nvSpPr>
            <p:cNvPr id="557" name="Google Shape;1158;p43">
              <a:extLst>
                <a:ext uri="{FF2B5EF4-FFF2-40B4-BE49-F238E27FC236}">
                  <a16:creationId xmlns="" xmlns:a16="http://schemas.microsoft.com/office/drawing/2014/main" id="{CCA4BD1C-3CB1-4DBC-8D23-1B014453CDFD}"/>
                </a:ext>
              </a:extLst>
            </p:cNvPr>
            <p:cNvSpPr/>
            <p:nvPr/>
          </p:nvSpPr>
          <p:spPr>
            <a:xfrm>
              <a:off x="4525311" y="2048454"/>
              <a:ext cx="206482" cy="137655"/>
            </a:xfrm>
            <a:custGeom>
              <a:avLst/>
              <a:gdLst/>
              <a:ahLst/>
              <a:cxnLst/>
              <a:rect l="l" t="t" r="r" b="b"/>
              <a:pathLst>
                <a:path w="2787" h="1858" extrusionOk="0">
                  <a:moveTo>
                    <a:pt x="59" y="0"/>
                  </a:moveTo>
                  <a:cubicBezTo>
                    <a:pt x="30" y="0"/>
                    <a:pt x="1" y="30"/>
                    <a:pt x="1" y="65"/>
                  </a:cubicBezTo>
                  <a:lnTo>
                    <a:pt x="1" y="1799"/>
                  </a:lnTo>
                  <a:cubicBezTo>
                    <a:pt x="1" y="1828"/>
                    <a:pt x="30" y="1858"/>
                    <a:pt x="59" y="1858"/>
                  </a:cubicBezTo>
                  <a:lnTo>
                    <a:pt x="2722" y="1858"/>
                  </a:lnTo>
                  <a:cubicBezTo>
                    <a:pt x="2757" y="1858"/>
                    <a:pt x="2787" y="1828"/>
                    <a:pt x="2787" y="1799"/>
                  </a:cubicBezTo>
                  <a:lnTo>
                    <a:pt x="2787" y="65"/>
                  </a:lnTo>
                  <a:cubicBezTo>
                    <a:pt x="2787" y="30"/>
                    <a:pt x="2757" y="0"/>
                    <a:pt x="2722" y="0"/>
                  </a:cubicBezTo>
                  <a:close/>
                </a:path>
              </a:pathLst>
            </a:custGeom>
            <a:solidFill>
              <a:srgbClr val="F5CEBA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/>
                <a:sym typeface="Arial"/>
              </a:endParaRPr>
            </a:p>
          </p:txBody>
        </p:sp>
        <p:sp>
          <p:nvSpPr>
            <p:cNvPr id="558" name="Google Shape;1159;p43">
              <a:extLst>
                <a:ext uri="{FF2B5EF4-FFF2-40B4-BE49-F238E27FC236}">
                  <a16:creationId xmlns="" xmlns:a16="http://schemas.microsoft.com/office/drawing/2014/main" id="{CEA75B42-A425-4500-892F-EB44213D1576}"/>
                </a:ext>
              </a:extLst>
            </p:cNvPr>
            <p:cNvSpPr/>
            <p:nvPr/>
          </p:nvSpPr>
          <p:spPr>
            <a:xfrm>
              <a:off x="4525311" y="2103724"/>
              <a:ext cx="206482" cy="6594"/>
            </a:xfrm>
            <a:custGeom>
              <a:avLst/>
              <a:gdLst/>
              <a:ahLst/>
              <a:cxnLst/>
              <a:rect l="l" t="t" r="r" b="b"/>
              <a:pathLst>
                <a:path w="2787" h="89" extrusionOk="0">
                  <a:moveTo>
                    <a:pt x="1" y="1"/>
                  </a:moveTo>
                  <a:lnTo>
                    <a:pt x="1" y="89"/>
                  </a:lnTo>
                  <a:lnTo>
                    <a:pt x="2787" y="89"/>
                  </a:lnTo>
                  <a:lnTo>
                    <a:pt x="2787" y="1"/>
                  </a:lnTo>
                  <a:close/>
                </a:path>
              </a:pathLst>
            </a:custGeom>
            <a:solidFill>
              <a:srgbClr val="F5CEBA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/>
                <a:sym typeface="Arial"/>
              </a:endParaRPr>
            </a:p>
          </p:txBody>
        </p:sp>
        <p:sp>
          <p:nvSpPr>
            <p:cNvPr id="559" name="Google Shape;1160;p43">
              <a:extLst>
                <a:ext uri="{FF2B5EF4-FFF2-40B4-BE49-F238E27FC236}">
                  <a16:creationId xmlns="" xmlns:a16="http://schemas.microsoft.com/office/drawing/2014/main" id="{6A96FFEC-4291-4FF2-A9AE-38980B4A7F3C}"/>
                </a:ext>
              </a:extLst>
            </p:cNvPr>
            <p:cNvSpPr/>
            <p:nvPr/>
          </p:nvSpPr>
          <p:spPr>
            <a:xfrm>
              <a:off x="4697343" y="2110243"/>
              <a:ext cx="20522" cy="34525"/>
            </a:xfrm>
            <a:custGeom>
              <a:avLst/>
              <a:gdLst/>
              <a:ahLst/>
              <a:cxnLst/>
              <a:rect l="l" t="t" r="r" b="b"/>
              <a:pathLst>
                <a:path w="277" h="466" extrusionOk="0">
                  <a:moveTo>
                    <a:pt x="0" y="1"/>
                  </a:moveTo>
                  <a:lnTo>
                    <a:pt x="0" y="465"/>
                  </a:lnTo>
                  <a:lnTo>
                    <a:pt x="277" y="465"/>
                  </a:lnTo>
                  <a:lnTo>
                    <a:pt x="277" y="1"/>
                  </a:lnTo>
                  <a:close/>
                </a:path>
              </a:pathLst>
            </a:custGeom>
            <a:solidFill>
              <a:srgbClr val="53768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/>
                <a:sym typeface="Arial"/>
              </a:endParaRPr>
            </a:p>
          </p:txBody>
        </p:sp>
        <p:sp>
          <p:nvSpPr>
            <p:cNvPr id="560" name="Google Shape;1161;p43">
              <a:extLst>
                <a:ext uri="{FF2B5EF4-FFF2-40B4-BE49-F238E27FC236}">
                  <a16:creationId xmlns="" xmlns:a16="http://schemas.microsoft.com/office/drawing/2014/main" id="{B24E1975-7E66-4D2A-B4E1-D85EB794DD06}"/>
                </a:ext>
              </a:extLst>
            </p:cNvPr>
            <p:cNvSpPr/>
            <p:nvPr/>
          </p:nvSpPr>
          <p:spPr>
            <a:xfrm>
              <a:off x="4832331" y="3028710"/>
              <a:ext cx="227819" cy="302722"/>
            </a:xfrm>
            <a:custGeom>
              <a:avLst/>
              <a:gdLst/>
              <a:ahLst/>
              <a:cxnLst/>
              <a:rect l="l" t="t" r="r" b="b"/>
              <a:pathLst>
                <a:path w="3075" h="4086" extrusionOk="0">
                  <a:moveTo>
                    <a:pt x="506" y="482"/>
                  </a:moveTo>
                  <a:lnTo>
                    <a:pt x="2593" y="494"/>
                  </a:lnTo>
                  <a:lnTo>
                    <a:pt x="2575" y="3603"/>
                  </a:lnTo>
                  <a:lnTo>
                    <a:pt x="483" y="3586"/>
                  </a:lnTo>
                  <a:lnTo>
                    <a:pt x="506" y="482"/>
                  </a:lnTo>
                  <a:close/>
                  <a:moveTo>
                    <a:pt x="30" y="0"/>
                  </a:moveTo>
                  <a:lnTo>
                    <a:pt x="1" y="4062"/>
                  </a:lnTo>
                  <a:lnTo>
                    <a:pt x="3051" y="4085"/>
                  </a:lnTo>
                  <a:lnTo>
                    <a:pt x="3075" y="18"/>
                  </a:lnTo>
                  <a:lnTo>
                    <a:pt x="30" y="0"/>
                  </a:lnTo>
                  <a:close/>
                </a:path>
              </a:pathLst>
            </a:custGeom>
            <a:solidFill>
              <a:srgbClr val="26499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/>
                <a:sym typeface="Arial"/>
              </a:endParaRPr>
            </a:p>
          </p:txBody>
        </p:sp>
        <p:sp>
          <p:nvSpPr>
            <p:cNvPr id="561" name="Google Shape;1162;p43">
              <a:extLst>
                <a:ext uri="{FF2B5EF4-FFF2-40B4-BE49-F238E27FC236}">
                  <a16:creationId xmlns="" xmlns:a16="http://schemas.microsoft.com/office/drawing/2014/main" id="{87850A50-AF59-4922-9FC1-377EF525C30A}"/>
                </a:ext>
              </a:extLst>
            </p:cNvPr>
            <p:cNvSpPr/>
            <p:nvPr/>
          </p:nvSpPr>
          <p:spPr>
            <a:xfrm>
              <a:off x="4602436" y="3106206"/>
              <a:ext cx="685458" cy="469048"/>
            </a:xfrm>
            <a:custGeom>
              <a:avLst/>
              <a:gdLst/>
              <a:ahLst/>
              <a:cxnLst/>
              <a:rect l="l" t="t" r="r" b="b"/>
              <a:pathLst>
                <a:path w="9252" h="6331" extrusionOk="0">
                  <a:moveTo>
                    <a:pt x="247" y="0"/>
                  </a:moveTo>
                  <a:cubicBezTo>
                    <a:pt x="129" y="0"/>
                    <a:pt x="41" y="94"/>
                    <a:pt x="35" y="206"/>
                  </a:cubicBezTo>
                  <a:lnTo>
                    <a:pt x="0" y="6066"/>
                  </a:lnTo>
                  <a:cubicBezTo>
                    <a:pt x="0" y="6178"/>
                    <a:pt x="88" y="6272"/>
                    <a:pt x="206" y="6272"/>
                  </a:cubicBezTo>
                  <a:lnTo>
                    <a:pt x="9005" y="6331"/>
                  </a:lnTo>
                  <a:cubicBezTo>
                    <a:pt x="9117" y="6331"/>
                    <a:pt x="9211" y="6237"/>
                    <a:pt x="9211" y="6125"/>
                  </a:cubicBezTo>
                  <a:lnTo>
                    <a:pt x="9252" y="265"/>
                  </a:lnTo>
                  <a:cubicBezTo>
                    <a:pt x="9252" y="153"/>
                    <a:pt x="9158" y="59"/>
                    <a:pt x="9040" y="59"/>
                  </a:cubicBezTo>
                  <a:lnTo>
                    <a:pt x="247" y="0"/>
                  </a:lnTo>
                  <a:close/>
                </a:path>
              </a:pathLst>
            </a:custGeom>
            <a:solidFill>
              <a:srgbClr val="F4996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/>
                <a:sym typeface="Arial"/>
              </a:endParaRPr>
            </a:p>
          </p:txBody>
        </p:sp>
        <p:sp>
          <p:nvSpPr>
            <p:cNvPr id="562" name="Google Shape;1163;p43">
              <a:extLst>
                <a:ext uri="{FF2B5EF4-FFF2-40B4-BE49-F238E27FC236}">
                  <a16:creationId xmlns="" xmlns:a16="http://schemas.microsoft.com/office/drawing/2014/main" id="{C15B2794-7A9F-4F24-842F-96BCC326D2EB}"/>
                </a:ext>
              </a:extLst>
            </p:cNvPr>
            <p:cNvSpPr/>
            <p:nvPr/>
          </p:nvSpPr>
          <p:spPr>
            <a:xfrm>
              <a:off x="4695565" y="3106206"/>
              <a:ext cx="63271" cy="465121"/>
            </a:xfrm>
            <a:custGeom>
              <a:avLst/>
              <a:gdLst/>
              <a:ahLst/>
              <a:cxnLst/>
              <a:rect l="l" t="t" r="r" b="b"/>
              <a:pathLst>
                <a:path w="854" h="6278" extrusionOk="0">
                  <a:moveTo>
                    <a:pt x="36" y="0"/>
                  </a:moveTo>
                  <a:lnTo>
                    <a:pt x="1" y="6272"/>
                  </a:lnTo>
                  <a:lnTo>
                    <a:pt x="812" y="6278"/>
                  </a:lnTo>
                  <a:lnTo>
                    <a:pt x="853" y="6"/>
                  </a:lnTo>
                  <a:lnTo>
                    <a:pt x="36" y="0"/>
                  </a:lnTo>
                  <a:close/>
                </a:path>
              </a:pathLst>
            </a:custGeom>
            <a:solidFill>
              <a:srgbClr val="42619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/>
                <a:sym typeface="Arial"/>
              </a:endParaRPr>
            </a:p>
          </p:txBody>
        </p:sp>
        <p:sp>
          <p:nvSpPr>
            <p:cNvPr id="563" name="Google Shape;1164;p43">
              <a:extLst>
                <a:ext uri="{FF2B5EF4-FFF2-40B4-BE49-F238E27FC236}">
                  <a16:creationId xmlns="" xmlns:a16="http://schemas.microsoft.com/office/drawing/2014/main" id="{2324D02C-23C3-4938-8E22-D1B49A23392F}"/>
                </a:ext>
              </a:extLst>
            </p:cNvPr>
            <p:cNvSpPr/>
            <p:nvPr/>
          </p:nvSpPr>
          <p:spPr>
            <a:xfrm>
              <a:off x="5131498" y="3110577"/>
              <a:ext cx="63641" cy="465121"/>
            </a:xfrm>
            <a:custGeom>
              <a:avLst/>
              <a:gdLst/>
              <a:ahLst/>
              <a:cxnLst/>
              <a:rect l="l" t="t" r="r" b="b"/>
              <a:pathLst>
                <a:path w="859" h="6278" extrusionOk="0">
                  <a:moveTo>
                    <a:pt x="48" y="0"/>
                  </a:moveTo>
                  <a:lnTo>
                    <a:pt x="1" y="6272"/>
                  </a:lnTo>
                  <a:lnTo>
                    <a:pt x="818" y="6278"/>
                  </a:lnTo>
                  <a:lnTo>
                    <a:pt x="859" y="6"/>
                  </a:lnTo>
                  <a:lnTo>
                    <a:pt x="48" y="0"/>
                  </a:lnTo>
                  <a:close/>
                </a:path>
              </a:pathLst>
            </a:custGeom>
            <a:solidFill>
              <a:srgbClr val="42619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/>
                <a:sym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6999227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="" xmlns:a16="http://schemas.microsoft.com/office/drawing/2014/main" id="{17C1875A-14B3-49F0-868B-9C02B6B2F37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860296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14"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="" xmlns:a16="http://schemas.microsoft.com/office/drawing/2014/main" id="{17C1875A-14B3-49F0-868B-9C02B6B2F3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="" xmlns:a16="http://schemas.microsoft.com/office/drawing/2014/main" id="{2B0177F6-E4BD-4115-A94F-EECE180FA40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US" sz="240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A4831FAC-724E-49E4-986F-F5931B5BD6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4800" y="477703"/>
            <a:ext cx="7603800" cy="332399"/>
          </a:xfrm>
        </p:spPr>
        <p:txBody>
          <a:bodyPr/>
          <a:lstStyle/>
          <a:p>
            <a:r>
              <a:rPr lang="en-US" dirty="0"/>
              <a:t>Understanding the Situation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="" xmlns:a16="http://schemas.microsoft.com/office/drawing/2014/main" id="{EAE69AD2-0348-4F8C-9530-5C9FB17E1937}"/>
              </a:ext>
            </a:extLst>
          </p:cNvPr>
          <p:cNvSpPr txBox="1"/>
          <p:nvPr/>
        </p:nvSpPr>
        <p:spPr>
          <a:xfrm>
            <a:off x="244474" y="1628140"/>
            <a:ext cx="6840220" cy="249299"/>
          </a:xfrm>
          <a:prstGeom prst="rect">
            <a:avLst/>
          </a:prstGeom>
          <a:noFill/>
          <a:ln w="6350" cap="flat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A5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2"/>
              </a:buClr>
            </a:pP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Airline Industry – Overview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="" xmlns:a16="http://schemas.microsoft.com/office/drawing/2014/main" id="{5431A607-4264-49A9-9CAE-D80541CB58F6}"/>
              </a:ext>
            </a:extLst>
          </p:cNvPr>
          <p:cNvSpPr/>
          <p:nvPr/>
        </p:nvSpPr>
        <p:spPr>
          <a:xfrm>
            <a:off x="244800" y="2057400"/>
            <a:ext cx="8648375" cy="4287838"/>
          </a:xfrm>
          <a:prstGeom prst="rect">
            <a:avLst/>
          </a:prstGeom>
          <a:noFill/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97212" indent="-97212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  <a:latin typeface="+mj-lt"/>
                <a:cs typeface="Arial" pitchFamily="34" charset="0"/>
              </a:rPr>
              <a:t>The airline industry is a capital intensive sector and is often considered to have one of the highest Debt/Equity (D/E) ratio</a:t>
            </a:r>
          </a:p>
          <a:p>
            <a:pPr marL="97212" indent="-97212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  <a:latin typeface="+mj-lt"/>
                <a:cs typeface="Arial" pitchFamily="34" charset="0"/>
              </a:rPr>
              <a:t>As part of their operations, airlines incur high costs from:</a:t>
            </a:r>
          </a:p>
          <a:p>
            <a:pPr marL="232229" indent="-135017">
              <a:lnSpc>
                <a:spcPct val="90000"/>
              </a:lnSpc>
              <a:spcBef>
                <a:spcPts val="3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–"/>
            </a:pPr>
            <a:r>
              <a:rPr lang="en-US" sz="1200" dirty="0">
                <a:solidFill>
                  <a:schemeClr val="tx1"/>
                </a:solidFill>
                <a:latin typeface="+mj-lt"/>
                <a:cs typeface="Arial" pitchFamily="34" charset="0"/>
              </a:rPr>
              <a:t>Purchase of planes</a:t>
            </a:r>
          </a:p>
          <a:p>
            <a:pPr marL="232229" indent="-135017">
              <a:lnSpc>
                <a:spcPct val="90000"/>
              </a:lnSpc>
              <a:spcBef>
                <a:spcPts val="3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–"/>
            </a:pPr>
            <a:r>
              <a:rPr lang="en-US" sz="1200" dirty="0">
                <a:solidFill>
                  <a:schemeClr val="tx1"/>
                </a:solidFill>
                <a:latin typeface="+mj-lt"/>
                <a:cs typeface="Arial" pitchFamily="34" charset="0"/>
              </a:rPr>
              <a:t>Outfit of planes</a:t>
            </a:r>
          </a:p>
          <a:p>
            <a:pPr marL="232229" indent="-135017">
              <a:lnSpc>
                <a:spcPct val="90000"/>
              </a:lnSpc>
              <a:spcBef>
                <a:spcPts val="3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–"/>
            </a:pPr>
            <a:r>
              <a:rPr lang="en-US" sz="1200" dirty="0">
                <a:solidFill>
                  <a:schemeClr val="tx1"/>
                </a:solidFill>
                <a:latin typeface="+mj-lt"/>
                <a:cs typeface="Arial" pitchFamily="34" charset="0"/>
              </a:rPr>
              <a:t>Fuel</a:t>
            </a:r>
          </a:p>
          <a:p>
            <a:pPr marL="232229" indent="-135017">
              <a:lnSpc>
                <a:spcPct val="90000"/>
              </a:lnSpc>
              <a:spcBef>
                <a:spcPts val="3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–"/>
            </a:pPr>
            <a:r>
              <a:rPr lang="en-US" sz="1200" dirty="0">
                <a:solidFill>
                  <a:schemeClr val="tx1"/>
                </a:solidFill>
                <a:latin typeface="+mj-lt"/>
                <a:cs typeface="Arial" pitchFamily="34" charset="0"/>
              </a:rPr>
              <a:t>Air hangars</a:t>
            </a:r>
          </a:p>
          <a:p>
            <a:pPr marL="232229" indent="-135017">
              <a:lnSpc>
                <a:spcPct val="90000"/>
              </a:lnSpc>
              <a:spcBef>
                <a:spcPts val="3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–"/>
            </a:pPr>
            <a:r>
              <a:rPr lang="en-US" sz="1200" dirty="0">
                <a:solidFill>
                  <a:schemeClr val="tx1"/>
                </a:solidFill>
                <a:latin typeface="+mj-lt"/>
                <a:cs typeface="Arial" pitchFamily="34" charset="0"/>
              </a:rPr>
              <a:t>Repairs</a:t>
            </a:r>
          </a:p>
          <a:p>
            <a:pPr marL="232229" indent="-135017">
              <a:lnSpc>
                <a:spcPct val="90000"/>
              </a:lnSpc>
              <a:spcBef>
                <a:spcPts val="3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–"/>
            </a:pPr>
            <a:r>
              <a:rPr lang="en-US" sz="1200" dirty="0">
                <a:solidFill>
                  <a:schemeClr val="tx1"/>
                </a:solidFill>
                <a:latin typeface="+mj-lt"/>
                <a:cs typeface="Arial" pitchFamily="34" charset="0"/>
              </a:rPr>
              <a:t>Pilots, Flight attendants, and Baggage </a:t>
            </a:r>
            <a:r>
              <a:rPr lang="en-US" sz="12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handlers</a:t>
            </a:r>
            <a:endParaRPr lang="en-US" sz="1200" dirty="0">
              <a:solidFill>
                <a:schemeClr val="tx1"/>
              </a:solidFill>
              <a:latin typeface="+mj-lt"/>
              <a:cs typeface="Arial" pitchFamily="34" charset="0"/>
            </a:endParaRPr>
          </a:p>
          <a:p>
            <a:pPr marL="97212" indent="-97212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  <a:latin typeface="+mj-lt"/>
                <a:cs typeface="Arial" pitchFamily="34" charset="0"/>
              </a:rPr>
              <a:t>The average D/E ratio of major airlines companies is 115</a:t>
            </a:r>
            <a:br>
              <a:rPr lang="en-US" sz="12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en-US" sz="1200" i="1" dirty="0">
                <a:solidFill>
                  <a:schemeClr val="tx1"/>
                </a:solidFill>
                <a:latin typeface="+mj-lt"/>
                <a:cs typeface="Arial" pitchFamily="34" charset="0"/>
              </a:rPr>
              <a:t>example: for every </a:t>
            </a:r>
            <a:r>
              <a:rPr lang="en-US" sz="1200" i="1" dirty="0">
                <a:solidFill>
                  <a:schemeClr val="tx1"/>
                </a:solidFill>
                <a:cs typeface="Arial" pitchFamily="34" charset="0"/>
              </a:rPr>
              <a:t>$</a:t>
            </a:r>
            <a:r>
              <a:rPr lang="en-US" sz="1200" i="1" dirty="0">
                <a:solidFill>
                  <a:schemeClr val="tx1"/>
                </a:solidFill>
                <a:latin typeface="+mj-lt"/>
                <a:cs typeface="Arial" pitchFamily="34" charset="0"/>
              </a:rPr>
              <a:t>1 of shareholder equity, the company is liable for </a:t>
            </a:r>
            <a:r>
              <a:rPr lang="en-US" sz="1200" i="1" dirty="0">
                <a:solidFill>
                  <a:schemeClr val="tx1"/>
                </a:solidFill>
                <a:cs typeface="Arial" pitchFamily="34" charset="0"/>
              </a:rPr>
              <a:t>$</a:t>
            </a:r>
            <a:r>
              <a:rPr lang="en-US" sz="1200" i="1" dirty="0">
                <a:solidFill>
                  <a:schemeClr val="tx1"/>
                </a:solidFill>
                <a:latin typeface="+mj-lt"/>
                <a:cs typeface="Arial" pitchFamily="34" charset="0"/>
              </a:rPr>
              <a:t>115</a:t>
            </a:r>
          </a:p>
          <a:p>
            <a:pPr marL="97212" indent="-97212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  <a:latin typeface="+mj-lt"/>
                <a:cs typeface="Arial" pitchFamily="34" charset="0"/>
              </a:rPr>
              <a:t>The airline industry is constantly under pressure to generate income to continuously pay off its debt</a:t>
            </a:r>
          </a:p>
          <a:p>
            <a:pPr marL="97212" indent="-97212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  <a:latin typeface="+mj-lt"/>
                <a:cs typeface="Arial" pitchFamily="34" charset="0"/>
              </a:rPr>
              <a:t>With the Covid-19 Pandemic, air travel has been one of the hardest-hit industries, with airlines in jeopardy of going bankrupt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="" xmlns:a16="http://schemas.microsoft.com/office/drawing/2014/main" id="{0043F0FF-27C4-4A07-A929-5D7050D8D28B}"/>
              </a:ext>
            </a:extLst>
          </p:cNvPr>
          <p:cNvGrpSpPr/>
          <p:nvPr/>
        </p:nvGrpSpPr>
        <p:grpSpPr>
          <a:xfrm>
            <a:off x="367905" y="5199278"/>
            <a:ext cx="2653597" cy="1124776"/>
            <a:chOff x="156811" y="2029881"/>
            <a:chExt cx="3069875" cy="1301224"/>
          </a:xfrm>
          <a:solidFill>
            <a:schemeClr val="bg1">
              <a:lumMod val="95000"/>
            </a:schemeClr>
          </a:solidFill>
        </p:grpSpPr>
        <p:grpSp>
          <p:nvGrpSpPr>
            <p:cNvPr id="115" name="Group 114">
              <a:extLst>
                <a:ext uri="{FF2B5EF4-FFF2-40B4-BE49-F238E27FC236}">
                  <a16:creationId xmlns="" xmlns:a16="http://schemas.microsoft.com/office/drawing/2014/main" id="{20A095E8-C883-439C-8630-23FEE4717AB3}"/>
                </a:ext>
              </a:extLst>
            </p:cNvPr>
            <p:cNvGrpSpPr/>
            <p:nvPr/>
          </p:nvGrpSpPr>
          <p:grpSpPr>
            <a:xfrm flipH="1">
              <a:off x="2002350" y="2745961"/>
              <a:ext cx="1224336" cy="585144"/>
              <a:chOff x="251209" y="2741627"/>
              <a:chExt cx="1224336" cy="585144"/>
            </a:xfrm>
            <a:grpFill/>
          </p:grpSpPr>
          <p:sp>
            <p:nvSpPr>
              <p:cNvPr id="140" name="Freeform: Shape 139">
                <a:extLst>
                  <a:ext uri="{FF2B5EF4-FFF2-40B4-BE49-F238E27FC236}">
                    <a16:creationId xmlns="" xmlns:a16="http://schemas.microsoft.com/office/drawing/2014/main" id="{FC66F0A2-08DF-49FC-A50B-8EFBEF2CE84E}"/>
                  </a:ext>
                </a:extLst>
              </p:cNvPr>
              <p:cNvSpPr/>
              <p:nvPr/>
            </p:nvSpPr>
            <p:spPr>
              <a:xfrm>
                <a:off x="1216381" y="2910745"/>
                <a:ext cx="138395" cy="221517"/>
              </a:xfrm>
              <a:custGeom>
                <a:avLst/>
                <a:gdLst>
                  <a:gd name="connsiteX0" fmla="*/ 123637 w 123637"/>
                  <a:gd name="connsiteY0" fmla="*/ 0 h 195759"/>
                  <a:gd name="connsiteX1" fmla="*/ 0 w 123637"/>
                  <a:gd name="connsiteY1" fmla="*/ 170001 h 195759"/>
                  <a:gd name="connsiteX2" fmla="*/ 0 w 123637"/>
                  <a:gd name="connsiteY2" fmla="*/ 195759 h 195759"/>
                  <a:gd name="connsiteX3" fmla="*/ 123637 w 123637"/>
                  <a:gd name="connsiteY3" fmla="*/ 0 h 195759"/>
                  <a:gd name="connsiteX0" fmla="*/ 123637 w 123637"/>
                  <a:gd name="connsiteY0" fmla="*/ 0 h 195759"/>
                  <a:gd name="connsiteX1" fmla="*/ 0 w 123637"/>
                  <a:gd name="connsiteY1" fmla="*/ 170001 h 195759"/>
                  <a:gd name="connsiteX2" fmla="*/ 0 w 123637"/>
                  <a:gd name="connsiteY2" fmla="*/ 195759 h 195759"/>
                  <a:gd name="connsiteX3" fmla="*/ 115910 w 123637"/>
                  <a:gd name="connsiteY3" fmla="*/ 20606 h 195759"/>
                  <a:gd name="connsiteX4" fmla="*/ 123637 w 123637"/>
                  <a:gd name="connsiteY4" fmla="*/ 0 h 195759"/>
                  <a:gd name="connsiteX0" fmla="*/ 123637 w 131365"/>
                  <a:gd name="connsiteY0" fmla="*/ 0 h 195759"/>
                  <a:gd name="connsiteX1" fmla="*/ 0 w 131365"/>
                  <a:gd name="connsiteY1" fmla="*/ 170001 h 195759"/>
                  <a:gd name="connsiteX2" fmla="*/ 0 w 131365"/>
                  <a:gd name="connsiteY2" fmla="*/ 195759 h 195759"/>
                  <a:gd name="connsiteX3" fmla="*/ 131365 w 131365"/>
                  <a:gd name="connsiteY3" fmla="*/ 20606 h 195759"/>
                  <a:gd name="connsiteX4" fmla="*/ 123637 w 131365"/>
                  <a:gd name="connsiteY4" fmla="*/ 0 h 195759"/>
                  <a:gd name="connsiteX0" fmla="*/ 123637 w 131365"/>
                  <a:gd name="connsiteY0" fmla="*/ 0 h 195759"/>
                  <a:gd name="connsiteX1" fmla="*/ 0 w 131365"/>
                  <a:gd name="connsiteY1" fmla="*/ 170001 h 195759"/>
                  <a:gd name="connsiteX2" fmla="*/ 0 w 131365"/>
                  <a:gd name="connsiteY2" fmla="*/ 195759 h 195759"/>
                  <a:gd name="connsiteX3" fmla="*/ 131365 w 131365"/>
                  <a:gd name="connsiteY3" fmla="*/ 15454 h 195759"/>
                  <a:gd name="connsiteX4" fmla="*/ 123637 w 131365"/>
                  <a:gd name="connsiteY4" fmla="*/ 0 h 195759"/>
                  <a:gd name="connsiteX0" fmla="*/ 123637 w 131365"/>
                  <a:gd name="connsiteY0" fmla="*/ 0 h 195759"/>
                  <a:gd name="connsiteX1" fmla="*/ 0 w 131365"/>
                  <a:gd name="connsiteY1" fmla="*/ 167425 h 195759"/>
                  <a:gd name="connsiteX2" fmla="*/ 0 w 131365"/>
                  <a:gd name="connsiteY2" fmla="*/ 195759 h 195759"/>
                  <a:gd name="connsiteX3" fmla="*/ 131365 w 131365"/>
                  <a:gd name="connsiteY3" fmla="*/ 15454 h 195759"/>
                  <a:gd name="connsiteX4" fmla="*/ 123637 w 131365"/>
                  <a:gd name="connsiteY4" fmla="*/ 0 h 1957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1365" h="195759">
                    <a:moveTo>
                      <a:pt x="123637" y="0"/>
                    </a:moveTo>
                    <a:lnTo>
                      <a:pt x="0" y="167425"/>
                    </a:lnTo>
                    <a:lnTo>
                      <a:pt x="0" y="195759"/>
                    </a:lnTo>
                    <a:lnTo>
                      <a:pt x="131365" y="15454"/>
                    </a:lnTo>
                    <a:lnTo>
                      <a:pt x="123637" y="0"/>
                    </a:lnTo>
                    <a:close/>
                  </a:path>
                </a:pathLst>
              </a:custGeom>
              <a:grpFill/>
              <a:ln w="19050" cap="flat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  <a:spcBef>
                    <a:spcPts val="900"/>
                  </a:spcBef>
                </a:pPr>
                <a:endParaRPr lang="en-US" sz="1400" dirty="0" err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41" name="Rectangle 140">
                <a:extLst>
                  <a:ext uri="{FF2B5EF4-FFF2-40B4-BE49-F238E27FC236}">
                    <a16:creationId xmlns="" xmlns:a16="http://schemas.microsoft.com/office/drawing/2014/main" id="{FAD57563-FDE9-4490-9E66-6CCA4C8D5554}"/>
                  </a:ext>
                </a:extLst>
              </p:cNvPr>
              <p:cNvSpPr/>
              <p:nvPr/>
            </p:nvSpPr>
            <p:spPr>
              <a:xfrm rot="16200000">
                <a:off x="1068504" y="3032295"/>
                <a:ext cx="288820" cy="45720"/>
              </a:xfrm>
              <a:prstGeom prst="rect">
                <a:avLst/>
              </a:prstGeom>
              <a:grpFill/>
              <a:ln w="19050" cap="flat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  <a:spcBef>
                    <a:spcPts val="900"/>
                  </a:spcBef>
                </a:pPr>
                <a:endParaRPr lang="en-US" sz="1400" dirty="0" err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42" name="Trapezoid 141">
                <a:extLst>
                  <a:ext uri="{FF2B5EF4-FFF2-40B4-BE49-F238E27FC236}">
                    <a16:creationId xmlns="" xmlns:a16="http://schemas.microsoft.com/office/drawing/2014/main" id="{4DBD6ABA-6ED2-4584-B434-4D90665C35D8}"/>
                  </a:ext>
                </a:extLst>
              </p:cNvPr>
              <p:cNvSpPr/>
              <p:nvPr/>
            </p:nvSpPr>
            <p:spPr>
              <a:xfrm>
                <a:off x="821744" y="2852929"/>
                <a:ext cx="70680" cy="113920"/>
              </a:xfrm>
              <a:prstGeom prst="trapezoid">
                <a:avLst>
                  <a:gd name="adj" fmla="val 24948"/>
                </a:avLst>
              </a:prstGeom>
              <a:grpFill/>
              <a:ln w="19050" cap="flat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  <a:spcBef>
                    <a:spcPts val="900"/>
                  </a:spcBef>
                </a:pPr>
                <a:endParaRPr lang="en-US" sz="1400" dirty="0" err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43" name="Freeform: Shape 142">
                <a:extLst>
                  <a:ext uri="{FF2B5EF4-FFF2-40B4-BE49-F238E27FC236}">
                    <a16:creationId xmlns="" xmlns:a16="http://schemas.microsoft.com/office/drawing/2014/main" id="{192B2447-6B68-4279-B487-F1437E52F084}"/>
                  </a:ext>
                </a:extLst>
              </p:cNvPr>
              <p:cNvSpPr/>
              <p:nvPr/>
            </p:nvSpPr>
            <p:spPr>
              <a:xfrm>
                <a:off x="251209" y="2741627"/>
                <a:ext cx="1224336" cy="202805"/>
              </a:xfrm>
              <a:custGeom>
                <a:avLst/>
                <a:gdLst>
                  <a:gd name="connsiteX0" fmla="*/ 973932 w 973932"/>
                  <a:gd name="connsiteY0" fmla="*/ 195263 h 195263"/>
                  <a:gd name="connsiteX1" fmla="*/ 7144 w 973932"/>
                  <a:gd name="connsiteY1" fmla="*/ 30956 h 195263"/>
                  <a:gd name="connsiteX2" fmla="*/ 0 w 973932"/>
                  <a:gd name="connsiteY2" fmla="*/ 0 h 195263"/>
                  <a:gd name="connsiteX3" fmla="*/ 971550 w 973932"/>
                  <a:gd name="connsiteY3" fmla="*/ 104775 h 195263"/>
                  <a:gd name="connsiteX0" fmla="*/ 981076 w 981076"/>
                  <a:gd name="connsiteY0" fmla="*/ 195263 h 195263"/>
                  <a:gd name="connsiteX1" fmla="*/ 0 w 981076"/>
                  <a:gd name="connsiteY1" fmla="*/ 26193 h 195263"/>
                  <a:gd name="connsiteX2" fmla="*/ 7144 w 981076"/>
                  <a:gd name="connsiteY2" fmla="*/ 0 h 195263"/>
                  <a:gd name="connsiteX3" fmla="*/ 978694 w 981076"/>
                  <a:gd name="connsiteY3" fmla="*/ 104775 h 195263"/>
                  <a:gd name="connsiteX0" fmla="*/ 973932 w 973932"/>
                  <a:gd name="connsiteY0" fmla="*/ 195263 h 195263"/>
                  <a:gd name="connsiteX1" fmla="*/ 0 w 973932"/>
                  <a:gd name="connsiteY1" fmla="*/ 28574 h 195263"/>
                  <a:gd name="connsiteX2" fmla="*/ 0 w 973932"/>
                  <a:gd name="connsiteY2" fmla="*/ 0 h 195263"/>
                  <a:gd name="connsiteX3" fmla="*/ 971550 w 973932"/>
                  <a:gd name="connsiteY3" fmla="*/ 104775 h 1952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73932" h="195263">
                    <a:moveTo>
                      <a:pt x="973932" y="195263"/>
                    </a:moveTo>
                    <a:lnTo>
                      <a:pt x="0" y="28574"/>
                    </a:lnTo>
                    <a:lnTo>
                      <a:pt x="0" y="0"/>
                    </a:lnTo>
                    <a:lnTo>
                      <a:pt x="971550" y="104775"/>
                    </a:lnTo>
                  </a:path>
                </a:pathLst>
              </a:custGeom>
              <a:grpFill/>
              <a:ln w="19050" cap="flat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44" name="Oval 143">
                <a:extLst>
                  <a:ext uri="{FF2B5EF4-FFF2-40B4-BE49-F238E27FC236}">
                    <a16:creationId xmlns="" xmlns:a16="http://schemas.microsoft.com/office/drawing/2014/main" id="{B16F2686-F7A1-4BE8-B7D2-115F87A7342B}"/>
                  </a:ext>
                </a:extLst>
              </p:cNvPr>
              <p:cNvSpPr/>
              <p:nvPr/>
            </p:nvSpPr>
            <p:spPr>
              <a:xfrm>
                <a:off x="688720" y="2944432"/>
                <a:ext cx="326400" cy="326400"/>
              </a:xfrm>
              <a:prstGeom prst="ellipse">
                <a:avLst/>
              </a:prstGeom>
              <a:grpFill/>
              <a:ln w="19050" cap="flat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  <a:spcBef>
                    <a:spcPts val="900"/>
                  </a:spcBef>
                </a:pPr>
                <a:endParaRPr lang="en-US" sz="1400" dirty="0" err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45" name="Oval 144">
                <a:extLst>
                  <a:ext uri="{FF2B5EF4-FFF2-40B4-BE49-F238E27FC236}">
                    <a16:creationId xmlns="" xmlns:a16="http://schemas.microsoft.com/office/drawing/2014/main" id="{D696F5AB-8B1C-4FDC-A250-AFFA0AB0A2F4}"/>
                  </a:ext>
                </a:extLst>
              </p:cNvPr>
              <p:cNvSpPr/>
              <p:nvPr/>
            </p:nvSpPr>
            <p:spPr>
              <a:xfrm>
                <a:off x="728309" y="2984021"/>
                <a:ext cx="247222" cy="247222"/>
              </a:xfrm>
              <a:prstGeom prst="ellipse">
                <a:avLst/>
              </a:prstGeom>
              <a:grpFill/>
              <a:ln w="19050" cap="flat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  <a:spcBef>
                    <a:spcPts val="900"/>
                  </a:spcBef>
                </a:pPr>
                <a:endParaRPr lang="en-US" sz="1400" dirty="0" err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46" name="Rectangle: Rounded Corners 145">
                <a:extLst>
                  <a:ext uri="{FF2B5EF4-FFF2-40B4-BE49-F238E27FC236}">
                    <a16:creationId xmlns="" xmlns:a16="http://schemas.microsoft.com/office/drawing/2014/main" id="{6E8A4A81-FC0B-4684-A803-2385403F7305}"/>
                  </a:ext>
                </a:extLst>
              </p:cNvPr>
              <p:cNvSpPr/>
              <p:nvPr/>
            </p:nvSpPr>
            <p:spPr>
              <a:xfrm>
                <a:off x="1108447" y="3125171"/>
                <a:ext cx="68739" cy="201600"/>
              </a:xfrm>
              <a:prstGeom prst="roundRect">
                <a:avLst>
                  <a:gd name="adj" fmla="val 42899"/>
                </a:avLst>
              </a:prstGeom>
              <a:grpFill/>
              <a:ln w="19050" cap="flat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  <a:spcBef>
                    <a:spcPts val="900"/>
                  </a:spcBef>
                </a:pPr>
                <a:endParaRPr lang="en-US" sz="1400" dirty="0" err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47" name="Rectangle: Rounded Corners 146">
                <a:extLst>
                  <a:ext uri="{FF2B5EF4-FFF2-40B4-BE49-F238E27FC236}">
                    <a16:creationId xmlns="" xmlns:a16="http://schemas.microsoft.com/office/drawing/2014/main" id="{977E70B3-8EA3-424D-87D2-DD29DCEC3FD3}"/>
                  </a:ext>
                </a:extLst>
              </p:cNvPr>
              <p:cNvSpPr/>
              <p:nvPr/>
            </p:nvSpPr>
            <p:spPr>
              <a:xfrm>
                <a:off x="1255732" y="3125171"/>
                <a:ext cx="68739" cy="201600"/>
              </a:xfrm>
              <a:prstGeom prst="roundRect">
                <a:avLst>
                  <a:gd name="adj" fmla="val 42899"/>
                </a:avLst>
              </a:prstGeom>
              <a:grpFill/>
              <a:ln w="19050" cap="flat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  <a:spcBef>
                    <a:spcPts val="900"/>
                  </a:spcBef>
                </a:pPr>
                <a:endParaRPr lang="en-US" sz="1400" dirty="0" err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48" name="Rectangle 147">
                <a:extLst>
                  <a:ext uri="{FF2B5EF4-FFF2-40B4-BE49-F238E27FC236}">
                    <a16:creationId xmlns="" xmlns:a16="http://schemas.microsoft.com/office/drawing/2014/main" id="{22C88A07-7A40-446A-BB32-1E48C0D9F6AB}"/>
                  </a:ext>
                </a:extLst>
              </p:cNvPr>
              <p:cNvSpPr/>
              <p:nvPr/>
            </p:nvSpPr>
            <p:spPr>
              <a:xfrm>
                <a:off x="1177186" y="3199563"/>
                <a:ext cx="78546" cy="52816"/>
              </a:xfrm>
              <a:prstGeom prst="rect">
                <a:avLst/>
              </a:prstGeom>
              <a:grpFill/>
              <a:ln w="19050" cap="flat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  <a:spcBef>
                    <a:spcPts val="900"/>
                  </a:spcBef>
                </a:pPr>
                <a:endParaRPr lang="en-US" sz="1400" dirty="0" err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</p:grpSp>
        <p:sp>
          <p:nvSpPr>
            <p:cNvPr id="116" name="Trapezoid 115">
              <a:extLst>
                <a:ext uri="{FF2B5EF4-FFF2-40B4-BE49-F238E27FC236}">
                  <a16:creationId xmlns="" xmlns:a16="http://schemas.microsoft.com/office/drawing/2014/main" id="{0548774D-52CB-4884-B047-09D46AB543C5}"/>
                </a:ext>
              </a:extLst>
            </p:cNvPr>
            <p:cNvSpPr/>
            <p:nvPr/>
          </p:nvSpPr>
          <p:spPr>
            <a:xfrm rot="16666699">
              <a:off x="1327253" y="2206903"/>
              <a:ext cx="48960" cy="368301"/>
            </a:xfrm>
            <a:prstGeom prst="trapezoid">
              <a:avLst>
                <a:gd name="adj" fmla="val 34962"/>
              </a:avLst>
            </a:prstGeom>
            <a:grpFill/>
            <a:ln w="19050" cap="flat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900"/>
                </a:spcBef>
              </a:pPr>
              <a:endParaRPr lang="en-US" sz="140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17" name="Trapezoid 116">
              <a:extLst>
                <a:ext uri="{FF2B5EF4-FFF2-40B4-BE49-F238E27FC236}">
                  <a16:creationId xmlns="" xmlns:a16="http://schemas.microsoft.com/office/drawing/2014/main" id="{F542B37F-9142-497C-83C1-651893062490}"/>
                </a:ext>
              </a:extLst>
            </p:cNvPr>
            <p:cNvSpPr/>
            <p:nvPr/>
          </p:nvSpPr>
          <p:spPr>
            <a:xfrm rot="4933301" flipH="1">
              <a:off x="2089905" y="2206903"/>
              <a:ext cx="48960" cy="368301"/>
            </a:xfrm>
            <a:prstGeom prst="trapezoid">
              <a:avLst>
                <a:gd name="adj" fmla="val 34962"/>
              </a:avLst>
            </a:prstGeom>
            <a:grpFill/>
            <a:ln w="19050" cap="flat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900"/>
                </a:spcBef>
              </a:pPr>
              <a:endParaRPr lang="en-US" sz="140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grpSp>
          <p:nvGrpSpPr>
            <p:cNvPr id="118" name="Group 117">
              <a:extLst>
                <a:ext uri="{FF2B5EF4-FFF2-40B4-BE49-F238E27FC236}">
                  <a16:creationId xmlns="" xmlns:a16="http://schemas.microsoft.com/office/drawing/2014/main" id="{7471CD2D-B372-496C-A7BC-AF0A60C80F36}"/>
                </a:ext>
              </a:extLst>
            </p:cNvPr>
            <p:cNvGrpSpPr/>
            <p:nvPr/>
          </p:nvGrpSpPr>
          <p:grpSpPr>
            <a:xfrm>
              <a:off x="1674906" y="3053866"/>
              <a:ext cx="143080" cy="275548"/>
              <a:chOff x="1630003" y="2901424"/>
              <a:chExt cx="216024" cy="416026"/>
            </a:xfrm>
            <a:grpFill/>
          </p:grpSpPr>
          <p:sp>
            <p:nvSpPr>
              <p:cNvPr id="136" name="Rectangle 135">
                <a:extLst>
                  <a:ext uri="{FF2B5EF4-FFF2-40B4-BE49-F238E27FC236}">
                    <a16:creationId xmlns="" xmlns:a16="http://schemas.microsoft.com/office/drawing/2014/main" id="{2BB2175E-F837-49C5-8BD2-E32E289484EE}"/>
                  </a:ext>
                </a:extLst>
              </p:cNvPr>
              <p:cNvSpPr/>
              <p:nvPr/>
            </p:nvSpPr>
            <p:spPr>
              <a:xfrm rot="16200000">
                <a:off x="1590060" y="3022974"/>
                <a:ext cx="288820" cy="45720"/>
              </a:xfrm>
              <a:prstGeom prst="rect">
                <a:avLst/>
              </a:prstGeom>
              <a:grpFill/>
              <a:ln w="19050" cap="flat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  <a:spcBef>
                    <a:spcPts val="900"/>
                  </a:spcBef>
                </a:pPr>
                <a:endParaRPr lang="en-US" sz="1400" dirty="0" err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37" name="Rectangle: Rounded Corners 136">
                <a:extLst>
                  <a:ext uri="{FF2B5EF4-FFF2-40B4-BE49-F238E27FC236}">
                    <a16:creationId xmlns="" xmlns:a16="http://schemas.microsoft.com/office/drawing/2014/main" id="{A087A7E2-E214-4399-978A-1B4F6BF91CFD}"/>
                  </a:ext>
                </a:extLst>
              </p:cNvPr>
              <p:cNvSpPr/>
              <p:nvPr/>
            </p:nvSpPr>
            <p:spPr>
              <a:xfrm>
                <a:off x="1630003" y="3115850"/>
                <a:ext cx="68739" cy="201600"/>
              </a:xfrm>
              <a:prstGeom prst="roundRect">
                <a:avLst>
                  <a:gd name="adj" fmla="val 42899"/>
                </a:avLst>
              </a:prstGeom>
              <a:grpFill/>
              <a:ln w="19050" cap="flat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  <a:spcBef>
                    <a:spcPts val="900"/>
                  </a:spcBef>
                </a:pPr>
                <a:endParaRPr lang="en-US" sz="1400" dirty="0" err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38" name="Rectangle: Rounded Corners 137">
                <a:extLst>
                  <a:ext uri="{FF2B5EF4-FFF2-40B4-BE49-F238E27FC236}">
                    <a16:creationId xmlns="" xmlns:a16="http://schemas.microsoft.com/office/drawing/2014/main" id="{AA04E26D-FEF3-40D4-92BD-C37324FA0F0C}"/>
                  </a:ext>
                </a:extLst>
              </p:cNvPr>
              <p:cNvSpPr/>
              <p:nvPr/>
            </p:nvSpPr>
            <p:spPr>
              <a:xfrm>
                <a:off x="1777288" y="3115850"/>
                <a:ext cx="68739" cy="201600"/>
              </a:xfrm>
              <a:prstGeom prst="roundRect">
                <a:avLst>
                  <a:gd name="adj" fmla="val 42899"/>
                </a:avLst>
              </a:prstGeom>
              <a:grpFill/>
              <a:ln w="19050" cap="flat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  <a:spcBef>
                    <a:spcPts val="900"/>
                  </a:spcBef>
                </a:pPr>
                <a:endParaRPr lang="en-US" sz="1400" dirty="0" err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39" name="Rectangle 138">
                <a:extLst>
                  <a:ext uri="{FF2B5EF4-FFF2-40B4-BE49-F238E27FC236}">
                    <a16:creationId xmlns="" xmlns:a16="http://schemas.microsoft.com/office/drawing/2014/main" id="{EC192784-33C1-4E65-B196-514B8F9CDAC7}"/>
                  </a:ext>
                </a:extLst>
              </p:cNvPr>
              <p:cNvSpPr/>
              <p:nvPr/>
            </p:nvSpPr>
            <p:spPr>
              <a:xfrm>
                <a:off x="1698742" y="3190242"/>
                <a:ext cx="78546" cy="52816"/>
              </a:xfrm>
              <a:prstGeom prst="rect">
                <a:avLst/>
              </a:prstGeom>
              <a:grpFill/>
              <a:ln w="19050" cap="flat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  <a:spcBef>
                    <a:spcPts val="900"/>
                  </a:spcBef>
                </a:pPr>
                <a:endParaRPr lang="en-US" sz="1400" dirty="0" err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</p:grpSp>
        <p:grpSp>
          <p:nvGrpSpPr>
            <p:cNvPr id="119" name="Group 118">
              <a:extLst>
                <a:ext uri="{FF2B5EF4-FFF2-40B4-BE49-F238E27FC236}">
                  <a16:creationId xmlns="" xmlns:a16="http://schemas.microsoft.com/office/drawing/2014/main" id="{61770FD1-8BAB-4B80-A28A-69639E71A70A}"/>
                </a:ext>
              </a:extLst>
            </p:cNvPr>
            <p:cNvGrpSpPr/>
            <p:nvPr/>
          </p:nvGrpSpPr>
          <p:grpSpPr>
            <a:xfrm>
              <a:off x="156811" y="2730324"/>
              <a:ext cx="1318734" cy="600781"/>
              <a:chOff x="156811" y="2725990"/>
              <a:chExt cx="1318734" cy="600781"/>
            </a:xfrm>
            <a:grpFill/>
          </p:grpSpPr>
          <p:sp>
            <p:nvSpPr>
              <p:cNvPr id="127" name="Freeform: Shape 126">
                <a:extLst>
                  <a:ext uri="{FF2B5EF4-FFF2-40B4-BE49-F238E27FC236}">
                    <a16:creationId xmlns="" xmlns:a16="http://schemas.microsoft.com/office/drawing/2014/main" id="{C42232AF-AC02-40F0-91D3-ABBE6A2DEFAC}"/>
                  </a:ext>
                </a:extLst>
              </p:cNvPr>
              <p:cNvSpPr/>
              <p:nvPr/>
            </p:nvSpPr>
            <p:spPr>
              <a:xfrm>
                <a:off x="1216381" y="2910745"/>
                <a:ext cx="138395" cy="221517"/>
              </a:xfrm>
              <a:custGeom>
                <a:avLst/>
                <a:gdLst>
                  <a:gd name="connsiteX0" fmla="*/ 123637 w 123637"/>
                  <a:gd name="connsiteY0" fmla="*/ 0 h 195759"/>
                  <a:gd name="connsiteX1" fmla="*/ 0 w 123637"/>
                  <a:gd name="connsiteY1" fmla="*/ 170001 h 195759"/>
                  <a:gd name="connsiteX2" fmla="*/ 0 w 123637"/>
                  <a:gd name="connsiteY2" fmla="*/ 195759 h 195759"/>
                  <a:gd name="connsiteX3" fmla="*/ 123637 w 123637"/>
                  <a:gd name="connsiteY3" fmla="*/ 0 h 195759"/>
                  <a:gd name="connsiteX0" fmla="*/ 123637 w 123637"/>
                  <a:gd name="connsiteY0" fmla="*/ 0 h 195759"/>
                  <a:gd name="connsiteX1" fmla="*/ 0 w 123637"/>
                  <a:gd name="connsiteY1" fmla="*/ 170001 h 195759"/>
                  <a:gd name="connsiteX2" fmla="*/ 0 w 123637"/>
                  <a:gd name="connsiteY2" fmla="*/ 195759 h 195759"/>
                  <a:gd name="connsiteX3" fmla="*/ 115910 w 123637"/>
                  <a:gd name="connsiteY3" fmla="*/ 20606 h 195759"/>
                  <a:gd name="connsiteX4" fmla="*/ 123637 w 123637"/>
                  <a:gd name="connsiteY4" fmla="*/ 0 h 195759"/>
                  <a:gd name="connsiteX0" fmla="*/ 123637 w 131365"/>
                  <a:gd name="connsiteY0" fmla="*/ 0 h 195759"/>
                  <a:gd name="connsiteX1" fmla="*/ 0 w 131365"/>
                  <a:gd name="connsiteY1" fmla="*/ 170001 h 195759"/>
                  <a:gd name="connsiteX2" fmla="*/ 0 w 131365"/>
                  <a:gd name="connsiteY2" fmla="*/ 195759 h 195759"/>
                  <a:gd name="connsiteX3" fmla="*/ 131365 w 131365"/>
                  <a:gd name="connsiteY3" fmla="*/ 20606 h 195759"/>
                  <a:gd name="connsiteX4" fmla="*/ 123637 w 131365"/>
                  <a:gd name="connsiteY4" fmla="*/ 0 h 195759"/>
                  <a:gd name="connsiteX0" fmla="*/ 123637 w 131365"/>
                  <a:gd name="connsiteY0" fmla="*/ 0 h 195759"/>
                  <a:gd name="connsiteX1" fmla="*/ 0 w 131365"/>
                  <a:gd name="connsiteY1" fmla="*/ 170001 h 195759"/>
                  <a:gd name="connsiteX2" fmla="*/ 0 w 131365"/>
                  <a:gd name="connsiteY2" fmla="*/ 195759 h 195759"/>
                  <a:gd name="connsiteX3" fmla="*/ 131365 w 131365"/>
                  <a:gd name="connsiteY3" fmla="*/ 15454 h 195759"/>
                  <a:gd name="connsiteX4" fmla="*/ 123637 w 131365"/>
                  <a:gd name="connsiteY4" fmla="*/ 0 h 195759"/>
                  <a:gd name="connsiteX0" fmla="*/ 123637 w 131365"/>
                  <a:gd name="connsiteY0" fmla="*/ 0 h 195759"/>
                  <a:gd name="connsiteX1" fmla="*/ 0 w 131365"/>
                  <a:gd name="connsiteY1" fmla="*/ 167425 h 195759"/>
                  <a:gd name="connsiteX2" fmla="*/ 0 w 131365"/>
                  <a:gd name="connsiteY2" fmla="*/ 195759 h 195759"/>
                  <a:gd name="connsiteX3" fmla="*/ 131365 w 131365"/>
                  <a:gd name="connsiteY3" fmla="*/ 15454 h 195759"/>
                  <a:gd name="connsiteX4" fmla="*/ 123637 w 131365"/>
                  <a:gd name="connsiteY4" fmla="*/ 0 h 1957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1365" h="195759">
                    <a:moveTo>
                      <a:pt x="123637" y="0"/>
                    </a:moveTo>
                    <a:lnTo>
                      <a:pt x="0" y="167425"/>
                    </a:lnTo>
                    <a:lnTo>
                      <a:pt x="0" y="195759"/>
                    </a:lnTo>
                    <a:lnTo>
                      <a:pt x="131365" y="15454"/>
                    </a:lnTo>
                    <a:lnTo>
                      <a:pt x="123637" y="0"/>
                    </a:lnTo>
                    <a:close/>
                  </a:path>
                </a:pathLst>
              </a:custGeom>
              <a:grpFill/>
              <a:ln w="19050" cap="flat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  <a:spcBef>
                    <a:spcPts val="900"/>
                  </a:spcBef>
                </a:pPr>
                <a:endParaRPr lang="en-US" sz="1400" dirty="0" err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28" name="Rectangle 127">
                <a:extLst>
                  <a:ext uri="{FF2B5EF4-FFF2-40B4-BE49-F238E27FC236}">
                    <a16:creationId xmlns="" xmlns:a16="http://schemas.microsoft.com/office/drawing/2014/main" id="{06367AE5-4A7F-4D25-975E-F18687D84F59}"/>
                  </a:ext>
                </a:extLst>
              </p:cNvPr>
              <p:cNvSpPr/>
              <p:nvPr/>
            </p:nvSpPr>
            <p:spPr>
              <a:xfrm rot="16200000">
                <a:off x="1068504" y="3032295"/>
                <a:ext cx="288820" cy="45720"/>
              </a:xfrm>
              <a:prstGeom prst="rect">
                <a:avLst/>
              </a:prstGeom>
              <a:grpFill/>
              <a:ln w="19050" cap="flat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  <a:spcBef>
                    <a:spcPts val="900"/>
                  </a:spcBef>
                </a:pPr>
                <a:endParaRPr lang="en-US" sz="1400" dirty="0" err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29" name="Trapezoid 128">
                <a:extLst>
                  <a:ext uri="{FF2B5EF4-FFF2-40B4-BE49-F238E27FC236}">
                    <a16:creationId xmlns="" xmlns:a16="http://schemas.microsoft.com/office/drawing/2014/main" id="{2770D1FC-7A34-4115-8B53-F856606CC2F9}"/>
                  </a:ext>
                </a:extLst>
              </p:cNvPr>
              <p:cNvSpPr/>
              <p:nvPr/>
            </p:nvSpPr>
            <p:spPr>
              <a:xfrm>
                <a:off x="821744" y="2852929"/>
                <a:ext cx="70680" cy="113920"/>
              </a:xfrm>
              <a:prstGeom prst="trapezoid">
                <a:avLst>
                  <a:gd name="adj" fmla="val 24948"/>
                </a:avLst>
              </a:prstGeom>
              <a:grpFill/>
              <a:ln w="19050" cap="flat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  <a:spcBef>
                    <a:spcPts val="900"/>
                  </a:spcBef>
                </a:pPr>
                <a:endParaRPr lang="en-US" sz="1400" dirty="0" err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30" name="Freeform: Shape 129">
                <a:extLst>
                  <a:ext uri="{FF2B5EF4-FFF2-40B4-BE49-F238E27FC236}">
                    <a16:creationId xmlns="" xmlns:a16="http://schemas.microsoft.com/office/drawing/2014/main" id="{D4FB2BA6-CBBD-4028-9B8D-311EB9528DDD}"/>
                  </a:ext>
                </a:extLst>
              </p:cNvPr>
              <p:cNvSpPr/>
              <p:nvPr/>
            </p:nvSpPr>
            <p:spPr>
              <a:xfrm>
                <a:off x="156811" y="2725990"/>
                <a:ext cx="1318734" cy="218441"/>
              </a:xfrm>
              <a:custGeom>
                <a:avLst/>
                <a:gdLst>
                  <a:gd name="connsiteX0" fmla="*/ 973932 w 973932"/>
                  <a:gd name="connsiteY0" fmla="*/ 195263 h 195263"/>
                  <a:gd name="connsiteX1" fmla="*/ 7144 w 973932"/>
                  <a:gd name="connsiteY1" fmla="*/ 30956 h 195263"/>
                  <a:gd name="connsiteX2" fmla="*/ 0 w 973932"/>
                  <a:gd name="connsiteY2" fmla="*/ 0 h 195263"/>
                  <a:gd name="connsiteX3" fmla="*/ 971550 w 973932"/>
                  <a:gd name="connsiteY3" fmla="*/ 104775 h 195263"/>
                  <a:gd name="connsiteX0" fmla="*/ 981076 w 981076"/>
                  <a:gd name="connsiteY0" fmla="*/ 195263 h 195263"/>
                  <a:gd name="connsiteX1" fmla="*/ 0 w 981076"/>
                  <a:gd name="connsiteY1" fmla="*/ 26193 h 195263"/>
                  <a:gd name="connsiteX2" fmla="*/ 7144 w 981076"/>
                  <a:gd name="connsiteY2" fmla="*/ 0 h 195263"/>
                  <a:gd name="connsiteX3" fmla="*/ 978694 w 981076"/>
                  <a:gd name="connsiteY3" fmla="*/ 104775 h 195263"/>
                  <a:gd name="connsiteX0" fmla="*/ 973932 w 973932"/>
                  <a:gd name="connsiteY0" fmla="*/ 195263 h 195263"/>
                  <a:gd name="connsiteX1" fmla="*/ 0 w 973932"/>
                  <a:gd name="connsiteY1" fmla="*/ 28574 h 195263"/>
                  <a:gd name="connsiteX2" fmla="*/ 0 w 973932"/>
                  <a:gd name="connsiteY2" fmla="*/ 0 h 195263"/>
                  <a:gd name="connsiteX3" fmla="*/ 971550 w 973932"/>
                  <a:gd name="connsiteY3" fmla="*/ 104775 h 1952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73932" h="195263">
                    <a:moveTo>
                      <a:pt x="973932" y="195263"/>
                    </a:moveTo>
                    <a:lnTo>
                      <a:pt x="0" y="28574"/>
                    </a:lnTo>
                    <a:lnTo>
                      <a:pt x="0" y="0"/>
                    </a:lnTo>
                    <a:lnTo>
                      <a:pt x="971550" y="104775"/>
                    </a:lnTo>
                  </a:path>
                </a:pathLst>
              </a:custGeom>
              <a:grpFill/>
              <a:ln w="19050" cap="flat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31" name="Oval 130">
                <a:extLst>
                  <a:ext uri="{FF2B5EF4-FFF2-40B4-BE49-F238E27FC236}">
                    <a16:creationId xmlns="" xmlns:a16="http://schemas.microsoft.com/office/drawing/2014/main" id="{424E41FB-244E-4C89-9AAE-640F453ABF17}"/>
                  </a:ext>
                </a:extLst>
              </p:cNvPr>
              <p:cNvSpPr/>
              <p:nvPr/>
            </p:nvSpPr>
            <p:spPr>
              <a:xfrm>
                <a:off x="688720" y="2944432"/>
                <a:ext cx="326400" cy="326400"/>
              </a:xfrm>
              <a:prstGeom prst="ellipse">
                <a:avLst/>
              </a:prstGeom>
              <a:grpFill/>
              <a:ln w="19050" cap="flat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  <a:spcBef>
                    <a:spcPts val="900"/>
                  </a:spcBef>
                </a:pPr>
                <a:endParaRPr lang="en-US" sz="1400" dirty="0" err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32" name="Oval 131">
                <a:extLst>
                  <a:ext uri="{FF2B5EF4-FFF2-40B4-BE49-F238E27FC236}">
                    <a16:creationId xmlns="" xmlns:a16="http://schemas.microsoft.com/office/drawing/2014/main" id="{56380A57-816C-4447-87D0-B3FD89E820E5}"/>
                  </a:ext>
                </a:extLst>
              </p:cNvPr>
              <p:cNvSpPr/>
              <p:nvPr/>
            </p:nvSpPr>
            <p:spPr>
              <a:xfrm>
                <a:off x="728309" y="2984021"/>
                <a:ext cx="247222" cy="247222"/>
              </a:xfrm>
              <a:prstGeom prst="ellipse">
                <a:avLst/>
              </a:prstGeom>
              <a:grpFill/>
              <a:ln w="19050" cap="flat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  <a:spcBef>
                    <a:spcPts val="900"/>
                  </a:spcBef>
                </a:pPr>
                <a:endParaRPr lang="en-US" sz="1400" dirty="0" err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33" name="Rectangle: Rounded Corners 132">
                <a:extLst>
                  <a:ext uri="{FF2B5EF4-FFF2-40B4-BE49-F238E27FC236}">
                    <a16:creationId xmlns="" xmlns:a16="http://schemas.microsoft.com/office/drawing/2014/main" id="{BDA0ED6D-1D4F-4FF6-874A-9A8C45342E15}"/>
                  </a:ext>
                </a:extLst>
              </p:cNvPr>
              <p:cNvSpPr/>
              <p:nvPr/>
            </p:nvSpPr>
            <p:spPr>
              <a:xfrm>
                <a:off x="1108447" y="3125171"/>
                <a:ext cx="68739" cy="201600"/>
              </a:xfrm>
              <a:prstGeom prst="roundRect">
                <a:avLst>
                  <a:gd name="adj" fmla="val 42899"/>
                </a:avLst>
              </a:prstGeom>
              <a:grpFill/>
              <a:ln w="19050" cap="flat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  <a:spcBef>
                    <a:spcPts val="900"/>
                  </a:spcBef>
                </a:pPr>
                <a:endParaRPr lang="en-US" sz="1400" dirty="0" err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34" name="Rectangle: Rounded Corners 133">
                <a:extLst>
                  <a:ext uri="{FF2B5EF4-FFF2-40B4-BE49-F238E27FC236}">
                    <a16:creationId xmlns="" xmlns:a16="http://schemas.microsoft.com/office/drawing/2014/main" id="{52EF7A87-62BA-47C8-8FED-B970962C4132}"/>
                  </a:ext>
                </a:extLst>
              </p:cNvPr>
              <p:cNvSpPr/>
              <p:nvPr/>
            </p:nvSpPr>
            <p:spPr>
              <a:xfrm>
                <a:off x="1255732" y="3125171"/>
                <a:ext cx="68739" cy="201600"/>
              </a:xfrm>
              <a:prstGeom prst="roundRect">
                <a:avLst>
                  <a:gd name="adj" fmla="val 42899"/>
                </a:avLst>
              </a:prstGeom>
              <a:grpFill/>
              <a:ln w="19050" cap="flat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  <a:spcBef>
                    <a:spcPts val="900"/>
                  </a:spcBef>
                </a:pPr>
                <a:endParaRPr lang="en-US" sz="1400" dirty="0" err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35" name="Rectangle 134">
                <a:extLst>
                  <a:ext uri="{FF2B5EF4-FFF2-40B4-BE49-F238E27FC236}">
                    <a16:creationId xmlns="" xmlns:a16="http://schemas.microsoft.com/office/drawing/2014/main" id="{5A250C73-A320-4F12-91E6-8C977B3CCB19}"/>
                  </a:ext>
                </a:extLst>
              </p:cNvPr>
              <p:cNvSpPr/>
              <p:nvPr/>
            </p:nvSpPr>
            <p:spPr>
              <a:xfrm>
                <a:off x="1177186" y="3199563"/>
                <a:ext cx="78546" cy="52816"/>
              </a:xfrm>
              <a:prstGeom prst="rect">
                <a:avLst/>
              </a:prstGeom>
              <a:grpFill/>
              <a:ln w="19050" cap="flat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  <a:spcBef>
                    <a:spcPts val="900"/>
                  </a:spcBef>
                </a:pPr>
                <a:endParaRPr lang="en-US" sz="1400" dirty="0" err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</p:grpSp>
        <p:sp>
          <p:nvSpPr>
            <p:cNvPr id="120" name="Oval 119">
              <a:extLst>
                <a:ext uri="{FF2B5EF4-FFF2-40B4-BE49-F238E27FC236}">
                  <a16:creationId xmlns="" xmlns:a16="http://schemas.microsoft.com/office/drawing/2014/main" id="{C07EA375-748A-42B7-96CC-B25ECD6CE758}"/>
                </a:ext>
              </a:extLst>
            </p:cNvPr>
            <p:cNvSpPr/>
            <p:nvPr/>
          </p:nvSpPr>
          <p:spPr>
            <a:xfrm>
              <a:off x="1367644" y="2321302"/>
              <a:ext cx="736892" cy="736892"/>
            </a:xfrm>
            <a:prstGeom prst="ellipse">
              <a:avLst/>
            </a:prstGeom>
            <a:grpFill/>
            <a:ln w="19050" cap="flat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900"/>
                </a:spcBef>
              </a:pPr>
              <a:endParaRPr lang="en-US" sz="140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21" name="Trapezoid 120">
              <a:extLst>
                <a:ext uri="{FF2B5EF4-FFF2-40B4-BE49-F238E27FC236}">
                  <a16:creationId xmlns="" xmlns:a16="http://schemas.microsoft.com/office/drawing/2014/main" id="{73A31DCF-73B0-49CD-9CE4-6C3424B0EFCC}"/>
                </a:ext>
              </a:extLst>
            </p:cNvPr>
            <p:cNvSpPr/>
            <p:nvPr/>
          </p:nvSpPr>
          <p:spPr>
            <a:xfrm>
              <a:off x="1711609" y="2029881"/>
              <a:ext cx="51943" cy="291422"/>
            </a:xfrm>
            <a:prstGeom prst="trapezoid">
              <a:avLst>
                <a:gd name="adj" fmla="val 34962"/>
              </a:avLst>
            </a:prstGeom>
            <a:grpFill/>
            <a:ln w="19050" cap="flat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900"/>
                </a:spcBef>
              </a:pPr>
              <a:endParaRPr lang="en-US" sz="140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22" name="Rectangle 14">
              <a:extLst>
                <a:ext uri="{FF2B5EF4-FFF2-40B4-BE49-F238E27FC236}">
                  <a16:creationId xmlns="" xmlns:a16="http://schemas.microsoft.com/office/drawing/2014/main" id="{C809BEED-085E-40D9-ABEA-3E180A7F93B2}"/>
                </a:ext>
              </a:extLst>
            </p:cNvPr>
            <p:cNvSpPr/>
            <p:nvPr/>
          </p:nvSpPr>
          <p:spPr>
            <a:xfrm>
              <a:off x="1753086" y="2508332"/>
              <a:ext cx="171294" cy="101560"/>
            </a:xfrm>
            <a:custGeom>
              <a:avLst/>
              <a:gdLst>
                <a:gd name="connsiteX0" fmla="*/ 0 w 141797"/>
                <a:gd name="connsiteY0" fmla="*/ 0 h 101560"/>
                <a:gd name="connsiteX1" fmla="*/ 141797 w 141797"/>
                <a:gd name="connsiteY1" fmla="*/ 0 h 101560"/>
                <a:gd name="connsiteX2" fmla="*/ 141797 w 141797"/>
                <a:gd name="connsiteY2" fmla="*/ 101560 h 101560"/>
                <a:gd name="connsiteX3" fmla="*/ 0 w 141797"/>
                <a:gd name="connsiteY3" fmla="*/ 101560 h 101560"/>
                <a:gd name="connsiteX4" fmla="*/ 0 w 141797"/>
                <a:gd name="connsiteY4" fmla="*/ 0 h 101560"/>
                <a:gd name="connsiteX0" fmla="*/ 0 w 171294"/>
                <a:gd name="connsiteY0" fmla="*/ 0 h 101560"/>
                <a:gd name="connsiteX1" fmla="*/ 141797 w 171294"/>
                <a:gd name="connsiteY1" fmla="*/ 0 h 101560"/>
                <a:gd name="connsiteX2" fmla="*/ 171294 w 171294"/>
                <a:gd name="connsiteY2" fmla="*/ 101560 h 101560"/>
                <a:gd name="connsiteX3" fmla="*/ 0 w 171294"/>
                <a:gd name="connsiteY3" fmla="*/ 101560 h 101560"/>
                <a:gd name="connsiteX4" fmla="*/ 0 w 171294"/>
                <a:gd name="connsiteY4" fmla="*/ 0 h 1015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1294" h="101560">
                  <a:moveTo>
                    <a:pt x="0" y="0"/>
                  </a:moveTo>
                  <a:lnTo>
                    <a:pt x="141797" y="0"/>
                  </a:lnTo>
                  <a:lnTo>
                    <a:pt x="171294" y="101560"/>
                  </a:lnTo>
                  <a:lnTo>
                    <a:pt x="0" y="10156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9050" cap="flat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900"/>
                </a:spcBef>
              </a:pPr>
              <a:endParaRPr lang="en-US" sz="140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23" name="Rectangle 14">
              <a:extLst>
                <a:ext uri="{FF2B5EF4-FFF2-40B4-BE49-F238E27FC236}">
                  <a16:creationId xmlns="" xmlns:a16="http://schemas.microsoft.com/office/drawing/2014/main" id="{D88AF4C7-4C97-4A8C-9924-2CE844D4FD00}"/>
                </a:ext>
              </a:extLst>
            </p:cNvPr>
            <p:cNvSpPr/>
            <p:nvPr/>
          </p:nvSpPr>
          <p:spPr>
            <a:xfrm>
              <a:off x="1916720" y="2508332"/>
              <a:ext cx="156546" cy="125705"/>
            </a:xfrm>
            <a:custGeom>
              <a:avLst/>
              <a:gdLst>
                <a:gd name="connsiteX0" fmla="*/ 0 w 141797"/>
                <a:gd name="connsiteY0" fmla="*/ 0 h 101560"/>
                <a:gd name="connsiteX1" fmla="*/ 141797 w 141797"/>
                <a:gd name="connsiteY1" fmla="*/ 0 h 101560"/>
                <a:gd name="connsiteX2" fmla="*/ 141797 w 141797"/>
                <a:gd name="connsiteY2" fmla="*/ 101560 h 101560"/>
                <a:gd name="connsiteX3" fmla="*/ 0 w 141797"/>
                <a:gd name="connsiteY3" fmla="*/ 101560 h 101560"/>
                <a:gd name="connsiteX4" fmla="*/ 0 w 141797"/>
                <a:gd name="connsiteY4" fmla="*/ 0 h 101560"/>
                <a:gd name="connsiteX0" fmla="*/ 0 w 171294"/>
                <a:gd name="connsiteY0" fmla="*/ 0 h 101560"/>
                <a:gd name="connsiteX1" fmla="*/ 141797 w 171294"/>
                <a:gd name="connsiteY1" fmla="*/ 0 h 101560"/>
                <a:gd name="connsiteX2" fmla="*/ 171294 w 171294"/>
                <a:gd name="connsiteY2" fmla="*/ 101560 h 101560"/>
                <a:gd name="connsiteX3" fmla="*/ 0 w 171294"/>
                <a:gd name="connsiteY3" fmla="*/ 101560 h 101560"/>
                <a:gd name="connsiteX4" fmla="*/ 0 w 171294"/>
                <a:gd name="connsiteY4" fmla="*/ 0 h 101560"/>
                <a:gd name="connsiteX0" fmla="*/ 0 w 171294"/>
                <a:gd name="connsiteY0" fmla="*/ 0 h 101560"/>
                <a:gd name="connsiteX1" fmla="*/ 141797 w 171294"/>
                <a:gd name="connsiteY1" fmla="*/ 0 h 101560"/>
                <a:gd name="connsiteX2" fmla="*/ 171294 w 171294"/>
                <a:gd name="connsiteY2" fmla="*/ 101560 h 101560"/>
                <a:gd name="connsiteX3" fmla="*/ 24581 w 171294"/>
                <a:gd name="connsiteY3" fmla="*/ 101560 h 101560"/>
                <a:gd name="connsiteX4" fmla="*/ 0 w 171294"/>
                <a:gd name="connsiteY4" fmla="*/ 0 h 101560"/>
                <a:gd name="connsiteX0" fmla="*/ 0 w 171294"/>
                <a:gd name="connsiteY0" fmla="*/ 0 h 101560"/>
                <a:gd name="connsiteX1" fmla="*/ 141797 w 171294"/>
                <a:gd name="connsiteY1" fmla="*/ 0 h 101560"/>
                <a:gd name="connsiteX2" fmla="*/ 171294 w 171294"/>
                <a:gd name="connsiteY2" fmla="*/ 101560 h 101560"/>
                <a:gd name="connsiteX3" fmla="*/ 27039 w 171294"/>
                <a:gd name="connsiteY3" fmla="*/ 96643 h 101560"/>
                <a:gd name="connsiteX4" fmla="*/ 0 w 171294"/>
                <a:gd name="connsiteY4" fmla="*/ 0 h 101560"/>
                <a:gd name="connsiteX0" fmla="*/ 0 w 171294"/>
                <a:gd name="connsiteY0" fmla="*/ 0 h 101560"/>
                <a:gd name="connsiteX1" fmla="*/ 107384 w 171294"/>
                <a:gd name="connsiteY1" fmla="*/ 0 h 101560"/>
                <a:gd name="connsiteX2" fmla="*/ 171294 w 171294"/>
                <a:gd name="connsiteY2" fmla="*/ 101560 h 101560"/>
                <a:gd name="connsiteX3" fmla="*/ 27039 w 171294"/>
                <a:gd name="connsiteY3" fmla="*/ 96643 h 101560"/>
                <a:gd name="connsiteX4" fmla="*/ 0 w 171294"/>
                <a:gd name="connsiteY4" fmla="*/ 0 h 101560"/>
                <a:gd name="connsiteX0" fmla="*/ 0 w 139339"/>
                <a:gd name="connsiteY0" fmla="*/ 0 h 101560"/>
                <a:gd name="connsiteX1" fmla="*/ 107384 w 139339"/>
                <a:gd name="connsiteY1" fmla="*/ 0 h 101560"/>
                <a:gd name="connsiteX2" fmla="*/ 139339 w 139339"/>
                <a:gd name="connsiteY2" fmla="*/ 101560 h 101560"/>
                <a:gd name="connsiteX3" fmla="*/ 27039 w 139339"/>
                <a:gd name="connsiteY3" fmla="*/ 96643 h 101560"/>
                <a:gd name="connsiteX4" fmla="*/ 0 w 139339"/>
                <a:gd name="connsiteY4" fmla="*/ 0 h 101560"/>
                <a:gd name="connsiteX0" fmla="*/ 0 w 156546"/>
                <a:gd name="connsiteY0" fmla="*/ 0 h 101560"/>
                <a:gd name="connsiteX1" fmla="*/ 107384 w 156546"/>
                <a:gd name="connsiteY1" fmla="*/ 0 h 101560"/>
                <a:gd name="connsiteX2" fmla="*/ 156546 w 156546"/>
                <a:gd name="connsiteY2" fmla="*/ 101560 h 101560"/>
                <a:gd name="connsiteX3" fmla="*/ 27039 w 156546"/>
                <a:gd name="connsiteY3" fmla="*/ 96643 h 101560"/>
                <a:gd name="connsiteX4" fmla="*/ 0 w 156546"/>
                <a:gd name="connsiteY4" fmla="*/ 0 h 101560"/>
                <a:gd name="connsiteX0" fmla="*/ 0 w 156546"/>
                <a:gd name="connsiteY0" fmla="*/ 0 h 101560"/>
                <a:gd name="connsiteX1" fmla="*/ 87719 w 156546"/>
                <a:gd name="connsiteY1" fmla="*/ 0 h 101560"/>
                <a:gd name="connsiteX2" fmla="*/ 156546 w 156546"/>
                <a:gd name="connsiteY2" fmla="*/ 101560 h 101560"/>
                <a:gd name="connsiteX3" fmla="*/ 27039 w 156546"/>
                <a:gd name="connsiteY3" fmla="*/ 96643 h 101560"/>
                <a:gd name="connsiteX4" fmla="*/ 0 w 156546"/>
                <a:gd name="connsiteY4" fmla="*/ 0 h 101560"/>
                <a:gd name="connsiteX0" fmla="*/ 0 w 156546"/>
                <a:gd name="connsiteY0" fmla="*/ 0 h 101560"/>
                <a:gd name="connsiteX1" fmla="*/ 107279 w 156546"/>
                <a:gd name="connsiteY1" fmla="*/ 0 h 101560"/>
                <a:gd name="connsiteX2" fmla="*/ 156546 w 156546"/>
                <a:gd name="connsiteY2" fmla="*/ 101560 h 101560"/>
                <a:gd name="connsiteX3" fmla="*/ 27039 w 156546"/>
                <a:gd name="connsiteY3" fmla="*/ 96643 h 101560"/>
                <a:gd name="connsiteX4" fmla="*/ 0 w 156546"/>
                <a:gd name="connsiteY4" fmla="*/ 0 h 101560"/>
                <a:gd name="connsiteX0" fmla="*/ 0 w 156546"/>
                <a:gd name="connsiteY0" fmla="*/ 0 h 101560"/>
                <a:gd name="connsiteX1" fmla="*/ 107279 w 156546"/>
                <a:gd name="connsiteY1" fmla="*/ 0 h 101560"/>
                <a:gd name="connsiteX2" fmla="*/ 156546 w 156546"/>
                <a:gd name="connsiteY2" fmla="*/ 101560 h 101560"/>
                <a:gd name="connsiteX3" fmla="*/ 110119 w 156546"/>
                <a:gd name="connsiteY3" fmla="*/ 96365 h 101560"/>
                <a:gd name="connsiteX4" fmla="*/ 27039 w 156546"/>
                <a:gd name="connsiteY4" fmla="*/ 96643 h 101560"/>
                <a:gd name="connsiteX5" fmla="*/ 0 w 156546"/>
                <a:gd name="connsiteY5" fmla="*/ 0 h 101560"/>
                <a:gd name="connsiteX0" fmla="*/ 0 w 156546"/>
                <a:gd name="connsiteY0" fmla="*/ 0 h 125705"/>
                <a:gd name="connsiteX1" fmla="*/ 107279 w 156546"/>
                <a:gd name="connsiteY1" fmla="*/ 0 h 125705"/>
                <a:gd name="connsiteX2" fmla="*/ 156546 w 156546"/>
                <a:gd name="connsiteY2" fmla="*/ 101560 h 125705"/>
                <a:gd name="connsiteX3" fmla="*/ 146792 w 156546"/>
                <a:gd name="connsiteY3" fmla="*/ 125705 h 125705"/>
                <a:gd name="connsiteX4" fmla="*/ 27039 w 156546"/>
                <a:gd name="connsiteY4" fmla="*/ 96643 h 125705"/>
                <a:gd name="connsiteX5" fmla="*/ 0 w 156546"/>
                <a:gd name="connsiteY5" fmla="*/ 0 h 125705"/>
                <a:gd name="connsiteX0" fmla="*/ 0 w 156546"/>
                <a:gd name="connsiteY0" fmla="*/ 0 h 125705"/>
                <a:gd name="connsiteX1" fmla="*/ 70606 w 156546"/>
                <a:gd name="connsiteY1" fmla="*/ 0 h 125705"/>
                <a:gd name="connsiteX2" fmla="*/ 156546 w 156546"/>
                <a:gd name="connsiteY2" fmla="*/ 101560 h 125705"/>
                <a:gd name="connsiteX3" fmla="*/ 146792 w 156546"/>
                <a:gd name="connsiteY3" fmla="*/ 125705 h 125705"/>
                <a:gd name="connsiteX4" fmla="*/ 27039 w 156546"/>
                <a:gd name="connsiteY4" fmla="*/ 96643 h 125705"/>
                <a:gd name="connsiteX5" fmla="*/ 0 w 156546"/>
                <a:gd name="connsiteY5" fmla="*/ 0 h 1257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6546" h="125705">
                  <a:moveTo>
                    <a:pt x="0" y="0"/>
                  </a:moveTo>
                  <a:lnTo>
                    <a:pt x="70606" y="0"/>
                  </a:lnTo>
                  <a:lnTo>
                    <a:pt x="156546" y="101560"/>
                  </a:lnTo>
                  <a:lnTo>
                    <a:pt x="146792" y="125705"/>
                  </a:lnTo>
                  <a:lnTo>
                    <a:pt x="27039" y="96643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9050" cap="flat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900"/>
                </a:spcBef>
              </a:pPr>
              <a:endParaRPr lang="en-US" sz="140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grpSp>
          <p:nvGrpSpPr>
            <p:cNvPr id="124" name="Group 123">
              <a:extLst>
                <a:ext uri="{FF2B5EF4-FFF2-40B4-BE49-F238E27FC236}">
                  <a16:creationId xmlns="" xmlns:a16="http://schemas.microsoft.com/office/drawing/2014/main" id="{3B89CD33-3893-49F8-B07F-A97A5CA6EA30}"/>
                </a:ext>
              </a:extLst>
            </p:cNvPr>
            <p:cNvGrpSpPr/>
            <p:nvPr/>
          </p:nvGrpSpPr>
          <p:grpSpPr>
            <a:xfrm flipH="1">
              <a:off x="1395371" y="2508332"/>
              <a:ext cx="320180" cy="125705"/>
              <a:chOff x="1412410" y="2355890"/>
              <a:chExt cx="320180" cy="125705"/>
            </a:xfrm>
            <a:grpFill/>
          </p:grpSpPr>
          <p:sp>
            <p:nvSpPr>
              <p:cNvPr id="125" name="Rectangle 14">
                <a:extLst>
                  <a:ext uri="{FF2B5EF4-FFF2-40B4-BE49-F238E27FC236}">
                    <a16:creationId xmlns="" xmlns:a16="http://schemas.microsoft.com/office/drawing/2014/main" id="{F42C9781-24BE-453C-8585-80A670BAB2CA}"/>
                  </a:ext>
                </a:extLst>
              </p:cNvPr>
              <p:cNvSpPr/>
              <p:nvPr/>
            </p:nvSpPr>
            <p:spPr>
              <a:xfrm>
                <a:off x="1412410" y="2355890"/>
                <a:ext cx="171294" cy="101560"/>
              </a:xfrm>
              <a:custGeom>
                <a:avLst/>
                <a:gdLst>
                  <a:gd name="connsiteX0" fmla="*/ 0 w 141797"/>
                  <a:gd name="connsiteY0" fmla="*/ 0 h 101560"/>
                  <a:gd name="connsiteX1" fmla="*/ 141797 w 141797"/>
                  <a:gd name="connsiteY1" fmla="*/ 0 h 101560"/>
                  <a:gd name="connsiteX2" fmla="*/ 141797 w 141797"/>
                  <a:gd name="connsiteY2" fmla="*/ 101560 h 101560"/>
                  <a:gd name="connsiteX3" fmla="*/ 0 w 141797"/>
                  <a:gd name="connsiteY3" fmla="*/ 101560 h 101560"/>
                  <a:gd name="connsiteX4" fmla="*/ 0 w 141797"/>
                  <a:gd name="connsiteY4" fmla="*/ 0 h 101560"/>
                  <a:gd name="connsiteX0" fmla="*/ 0 w 171294"/>
                  <a:gd name="connsiteY0" fmla="*/ 0 h 101560"/>
                  <a:gd name="connsiteX1" fmla="*/ 141797 w 171294"/>
                  <a:gd name="connsiteY1" fmla="*/ 0 h 101560"/>
                  <a:gd name="connsiteX2" fmla="*/ 171294 w 171294"/>
                  <a:gd name="connsiteY2" fmla="*/ 101560 h 101560"/>
                  <a:gd name="connsiteX3" fmla="*/ 0 w 171294"/>
                  <a:gd name="connsiteY3" fmla="*/ 101560 h 101560"/>
                  <a:gd name="connsiteX4" fmla="*/ 0 w 171294"/>
                  <a:gd name="connsiteY4" fmla="*/ 0 h 1015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1294" h="101560">
                    <a:moveTo>
                      <a:pt x="0" y="0"/>
                    </a:moveTo>
                    <a:lnTo>
                      <a:pt x="141797" y="0"/>
                    </a:lnTo>
                    <a:lnTo>
                      <a:pt x="171294" y="101560"/>
                    </a:lnTo>
                    <a:lnTo>
                      <a:pt x="0" y="10156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9050" cap="flat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  <a:spcBef>
                    <a:spcPts val="900"/>
                  </a:spcBef>
                </a:pPr>
                <a:endParaRPr lang="en-US" sz="1400" dirty="0" err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26" name="Rectangle 14">
                <a:extLst>
                  <a:ext uri="{FF2B5EF4-FFF2-40B4-BE49-F238E27FC236}">
                    <a16:creationId xmlns="" xmlns:a16="http://schemas.microsoft.com/office/drawing/2014/main" id="{45EB3201-EFE0-4AEC-B84D-5DEEA0701414}"/>
                  </a:ext>
                </a:extLst>
              </p:cNvPr>
              <p:cNvSpPr/>
              <p:nvPr/>
            </p:nvSpPr>
            <p:spPr>
              <a:xfrm>
                <a:off x="1576044" y="2355890"/>
                <a:ext cx="156546" cy="125705"/>
              </a:xfrm>
              <a:custGeom>
                <a:avLst/>
                <a:gdLst>
                  <a:gd name="connsiteX0" fmla="*/ 0 w 141797"/>
                  <a:gd name="connsiteY0" fmla="*/ 0 h 101560"/>
                  <a:gd name="connsiteX1" fmla="*/ 141797 w 141797"/>
                  <a:gd name="connsiteY1" fmla="*/ 0 h 101560"/>
                  <a:gd name="connsiteX2" fmla="*/ 141797 w 141797"/>
                  <a:gd name="connsiteY2" fmla="*/ 101560 h 101560"/>
                  <a:gd name="connsiteX3" fmla="*/ 0 w 141797"/>
                  <a:gd name="connsiteY3" fmla="*/ 101560 h 101560"/>
                  <a:gd name="connsiteX4" fmla="*/ 0 w 141797"/>
                  <a:gd name="connsiteY4" fmla="*/ 0 h 101560"/>
                  <a:gd name="connsiteX0" fmla="*/ 0 w 171294"/>
                  <a:gd name="connsiteY0" fmla="*/ 0 h 101560"/>
                  <a:gd name="connsiteX1" fmla="*/ 141797 w 171294"/>
                  <a:gd name="connsiteY1" fmla="*/ 0 h 101560"/>
                  <a:gd name="connsiteX2" fmla="*/ 171294 w 171294"/>
                  <a:gd name="connsiteY2" fmla="*/ 101560 h 101560"/>
                  <a:gd name="connsiteX3" fmla="*/ 0 w 171294"/>
                  <a:gd name="connsiteY3" fmla="*/ 101560 h 101560"/>
                  <a:gd name="connsiteX4" fmla="*/ 0 w 171294"/>
                  <a:gd name="connsiteY4" fmla="*/ 0 h 101560"/>
                  <a:gd name="connsiteX0" fmla="*/ 0 w 171294"/>
                  <a:gd name="connsiteY0" fmla="*/ 0 h 101560"/>
                  <a:gd name="connsiteX1" fmla="*/ 141797 w 171294"/>
                  <a:gd name="connsiteY1" fmla="*/ 0 h 101560"/>
                  <a:gd name="connsiteX2" fmla="*/ 171294 w 171294"/>
                  <a:gd name="connsiteY2" fmla="*/ 101560 h 101560"/>
                  <a:gd name="connsiteX3" fmla="*/ 24581 w 171294"/>
                  <a:gd name="connsiteY3" fmla="*/ 101560 h 101560"/>
                  <a:gd name="connsiteX4" fmla="*/ 0 w 171294"/>
                  <a:gd name="connsiteY4" fmla="*/ 0 h 101560"/>
                  <a:gd name="connsiteX0" fmla="*/ 0 w 171294"/>
                  <a:gd name="connsiteY0" fmla="*/ 0 h 101560"/>
                  <a:gd name="connsiteX1" fmla="*/ 141797 w 171294"/>
                  <a:gd name="connsiteY1" fmla="*/ 0 h 101560"/>
                  <a:gd name="connsiteX2" fmla="*/ 171294 w 171294"/>
                  <a:gd name="connsiteY2" fmla="*/ 101560 h 101560"/>
                  <a:gd name="connsiteX3" fmla="*/ 27039 w 171294"/>
                  <a:gd name="connsiteY3" fmla="*/ 96643 h 101560"/>
                  <a:gd name="connsiteX4" fmla="*/ 0 w 171294"/>
                  <a:gd name="connsiteY4" fmla="*/ 0 h 101560"/>
                  <a:gd name="connsiteX0" fmla="*/ 0 w 171294"/>
                  <a:gd name="connsiteY0" fmla="*/ 0 h 101560"/>
                  <a:gd name="connsiteX1" fmla="*/ 107384 w 171294"/>
                  <a:gd name="connsiteY1" fmla="*/ 0 h 101560"/>
                  <a:gd name="connsiteX2" fmla="*/ 171294 w 171294"/>
                  <a:gd name="connsiteY2" fmla="*/ 101560 h 101560"/>
                  <a:gd name="connsiteX3" fmla="*/ 27039 w 171294"/>
                  <a:gd name="connsiteY3" fmla="*/ 96643 h 101560"/>
                  <a:gd name="connsiteX4" fmla="*/ 0 w 171294"/>
                  <a:gd name="connsiteY4" fmla="*/ 0 h 101560"/>
                  <a:gd name="connsiteX0" fmla="*/ 0 w 139339"/>
                  <a:gd name="connsiteY0" fmla="*/ 0 h 101560"/>
                  <a:gd name="connsiteX1" fmla="*/ 107384 w 139339"/>
                  <a:gd name="connsiteY1" fmla="*/ 0 h 101560"/>
                  <a:gd name="connsiteX2" fmla="*/ 139339 w 139339"/>
                  <a:gd name="connsiteY2" fmla="*/ 101560 h 101560"/>
                  <a:gd name="connsiteX3" fmla="*/ 27039 w 139339"/>
                  <a:gd name="connsiteY3" fmla="*/ 96643 h 101560"/>
                  <a:gd name="connsiteX4" fmla="*/ 0 w 139339"/>
                  <a:gd name="connsiteY4" fmla="*/ 0 h 101560"/>
                  <a:gd name="connsiteX0" fmla="*/ 0 w 156546"/>
                  <a:gd name="connsiteY0" fmla="*/ 0 h 101560"/>
                  <a:gd name="connsiteX1" fmla="*/ 107384 w 156546"/>
                  <a:gd name="connsiteY1" fmla="*/ 0 h 101560"/>
                  <a:gd name="connsiteX2" fmla="*/ 156546 w 156546"/>
                  <a:gd name="connsiteY2" fmla="*/ 101560 h 101560"/>
                  <a:gd name="connsiteX3" fmla="*/ 27039 w 156546"/>
                  <a:gd name="connsiteY3" fmla="*/ 96643 h 101560"/>
                  <a:gd name="connsiteX4" fmla="*/ 0 w 156546"/>
                  <a:gd name="connsiteY4" fmla="*/ 0 h 101560"/>
                  <a:gd name="connsiteX0" fmla="*/ 0 w 156546"/>
                  <a:gd name="connsiteY0" fmla="*/ 0 h 101560"/>
                  <a:gd name="connsiteX1" fmla="*/ 87719 w 156546"/>
                  <a:gd name="connsiteY1" fmla="*/ 0 h 101560"/>
                  <a:gd name="connsiteX2" fmla="*/ 156546 w 156546"/>
                  <a:gd name="connsiteY2" fmla="*/ 101560 h 101560"/>
                  <a:gd name="connsiteX3" fmla="*/ 27039 w 156546"/>
                  <a:gd name="connsiteY3" fmla="*/ 96643 h 101560"/>
                  <a:gd name="connsiteX4" fmla="*/ 0 w 156546"/>
                  <a:gd name="connsiteY4" fmla="*/ 0 h 101560"/>
                  <a:gd name="connsiteX0" fmla="*/ 0 w 156546"/>
                  <a:gd name="connsiteY0" fmla="*/ 0 h 101560"/>
                  <a:gd name="connsiteX1" fmla="*/ 107279 w 156546"/>
                  <a:gd name="connsiteY1" fmla="*/ 0 h 101560"/>
                  <a:gd name="connsiteX2" fmla="*/ 156546 w 156546"/>
                  <a:gd name="connsiteY2" fmla="*/ 101560 h 101560"/>
                  <a:gd name="connsiteX3" fmla="*/ 27039 w 156546"/>
                  <a:gd name="connsiteY3" fmla="*/ 96643 h 101560"/>
                  <a:gd name="connsiteX4" fmla="*/ 0 w 156546"/>
                  <a:gd name="connsiteY4" fmla="*/ 0 h 101560"/>
                  <a:gd name="connsiteX0" fmla="*/ 0 w 156546"/>
                  <a:gd name="connsiteY0" fmla="*/ 0 h 101560"/>
                  <a:gd name="connsiteX1" fmla="*/ 107279 w 156546"/>
                  <a:gd name="connsiteY1" fmla="*/ 0 h 101560"/>
                  <a:gd name="connsiteX2" fmla="*/ 156546 w 156546"/>
                  <a:gd name="connsiteY2" fmla="*/ 101560 h 101560"/>
                  <a:gd name="connsiteX3" fmla="*/ 110119 w 156546"/>
                  <a:gd name="connsiteY3" fmla="*/ 96365 h 101560"/>
                  <a:gd name="connsiteX4" fmla="*/ 27039 w 156546"/>
                  <a:gd name="connsiteY4" fmla="*/ 96643 h 101560"/>
                  <a:gd name="connsiteX5" fmla="*/ 0 w 156546"/>
                  <a:gd name="connsiteY5" fmla="*/ 0 h 101560"/>
                  <a:gd name="connsiteX0" fmla="*/ 0 w 156546"/>
                  <a:gd name="connsiteY0" fmla="*/ 0 h 125705"/>
                  <a:gd name="connsiteX1" fmla="*/ 107279 w 156546"/>
                  <a:gd name="connsiteY1" fmla="*/ 0 h 125705"/>
                  <a:gd name="connsiteX2" fmla="*/ 156546 w 156546"/>
                  <a:gd name="connsiteY2" fmla="*/ 101560 h 125705"/>
                  <a:gd name="connsiteX3" fmla="*/ 146792 w 156546"/>
                  <a:gd name="connsiteY3" fmla="*/ 125705 h 125705"/>
                  <a:gd name="connsiteX4" fmla="*/ 27039 w 156546"/>
                  <a:gd name="connsiteY4" fmla="*/ 96643 h 125705"/>
                  <a:gd name="connsiteX5" fmla="*/ 0 w 156546"/>
                  <a:gd name="connsiteY5" fmla="*/ 0 h 125705"/>
                  <a:gd name="connsiteX0" fmla="*/ 0 w 156546"/>
                  <a:gd name="connsiteY0" fmla="*/ 0 h 125705"/>
                  <a:gd name="connsiteX1" fmla="*/ 70606 w 156546"/>
                  <a:gd name="connsiteY1" fmla="*/ 0 h 125705"/>
                  <a:gd name="connsiteX2" fmla="*/ 156546 w 156546"/>
                  <a:gd name="connsiteY2" fmla="*/ 101560 h 125705"/>
                  <a:gd name="connsiteX3" fmla="*/ 146792 w 156546"/>
                  <a:gd name="connsiteY3" fmla="*/ 125705 h 125705"/>
                  <a:gd name="connsiteX4" fmla="*/ 27039 w 156546"/>
                  <a:gd name="connsiteY4" fmla="*/ 96643 h 125705"/>
                  <a:gd name="connsiteX5" fmla="*/ 0 w 156546"/>
                  <a:gd name="connsiteY5" fmla="*/ 0 h 1257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56546" h="125705">
                    <a:moveTo>
                      <a:pt x="0" y="0"/>
                    </a:moveTo>
                    <a:lnTo>
                      <a:pt x="70606" y="0"/>
                    </a:lnTo>
                    <a:lnTo>
                      <a:pt x="156546" y="101560"/>
                    </a:lnTo>
                    <a:lnTo>
                      <a:pt x="146792" y="125705"/>
                    </a:lnTo>
                    <a:lnTo>
                      <a:pt x="27039" y="96643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9050" cap="flat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  <a:spcBef>
                    <a:spcPts val="900"/>
                  </a:spcBef>
                </a:pPr>
                <a:endParaRPr lang="en-US" sz="1400" dirty="0" err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</p:grpSp>
      </p:grpSp>
      <p:grpSp>
        <p:nvGrpSpPr>
          <p:cNvPr id="11" name="Group 10">
            <a:extLst>
              <a:ext uri="{FF2B5EF4-FFF2-40B4-BE49-F238E27FC236}">
                <a16:creationId xmlns="" xmlns:a16="http://schemas.microsoft.com/office/drawing/2014/main" id="{5F4621AB-DCD4-4A3A-BDAD-77317ACB1E6F}"/>
              </a:ext>
            </a:extLst>
          </p:cNvPr>
          <p:cNvGrpSpPr/>
          <p:nvPr/>
        </p:nvGrpSpPr>
        <p:grpSpPr>
          <a:xfrm>
            <a:off x="1772117" y="5274828"/>
            <a:ext cx="4212070" cy="1068551"/>
            <a:chOff x="1710393" y="2280944"/>
            <a:chExt cx="4241620" cy="1076048"/>
          </a:xfrm>
          <a:solidFill>
            <a:schemeClr val="bg1">
              <a:lumMod val="95000"/>
            </a:schemeClr>
          </a:solidFill>
        </p:grpSpPr>
        <p:grpSp>
          <p:nvGrpSpPr>
            <p:cNvPr id="87" name="Group 86">
              <a:extLst>
                <a:ext uri="{FF2B5EF4-FFF2-40B4-BE49-F238E27FC236}">
                  <a16:creationId xmlns="" xmlns:a16="http://schemas.microsoft.com/office/drawing/2014/main" id="{915E6B5C-0F19-4ADF-91C8-065694F34CEF}"/>
                </a:ext>
              </a:extLst>
            </p:cNvPr>
            <p:cNvGrpSpPr/>
            <p:nvPr/>
          </p:nvGrpSpPr>
          <p:grpSpPr>
            <a:xfrm>
              <a:off x="3345950" y="2378635"/>
              <a:ext cx="2145553" cy="502002"/>
              <a:chOff x="3345950" y="2378635"/>
              <a:chExt cx="2145553" cy="502002"/>
            </a:xfrm>
            <a:grpFill/>
          </p:grpSpPr>
          <p:sp>
            <p:nvSpPr>
              <p:cNvPr id="105" name="Rectangle 104">
                <a:extLst>
                  <a:ext uri="{FF2B5EF4-FFF2-40B4-BE49-F238E27FC236}">
                    <a16:creationId xmlns="" xmlns:a16="http://schemas.microsoft.com/office/drawing/2014/main" id="{43AE9456-212E-4357-831C-C30C4897CC3D}"/>
                  </a:ext>
                </a:extLst>
              </p:cNvPr>
              <p:cNvSpPr/>
              <p:nvPr/>
            </p:nvSpPr>
            <p:spPr>
              <a:xfrm>
                <a:off x="3345950" y="2378635"/>
                <a:ext cx="2145553" cy="502002"/>
              </a:xfrm>
              <a:prstGeom prst="rect">
                <a:avLst/>
              </a:prstGeom>
              <a:grpFill/>
              <a:ln w="19050" cap="flat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  <a:spcBef>
                    <a:spcPts val="900"/>
                  </a:spcBef>
                </a:pPr>
                <a:endParaRPr lang="en-US" sz="1400" dirty="0" err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06" name="Rectangle 105">
                <a:extLst>
                  <a:ext uri="{FF2B5EF4-FFF2-40B4-BE49-F238E27FC236}">
                    <a16:creationId xmlns="" xmlns:a16="http://schemas.microsoft.com/office/drawing/2014/main" id="{380D84B1-24E7-47CE-9785-F5B53410B667}"/>
                  </a:ext>
                </a:extLst>
              </p:cNvPr>
              <p:cNvSpPr/>
              <p:nvPr/>
            </p:nvSpPr>
            <p:spPr>
              <a:xfrm>
                <a:off x="3345950" y="2423098"/>
                <a:ext cx="2145553" cy="413076"/>
              </a:xfrm>
              <a:prstGeom prst="rect">
                <a:avLst/>
              </a:prstGeom>
              <a:grpFill/>
              <a:ln w="19050" cap="flat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  <a:spcBef>
                    <a:spcPts val="900"/>
                  </a:spcBef>
                </a:pPr>
                <a:endParaRPr lang="en-US" sz="1400" dirty="0" err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grpSp>
            <p:nvGrpSpPr>
              <p:cNvPr id="107" name="Group 106">
                <a:extLst>
                  <a:ext uri="{FF2B5EF4-FFF2-40B4-BE49-F238E27FC236}">
                    <a16:creationId xmlns="" xmlns:a16="http://schemas.microsoft.com/office/drawing/2014/main" id="{CB521F74-D82B-4C03-8054-CC057FE834FC}"/>
                  </a:ext>
                </a:extLst>
              </p:cNvPr>
              <p:cNvGrpSpPr/>
              <p:nvPr/>
            </p:nvGrpSpPr>
            <p:grpSpPr>
              <a:xfrm>
                <a:off x="3421176" y="2423098"/>
                <a:ext cx="1953858" cy="413076"/>
                <a:chOff x="3271934" y="2423098"/>
                <a:chExt cx="1953858" cy="413076"/>
              </a:xfrm>
              <a:grpFill/>
            </p:grpSpPr>
            <p:sp>
              <p:nvSpPr>
                <p:cNvPr id="108" name="Parallelogram 107">
                  <a:extLst>
                    <a:ext uri="{FF2B5EF4-FFF2-40B4-BE49-F238E27FC236}">
                      <a16:creationId xmlns="" xmlns:a16="http://schemas.microsoft.com/office/drawing/2014/main" id="{0900FBC5-2241-47E2-9CA9-B9865ED2CAF9}"/>
                    </a:ext>
                  </a:extLst>
                </p:cNvPr>
                <p:cNvSpPr/>
                <p:nvPr/>
              </p:nvSpPr>
              <p:spPr>
                <a:xfrm>
                  <a:off x="3923237" y="2423098"/>
                  <a:ext cx="327938" cy="413076"/>
                </a:xfrm>
                <a:prstGeom prst="parallelogram">
                  <a:avLst>
                    <a:gd name="adj" fmla="val 84166"/>
                  </a:avLst>
                </a:prstGeom>
                <a:grpFill/>
                <a:ln w="19050" cap="flat">
                  <a:solidFill>
                    <a:schemeClr val="tx1"/>
                  </a:solidFill>
                  <a:miter lim="800000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lnSpc>
                      <a:spcPct val="90000"/>
                    </a:lnSpc>
                    <a:spcBef>
                      <a:spcPts val="900"/>
                    </a:spcBef>
                  </a:pPr>
                  <a:endParaRPr lang="en-US" sz="1400" dirty="0" err="1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109" name="Parallelogram 108">
                  <a:extLst>
                    <a:ext uri="{FF2B5EF4-FFF2-40B4-BE49-F238E27FC236}">
                      <a16:creationId xmlns="" xmlns:a16="http://schemas.microsoft.com/office/drawing/2014/main" id="{645DCC1D-1055-406E-80F8-31A16E31C63E}"/>
                    </a:ext>
                  </a:extLst>
                </p:cNvPr>
                <p:cNvSpPr/>
                <p:nvPr/>
              </p:nvSpPr>
              <p:spPr>
                <a:xfrm flipH="1">
                  <a:off x="4247548" y="2423098"/>
                  <a:ext cx="327938" cy="413076"/>
                </a:xfrm>
                <a:prstGeom prst="parallelogram">
                  <a:avLst>
                    <a:gd name="adj" fmla="val 84166"/>
                  </a:avLst>
                </a:prstGeom>
                <a:grpFill/>
                <a:ln w="19050" cap="flat">
                  <a:solidFill>
                    <a:schemeClr val="tx1"/>
                  </a:solidFill>
                  <a:miter lim="800000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lnSpc>
                      <a:spcPct val="90000"/>
                    </a:lnSpc>
                    <a:spcBef>
                      <a:spcPts val="900"/>
                    </a:spcBef>
                  </a:pPr>
                  <a:endParaRPr lang="en-US" sz="1400" dirty="0" err="1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110" name="Parallelogram 109">
                  <a:extLst>
                    <a:ext uri="{FF2B5EF4-FFF2-40B4-BE49-F238E27FC236}">
                      <a16:creationId xmlns="" xmlns:a16="http://schemas.microsoft.com/office/drawing/2014/main" id="{D68A0FFA-8E0D-42A0-A106-2B635A6CEC3A}"/>
                    </a:ext>
                  </a:extLst>
                </p:cNvPr>
                <p:cNvSpPr/>
                <p:nvPr/>
              </p:nvSpPr>
              <p:spPr>
                <a:xfrm>
                  <a:off x="4573542" y="2423098"/>
                  <a:ext cx="327938" cy="413076"/>
                </a:xfrm>
                <a:prstGeom prst="parallelogram">
                  <a:avLst>
                    <a:gd name="adj" fmla="val 84166"/>
                  </a:avLst>
                </a:prstGeom>
                <a:grpFill/>
                <a:ln w="19050" cap="flat">
                  <a:solidFill>
                    <a:schemeClr val="tx1"/>
                  </a:solidFill>
                  <a:miter lim="800000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lnSpc>
                      <a:spcPct val="90000"/>
                    </a:lnSpc>
                    <a:spcBef>
                      <a:spcPts val="900"/>
                    </a:spcBef>
                  </a:pPr>
                  <a:endParaRPr lang="en-US" sz="1400" dirty="0" err="1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111" name="Parallelogram 110">
                  <a:extLst>
                    <a:ext uri="{FF2B5EF4-FFF2-40B4-BE49-F238E27FC236}">
                      <a16:creationId xmlns="" xmlns:a16="http://schemas.microsoft.com/office/drawing/2014/main" id="{ED2BD6A9-3C2B-4CC7-B583-DA70B3B675C5}"/>
                    </a:ext>
                  </a:extLst>
                </p:cNvPr>
                <p:cNvSpPr/>
                <p:nvPr/>
              </p:nvSpPr>
              <p:spPr>
                <a:xfrm flipH="1">
                  <a:off x="4897854" y="2423098"/>
                  <a:ext cx="327938" cy="413076"/>
                </a:xfrm>
                <a:prstGeom prst="parallelogram">
                  <a:avLst>
                    <a:gd name="adj" fmla="val 84166"/>
                  </a:avLst>
                </a:prstGeom>
                <a:grpFill/>
                <a:ln w="19050" cap="flat">
                  <a:solidFill>
                    <a:schemeClr val="tx1"/>
                  </a:solidFill>
                  <a:miter lim="800000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lnSpc>
                      <a:spcPct val="90000"/>
                    </a:lnSpc>
                    <a:spcBef>
                      <a:spcPts val="900"/>
                    </a:spcBef>
                  </a:pPr>
                  <a:endParaRPr lang="en-US" sz="1400" dirty="0" err="1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endParaRPr>
                </a:p>
              </p:txBody>
            </p:sp>
            <p:grpSp>
              <p:nvGrpSpPr>
                <p:cNvPr id="112" name="Group 111">
                  <a:extLst>
                    <a:ext uri="{FF2B5EF4-FFF2-40B4-BE49-F238E27FC236}">
                      <a16:creationId xmlns="" xmlns:a16="http://schemas.microsoft.com/office/drawing/2014/main" id="{2C12EFA8-B13F-43B4-ABEA-2A64021BBC0F}"/>
                    </a:ext>
                  </a:extLst>
                </p:cNvPr>
                <p:cNvGrpSpPr/>
                <p:nvPr/>
              </p:nvGrpSpPr>
              <p:grpSpPr>
                <a:xfrm>
                  <a:off x="3271934" y="2423098"/>
                  <a:ext cx="652249" cy="413076"/>
                  <a:chOff x="3271934" y="2423098"/>
                  <a:chExt cx="652249" cy="413076"/>
                </a:xfrm>
                <a:grpFill/>
              </p:grpSpPr>
              <p:sp>
                <p:nvSpPr>
                  <p:cNvPr id="113" name="Parallelogram 112">
                    <a:extLst>
                      <a:ext uri="{FF2B5EF4-FFF2-40B4-BE49-F238E27FC236}">
                        <a16:creationId xmlns="" xmlns:a16="http://schemas.microsoft.com/office/drawing/2014/main" id="{110F30C4-D3F5-4473-B590-FB5F5E6927B9}"/>
                      </a:ext>
                    </a:extLst>
                  </p:cNvPr>
                  <p:cNvSpPr/>
                  <p:nvPr/>
                </p:nvSpPr>
                <p:spPr>
                  <a:xfrm>
                    <a:off x="3271934" y="2423098"/>
                    <a:ext cx="327938" cy="413076"/>
                  </a:xfrm>
                  <a:prstGeom prst="parallelogram">
                    <a:avLst>
                      <a:gd name="adj" fmla="val 84166"/>
                    </a:avLst>
                  </a:prstGeom>
                  <a:grpFill/>
                  <a:ln w="19050" cap="flat">
                    <a:solidFill>
                      <a:schemeClr val="tx1"/>
                    </a:solidFill>
                    <a:miter lim="800000"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>
                      <a:lnSpc>
                        <a:spcPct val="90000"/>
                      </a:lnSpc>
                      <a:spcBef>
                        <a:spcPts val="900"/>
                      </a:spcBef>
                    </a:pPr>
                    <a:endParaRPr lang="en-US" sz="1400" dirty="0" err="1">
                      <a:solidFill>
                        <a:schemeClr val="bg1"/>
                      </a:solidFill>
                      <a:latin typeface="Arial" pitchFamily="34" charset="0"/>
                      <a:cs typeface="Arial" pitchFamily="34" charset="0"/>
                    </a:endParaRPr>
                  </a:p>
                </p:txBody>
              </p:sp>
              <p:sp>
                <p:nvSpPr>
                  <p:cNvPr id="114" name="Parallelogram 113">
                    <a:extLst>
                      <a:ext uri="{FF2B5EF4-FFF2-40B4-BE49-F238E27FC236}">
                        <a16:creationId xmlns="" xmlns:a16="http://schemas.microsoft.com/office/drawing/2014/main" id="{B51AC7FE-7262-4DD5-8314-E26F3CC6240C}"/>
                      </a:ext>
                    </a:extLst>
                  </p:cNvPr>
                  <p:cNvSpPr/>
                  <p:nvPr/>
                </p:nvSpPr>
                <p:spPr>
                  <a:xfrm flipH="1">
                    <a:off x="3596245" y="2423098"/>
                    <a:ext cx="327938" cy="413076"/>
                  </a:xfrm>
                  <a:prstGeom prst="parallelogram">
                    <a:avLst>
                      <a:gd name="adj" fmla="val 84166"/>
                    </a:avLst>
                  </a:prstGeom>
                  <a:grpFill/>
                  <a:ln w="19050" cap="flat">
                    <a:solidFill>
                      <a:schemeClr val="tx1"/>
                    </a:solidFill>
                    <a:miter lim="800000"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>
                      <a:lnSpc>
                        <a:spcPct val="90000"/>
                      </a:lnSpc>
                      <a:spcBef>
                        <a:spcPts val="900"/>
                      </a:spcBef>
                    </a:pPr>
                    <a:endParaRPr lang="en-US" sz="1400" dirty="0" err="1">
                      <a:solidFill>
                        <a:schemeClr val="bg1"/>
                      </a:solidFill>
                      <a:latin typeface="Arial" pitchFamily="34" charset="0"/>
                      <a:cs typeface="Arial" pitchFamily="34" charset="0"/>
                    </a:endParaRPr>
                  </a:p>
                </p:txBody>
              </p:sp>
            </p:grpSp>
          </p:grpSp>
        </p:grpSp>
        <p:grpSp>
          <p:nvGrpSpPr>
            <p:cNvPr id="88" name="Group 87">
              <a:extLst>
                <a:ext uri="{FF2B5EF4-FFF2-40B4-BE49-F238E27FC236}">
                  <a16:creationId xmlns="" xmlns:a16="http://schemas.microsoft.com/office/drawing/2014/main" id="{A7B350A7-411A-4E79-A64D-350B6396143F}"/>
                </a:ext>
              </a:extLst>
            </p:cNvPr>
            <p:cNvGrpSpPr/>
            <p:nvPr/>
          </p:nvGrpSpPr>
          <p:grpSpPr>
            <a:xfrm>
              <a:off x="1710393" y="2280944"/>
              <a:ext cx="1708388" cy="1064110"/>
              <a:chOff x="1710393" y="2280944"/>
              <a:chExt cx="1708388" cy="1064110"/>
            </a:xfrm>
            <a:grpFill/>
          </p:grpSpPr>
          <p:sp>
            <p:nvSpPr>
              <p:cNvPr id="92" name="Rectangle 91">
                <a:extLst>
                  <a:ext uri="{FF2B5EF4-FFF2-40B4-BE49-F238E27FC236}">
                    <a16:creationId xmlns="" xmlns:a16="http://schemas.microsoft.com/office/drawing/2014/main" id="{F8EA8161-BAC3-41AD-A37D-5036F81335CA}"/>
                  </a:ext>
                </a:extLst>
              </p:cNvPr>
              <p:cNvSpPr/>
              <p:nvPr/>
            </p:nvSpPr>
            <p:spPr>
              <a:xfrm>
                <a:off x="3097349" y="2953061"/>
                <a:ext cx="47032" cy="300358"/>
              </a:xfrm>
              <a:prstGeom prst="rect">
                <a:avLst/>
              </a:prstGeom>
              <a:grpFill/>
              <a:ln w="19050" cap="flat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  <a:spcBef>
                    <a:spcPts val="900"/>
                  </a:spcBef>
                </a:pPr>
                <a:endParaRPr lang="en-US" sz="1400" dirty="0" err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93" name="Rectangle 92">
                <a:extLst>
                  <a:ext uri="{FF2B5EF4-FFF2-40B4-BE49-F238E27FC236}">
                    <a16:creationId xmlns="" xmlns:a16="http://schemas.microsoft.com/office/drawing/2014/main" id="{74336F06-65DE-4698-AB30-C309A0A487C9}"/>
                  </a:ext>
                </a:extLst>
              </p:cNvPr>
              <p:cNvSpPr/>
              <p:nvPr/>
            </p:nvSpPr>
            <p:spPr>
              <a:xfrm>
                <a:off x="3084437" y="3131941"/>
                <a:ext cx="77500" cy="70060"/>
              </a:xfrm>
              <a:prstGeom prst="rect">
                <a:avLst/>
              </a:prstGeom>
              <a:grpFill/>
              <a:ln w="19050" cap="flat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  <a:spcBef>
                    <a:spcPts val="900"/>
                  </a:spcBef>
                </a:pPr>
                <a:endParaRPr lang="en-US" sz="1400" dirty="0" err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94" name="Freeform: Shape 93">
                <a:extLst>
                  <a:ext uri="{FF2B5EF4-FFF2-40B4-BE49-F238E27FC236}">
                    <a16:creationId xmlns="" xmlns:a16="http://schemas.microsoft.com/office/drawing/2014/main" id="{61F25136-0D75-4ED5-A6F6-64A50CE9C5DB}"/>
                  </a:ext>
                </a:extLst>
              </p:cNvPr>
              <p:cNvSpPr/>
              <p:nvPr/>
            </p:nvSpPr>
            <p:spPr>
              <a:xfrm>
                <a:off x="1710393" y="2361638"/>
                <a:ext cx="448662" cy="516445"/>
              </a:xfrm>
              <a:custGeom>
                <a:avLst/>
                <a:gdLst>
                  <a:gd name="connsiteX0" fmla="*/ 0 w 518782"/>
                  <a:gd name="connsiteY0" fmla="*/ 149290 h 597159"/>
                  <a:gd name="connsiteX1" fmla="*/ 291115 w 518782"/>
                  <a:gd name="connsiteY1" fmla="*/ 597159 h 597159"/>
                  <a:gd name="connsiteX2" fmla="*/ 518782 w 518782"/>
                  <a:gd name="connsiteY2" fmla="*/ 597159 h 597159"/>
                  <a:gd name="connsiteX3" fmla="*/ 496388 w 518782"/>
                  <a:gd name="connsiteY3" fmla="*/ 0 h 597159"/>
                  <a:gd name="connsiteX4" fmla="*/ 0 w 518782"/>
                  <a:gd name="connsiteY4" fmla="*/ 149290 h 597159"/>
                  <a:gd name="connsiteX0" fmla="*/ 0 w 518782"/>
                  <a:gd name="connsiteY0" fmla="*/ 149290 h 597159"/>
                  <a:gd name="connsiteX1" fmla="*/ 291115 w 518782"/>
                  <a:gd name="connsiteY1" fmla="*/ 597159 h 597159"/>
                  <a:gd name="connsiteX2" fmla="*/ 518782 w 518782"/>
                  <a:gd name="connsiteY2" fmla="*/ 597159 h 597159"/>
                  <a:gd name="connsiteX3" fmla="*/ 496388 w 518782"/>
                  <a:gd name="connsiteY3" fmla="*/ 0 h 597159"/>
                  <a:gd name="connsiteX4" fmla="*/ 0 w 518782"/>
                  <a:gd name="connsiteY4" fmla="*/ 149290 h 597159"/>
                  <a:gd name="connsiteX0" fmla="*/ 0 w 518782"/>
                  <a:gd name="connsiteY0" fmla="*/ 149290 h 597159"/>
                  <a:gd name="connsiteX1" fmla="*/ 291115 w 518782"/>
                  <a:gd name="connsiteY1" fmla="*/ 597159 h 597159"/>
                  <a:gd name="connsiteX2" fmla="*/ 518782 w 518782"/>
                  <a:gd name="connsiteY2" fmla="*/ 597159 h 597159"/>
                  <a:gd name="connsiteX3" fmla="*/ 496388 w 518782"/>
                  <a:gd name="connsiteY3" fmla="*/ 0 h 597159"/>
                  <a:gd name="connsiteX4" fmla="*/ 0 w 518782"/>
                  <a:gd name="connsiteY4" fmla="*/ 149290 h 597159"/>
                  <a:gd name="connsiteX0" fmla="*/ 0 w 518782"/>
                  <a:gd name="connsiteY0" fmla="*/ 149290 h 597159"/>
                  <a:gd name="connsiteX1" fmla="*/ 291115 w 518782"/>
                  <a:gd name="connsiteY1" fmla="*/ 597159 h 597159"/>
                  <a:gd name="connsiteX2" fmla="*/ 518782 w 518782"/>
                  <a:gd name="connsiteY2" fmla="*/ 597159 h 597159"/>
                  <a:gd name="connsiteX3" fmla="*/ 496388 w 518782"/>
                  <a:gd name="connsiteY3" fmla="*/ 0 h 597159"/>
                  <a:gd name="connsiteX4" fmla="*/ 0 w 518782"/>
                  <a:gd name="connsiteY4" fmla="*/ 149290 h 597159"/>
                  <a:gd name="connsiteX0" fmla="*/ 0 w 518782"/>
                  <a:gd name="connsiteY0" fmla="*/ 149290 h 597159"/>
                  <a:gd name="connsiteX1" fmla="*/ 291115 w 518782"/>
                  <a:gd name="connsiteY1" fmla="*/ 597159 h 597159"/>
                  <a:gd name="connsiteX2" fmla="*/ 518782 w 518782"/>
                  <a:gd name="connsiteY2" fmla="*/ 597159 h 597159"/>
                  <a:gd name="connsiteX3" fmla="*/ 496388 w 518782"/>
                  <a:gd name="connsiteY3" fmla="*/ 0 h 597159"/>
                  <a:gd name="connsiteX4" fmla="*/ 0 w 518782"/>
                  <a:gd name="connsiteY4" fmla="*/ 149290 h 597159"/>
                  <a:gd name="connsiteX0" fmla="*/ 0 w 518782"/>
                  <a:gd name="connsiteY0" fmla="*/ 149290 h 597159"/>
                  <a:gd name="connsiteX1" fmla="*/ 291115 w 518782"/>
                  <a:gd name="connsiteY1" fmla="*/ 597159 h 597159"/>
                  <a:gd name="connsiteX2" fmla="*/ 518782 w 518782"/>
                  <a:gd name="connsiteY2" fmla="*/ 597159 h 597159"/>
                  <a:gd name="connsiteX3" fmla="*/ 496388 w 518782"/>
                  <a:gd name="connsiteY3" fmla="*/ 0 h 597159"/>
                  <a:gd name="connsiteX4" fmla="*/ 0 w 518782"/>
                  <a:gd name="connsiteY4" fmla="*/ 149290 h 597159"/>
                  <a:gd name="connsiteX0" fmla="*/ 0 w 518782"/>
                  <a:gd name="connsiteY0" fmla="*/ 149290 h 597159"/>
                  <a:gd name="connsiteX1" fmla="*/ 291115 w 518782"/>
                  <a:gd name="connsiteY1" fmla="*/ 597159 h 597159"/>
                  <a:gd name="connsiteX2" fmla="*/ 518782 w 518782"/>
                  <a:gd name="connsiteY2" fmla="*/ 597159 h 597159"/>
                  <a:gd name="connsiteX3" fmla="*/ 496388 w 518782"/>
                  <a:gd name="connsiteY3" fmla="*/ 0 h 597159"/>
                  <a:gd name="connsiteX4" fmla="*/ 0 w 518782"/>
                  <a:gd name="connsiteY4" fmla="*/ 149290 h 597159"/>
                  <a:gd name="connsiteX0" fmla="*/ 0 w 518782"/>
                  <a:gd name="connsiteY0" fmla="*/ 149290 h 597159"/>
                  <a:gd name="connsiteX1" fmla="*/ 291115 w 518782"/>
                  <a:gd name="connsiteY1" fmla="*/ 597159 h 597159"/>
                  <a:gd name="connsiteX2" fmla="*/ 518782 w 518782"/>
                  <a:gd name="connsiteY2" fmla="*/ 597159 h 597159"/>
                  <a:gd name="connsiteX3" fmla="*/ 496388 w 518782"/>
                  <a:gd name="connsiteY3" fmla="*/ 0 h 597159"/>
                  <a:gd name="connsiteX4" fmla="*/ 0 w 518782"/>
                  <a:gd name="connsiteY4" fmla="*/ 149290 h 597159"/>
                  <a:gd name="connsiteX0" fmla="*/ 0 w 518782"/>
                  <a:gd name="connsiteY0" fmla="*/ 149290 h 597159"/>
                  <a:gd name="connsiteX1" fmla="*/ 291115 w 518782"/>
                  <a:gd name="connsiteY1" fmla="*/ 597159 h 597159"/>
                  <a:gd name="connsiteX2" fmla="*/ 518782 w 518782"/>
                  <a:gd name="connsiteY2" fmla="*/ 597159 h 597159"/>
                  <a:gd name="connsiteX3" fmla="*/ 496388 w 518782"/>
                  <a:gd name="connsiteY3" fmla="*/ 0 h 597159"/>
                  <a:gd name="connsiteX4" fmla="*/ 0 w 518782"/>
                  <a:gd name="connsiteY4" fmla="*/ 149290 h 597159"/>
                  <a:gd name="connsiteX0" fmla="*/ 0 w 518782"/>
                  <a:gd name="connsiteY0" fmla="*/ 149290 h 597159"/>
                  <a:gd name="connsiteX1" fmla="*/ 291115 w 518782"/>
                  <a:gd name="connsiteY1" fmla="*/ 597159 h 597159"/>
                  <a:gd name="connsiteX2" fmla="*/ 518782 w 518782"/>
                  <a:gd name="connsiteY2" fmla="*/ 597159 h 597159"/>
                  <a:gd name="connsiteX3" fmla="*/ 496388 w 518782"/>
                  <a:gd name="connsiteY3" fmla="*/ 0 h 597159"/>
                  <a:gd name="connsiteX4" fmla="*/ 0 w 518782"/>
                  <a:gd name="connsiteY4" fmla="*/ 149290 h 597159"/>
                  <a:gd name="connsiteX0" fmla="*/ 0 w 518782"/>
                  <a:gd name="connsiteY0" fmla="*/ 149290 h 597159"/>
                  <a:gd name="connsiteX1" fmla="*/ 298580 w 518782"/>
                  <a:gd name="connsiteY1" fmla="*/ 563568 h 597159"/>
                  <a:gd name="connsiteX2" fmla="*/ 518782 w 518782"/>
                  <a:gd name="connsiteY2" fmla="*/ 597159 h 597159"/>
                  <a:gd name="connsiteX3" fmla="*/ 496388 w 518782"/>
                  <a:gd name="connsiteY3" fmla="*/ 0 h 597159"/>
                  <a:gd name="connsiteX4" fmla="*/ 0 w 518782"/>
                  <a:gd name="connsiteY4" fmla="*/ 149290 h 597159"/>
                  <a:gd name="connsiteX0" fmla="*/ 0 w 518782"/>
                  <a:gd name="connsiteY0" fmla="*/ 149290 h 597159"/>
                  <a:gd name="connsiteX1" fmla="*/ 302312 w 518782"/>
                  <a:gd name="connsiteY1" fmla="*/ 582230 h 597159"/>
                  <a:gd name="connsiteX2" fmla="*/ 518782 w 518782"/>
                  <a:gd name="connsiteY2" fmla="*/ 597159 h 597159"/>
                  <a:gd name="connsiteX3" fmla="*/ 496388 w 518782"/>
                  <a:gd name="connsiteY3" fmla="*/ 0 h 597159"/>
                  <a:gd name="connsiteX4" fmla="*/ 0 w 518782"/>
                  <a:gd name="connsiteY4" fmla="*/ 149290 h 597159"/>
                  <a:gd name="connsiteX0" fmla="*/ 0 w 518782"/>
                  <a:gd name="connsiteY0" fmla="*/ 149290 h 597159"/>
                  <a:gd name="connsiteX1" fmla="*/ 313509 w 518782"/>
                  <a:gd name="connsiteY1" fmla="*/ 574765 h 597159"/>
                  <a:gd name="connsiteX2" fmla="*/ 518782 w 518782"/>
                  <a:gd name="connsiteY2" fmla="*/ 597159 h 597159"/>
                  <a:gd name="connsiteX3" fmla="*/ 496388 w 518782"/>
                  <a:gd name="connsiteY3" fmla="*/ 0 h 597159"/>
                  <a:gd name="connsiteX4" fmla="*/ 0 w 518782"/>
                  <a:gd name="connsiteY4" fmla="*/ 149290 h 597159"/>
                  <a:gd name="connsiteX0" fmla="*/ 0 w 518782"/>
                  <a:gd name="connsiteY0" fmla="*/ 149290 h 597159"/>
                  <a:gd name="connsiteX1" fmla="*/ 313509 w 518782"/>
                  <a:gd name="connsiteY1" fmla="*/ 574765 h 597159"/>
                  <a:gd name="connsiteX2" fmla="*/ 518782 w 518782"/>
                  <a:gd name="connsiteY2" fmla="*/ 597159 h 597159"/>
                  <a:gd name="connsiteX3" fmla="*/ 496388 w 518782"/>
                  <a:gd name="connsiteY3" fmla="*/ 0 h 597159"/>
                  <a:gd name="connsiteX4" fmla="*/ 0 w 518782"/>
                  <a:gd name="connsiteY4" fmla="*/ 149290 h 597159"/>
                  <a:gd name="connsiteX0" fmla="*/ 0 w 518782"/>
                  <a:gd name="connsiteY0" fmla="*/ 149290 h 597159"/>
                  <a:gd name="connsiteX1" fmla="*/ 313509 w 518782"/>
                  <a:gd name="connsiteY1" fmla="*/ 574765 h 597159"/>
                  <a:gd name="connsiteX2" fmla="*/ 518782 w 518782"/>
                  <a:gd name="connsiteY2" fmla="*/ 597159 h 597159"/>
                  <a:gd name="connsiteX3" fmla="*/ 496388 w 518782"/>
                  <a:gd name="connsiteY3" fmla="*/ 0 h 597159"/>
                  <a:gd name="connsiteX4" fmla="*/ 0 w 518782"/>
                  <a:gd name="connsiteY4" fmla="*/ 149290 h 597159"/>
                  <a:gd name="connsiteX0" fmla="*/ 0 w 518782"/>
                  <a:gd name="connsiteY0" fmla="*/ 149290 h 597159"/>
                  <a:gd name="connsiteX1" fmla="*/ 313509 w 518782"/>
                  <a:gd name="connsiteY1" fmla="*/ 574765 h 597159"/>
                  <a:gd name="connsiteX2" fmla="*/ 518782 w 518782"/>
                  <a:gd name="connsiteY2" fmla="*/ 597159 h 597159"/>
                  <a:gd name="connsiteX3" fmla="*/ 496388 w 518782"/>
                  <a:gd name="connsiteY3" fmla="*/ 0 h 597159"/>
                  <a:gd name="connsiteX4" fmla="*/ 0 w 518782"/>
                  <a:gd name="connsiteY4" fmla="*/ 149290 h 597159"/>
                  <a:gd name="connsiteX0" fmla="*/ 0 w 518782"/>
                  <a:gd name="connsiteY0" fmla="*/ 149290 h 597159"/>
                  <a:gd name="connsiteX1" fmla="*/ 313509 w 518782"/>
                  <a:gd name="connsiteY1" fmla="*/ 574765 h 597159"/>
                  <a:gd name="connsiteX2" fmla="*/ 518782 w 518782"/>
                  <a:gd name="connsiteY2" fmla="*/ 597159 h 597159"/>
                  <a:gd name="connsiteX3" fmla="*/ 496388 w 518782"/>
                  <a:gd name="connsiteY3" fmla="*/ 0 h 597159"/>
                  <a:gd name="connsiteX4" fmla="*/ 0 w 518782"/>
                  <a:gd name="connsiteY4" fmla="*/ 149290 h 597159"/>
                  <a:gd name="connsiteX0" fmla="*/ 0 w 518782"/>
                  <a:gd name="connsiteY0" fmla="*/ 149290 h 597159"/>
                  <a:gd name="connsiteX1" fmla="*/ 313509 w 518782"/>
                  <a:gd name="connsiteY1" fmla="*/ 574765 h 597159"/>
                  <a:gd name="connsiteX2" fmla="*/ 518782 w 518782"/>
                  <a:gd name="connsiteY2" fmla="*/ 597159 h 597159"/>
                  <a:gd name="connsiteX3" fmla="*/ 496388 w 518782"/>
                  <a:gd name="connsiteY3" fmla="*/ 0 h 597159"/>
                  <a:gd name="connsiteX4" fmla="*/ 0 w 518782"/>
                  <a:gd name="connsiteY4" fmla="*/ 149290 h 5971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18782" h="597159">
                    <a:moveTo>
                      <a:pt x="0" y="149290"/>
                    </a:moveTo>
                    <a:cubicBezTo>
                      <a:pt x="197809" y="223935"/>
                      <a:pt x="306046" y="306043"/>
                      <a:pt x="313509" y="574765"/>
                    </a:cubicBezTo>
                    <a:lnTo>
                      <a:pt x="518782" y="597159"/>
                    </a:lnTo>
                    <a:lnTo>
                      <a:pt x="496388" y="0"/>
                    </a:lnTo>
                    <a:cubicBezTo>
                      <a:pt x="308531" y="4976"/>
                      <a:pt x="124408" y="17418"/>
                      <a:pt x="0" y="149290"/>
                    </a:cubicBezTo>
                    <a:close/>
                  </a:path>
                </a:pathLst>
              </a:custGeom>
              <a:grpFill/>
              <a:ln w="19050" cap="flat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  <a:spcBef>
                    <a:spcPts val="900"/>
                  </a:spcBef>
                </a:pPr>
                <a:endParaRPr lang="en-US" sz="1400" dirty="0" err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95" name="Freeform: Shape 94">
                <a:extLst>
                  <a:ext uri="{FF2B5EF4-FFF2-40B4-BE49-F238E27FC236}">
                    <a16:creationId xmlns="" xmlns:a16="http://schemas.microsoft.com/office/drawing/2014/main" id="{2AE435BC-346E-4A54-8E7D-4EB67B43A366}"/>
                  </a:ext>
                </a:extLst>
              </p:cNvPr>
              <p:cNvSpPr/>
              <p:nvPr/>
            </p:nvSpPr>
            <p:spPr>
              <a:xfrm>
                <a:off x="1768494" y="2452015"/>
                <a:ext cx="242084" cy="403473"/>
              </a:xfrm>
              <a:custGeom>
                <a:avLst/>
                <a:gdLst>
                  <a:gd name="connsiteX0" fmla="*/ 0 w 309777"/>
                  <a:gd name="connsiteY0" fmla="*/ 0 h 459066"/>
                  <a:gd name="connsiteX1" fmla="*/ 309777 w 309777"/>
                  <a:gd name="connsiteY1" fmla="*/ 459066 h 459066"/>
                  <a:gd name="connsiteX0" fmla="*/ 0 w 309777"/>
                  <a:gd name="connsiteY0" fmla="*/ 0 h 459066"/>
                  <a:gd name="connsiteX1" fmla="*/ 309777 w 309777"/>
                  <a:gd name="connsiteY1" fmla="*/ 459066 h 459066"/>
                  <a:gd name="connsiteX0" fmla="*/ 0 w 309777"/>
                  <a:gd name="connsiteY0" fmla="*/ 0 h 459066"/>
                  <a:gd name="connsiteX1" fmla="*/ 309777 w 309777"/>
                  <a:gd name="connsiteY1" fmla="*/ 459066 h 459066"/>
                  <a:gd name="connsiteX0" fmla="*/ 0 w 309777"/>
                  <a:gd name="connsiteY0" fmla="*/ 0 h 459066"/>
                  <a:gd name="connsiteX1" fmla="*/ 309777 w 309777"/>
                  <a:gd name="connsiteY1" fmla="*/ 459066 h 459066"/>
                  <a:gd name="connsiteX0" fmla="*/ 0 w 283651"/>
                  <a:gd name="connsiteY0" fmla="*/ 0 h 436673"/>
                  <a:gd name="connsiteX1" fmla="*/ 283651 w 283651"/>
                  <a:gd name="connsiteY1" fmla="*/ 436673 h 436673"/>
                  <a:gd name="connsiteX0" fmla="*/ 0 w 283651"/>
                  <a:gd name="connsiteY0" fmla="*/ 0 h 436673"/>
                  <a:gd name="connsiteX1" fmla="*/ 283651 w 283651"/>
                  <a:gd name="connsiteY1" fmla="*/ 436673 h 436673"/>
                  <a:gd name="connsiteX0" fmla="*/ 0 w 268722"/>
                  <a:gd name="connsiteY0" fmla="*/ 0 h 447870"/>
                  <a:gd name="connsiteX1" fmla="*/ 268722 w 268722"/>
                  <a:gd name="connsiteY1" fmla="*/ 447870 h 447870"/>
                  <a:gd name="connsiteX0" fmla="*/ 0 w 279919"/>
                  <a:gd name="connsiteY0" fmla="*/ 0 h 466531"/>
                  <a:gd name="connsiteX1" fmla="*/ 279919 w 279919"/>
                  <a:gd name="connsiteY1" fmla="*/ 466531 h 4665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79919" h="466531">
                    <a:moveTo>
                      <a:pt x="0" y="0"/>
                    </a:moveTo>
                    <a:cubicBezTo>
                      <a:pt x="245084" y="85841"/>
                      <a:pt x="273698" y="298580"/>
                      <a:pt x="279919" y="466531"/>
                    </a:cubicBezTo>
                  </a:path>
                </a:pathLst>
              </a:custGeom>
              <a:noFill/>
              <a:ln w="19050" cap="flat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96" name="Freeform: Shape 95">
                <a:extLst>
                  <a:ext uri="{FF2B5EF4-FFF2-40B4-BE49-F238E27FC236}">
                    <a16:creationId xmlns="" xmlns:a16="http://schemas.microsoft.com/office/drawing/2014/main" id="{DFAF7ADF-A2FE-4189-8571-6AC36EAE752C}"/>
                  </a:ext>
                </a:extLst>
              </p:cNvPr>
              <p:cNvSpPr/>
              <p:nvPr/>
            </p:nvSpPr>
            <p:spPr>
              <a:xfrm>
                <a:off x="1835398" y="2409329"/>
                <a:ext cx="210315" cy="458263"/>
              </a:xfrm>
              <a:custGeom>
                <a:avLst/>
                <a:gdLst>
                  <a:gd name="connsiteX0" fmla="*/ 0 w 309777"/>
                  <a:gd name="connsiteY0" fmla="*/ 0 h 459066"/>
                  <a:gd name="connsiteX1" fmla="*/ 309777 w 309777"/>
                  <a:gd name="connsiteY1" fmla="*/ 459066 h 459066"/>
                  <a:gd name="connsiteX0" fmla="*/ 0 w 309777"/>
                  <a:gd name="connsiteY0" fmla="*/ 0 h 459066"/>
                  <a:gd name="connsiteX1" fmla="*/ 309777 w 309777"/>
                  <a:gd name="connsiteY1" fmla="*/ 459066 h 459066"/>
                  <a:gd name="connsiteX0" fmla="*/ 0 w 309777"/>
                  <a:gd name="connsiteY0" fmla="*/ 0 h 459066"/>
                  <a:gd name="connsiteX1" fmla="*/ 309777 w 309777"/>
                  <a:gd name="connsiteY1" fmla="*/ 459066 h 459066"/>
                  <a:gd name="connsiteX0" fmla="*/ 0 w 309777"/>
                  <a:gd name="connsiteY0" fmla="*/ 0 h 459066"/>
                  <a:gd name="connsiteX1" fmla="*/ 309777 w 309777"/>
                  <a:gd name="connsiteY1" fmla="*/ 459066 h 459066"/>
                  <a:gd name="connsiteX0" fmla="*/ 0 w 283651"/>
                  <a:gd name="connsiteY0" fmla="*/ 0 h 436673"/>
                  <a:gd name="connsiteX1" fmla="*/ 283651 w 283651"/>
                  <a:gd name="connsiteY1" fmla="*/ 436673 h 436673"/>
                  <a:gd name="connsiteX0" fmla="*/ 0 w 283651"/>
                  <a:gd name="connsiteY0" fmla="*/ 0 h 436673"/>
                  <a:gd name="connsiteX1" fmla="*/ 283651 w 283651"/>
                  <a:gd name="connsiteY1" fmla="*/ 436673 h 4366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83651" h="436673">
                    <a:moveTo>
                      <a:pt x="0" y="0"/>
                    </a:moveTo>
                    <a:cubicBezTo>
                      <a:pt x="245084" y="85841"/>
                      <a:pt x="277430" y="268722"/>
                      <a:pt x="283651" y="436673"/>
                    </a:cubicBezTo>
                  </a:path>
                </a:pathLst>
              </a:custGeom>
              <a:noFill/>
              <a:ln w="19050" cap="flat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97" name="Freeform: Shape 96">
                <a:extLst>
                  <a:ext uri="{FF2B5EF4-FFF2-40B4-BE49-F238E27FC236}">
                    <a16:creationId xmlns="" xmlns:a16="http://schemas.microsoft.com/office/drawing/2014/main" id="{4105CF76-8D21-468A-A0AA-9F3E32F608BB}"/>
                  </a:ext>
                </a:extLst>
              </p:cNvPr>
              <p:cNvSpPr/>
              <p:nvPr/>
            </p:nvSpPr>
            <p:spPr>
              <a:xfrm>
                <a:off x="1932069" y="2381330"/>
                <a:ext cx="149645" cy="490081"/>
              </a:xfrm>
              <a:custGeom>
                <a:avLst/>
                <a:gdLst>
                  <a:gd name="connsiteX0" fmla="*/ 0 w 309777"/>
                  <a:gd name="connsiteY0" fmla="*/ 0 h 459066"/>
                  <a:gd name="connsiteX1" fmla="*/ 309777 w 309777"/>
                  <a:gd name="connsiteY1" fmla="*/ 459066 h 459066"/>
                  <a:gd name="connsiteX0" fmla="*/ 0 w 309777"/>
                  <a:gd name="connsiteY0" fmla="*/ 0 h 459066"/>
                  <a:gd name="connsiteX1" fmla="*/ 309777 w 309777"/>
                  <a:gd name="connsiteY1" fmla="*/ 459066 h 459066"/>
                  <a:gd name="connsiteX0" fmla="*/ 0 w 309777"/>
                  <a:gd name="connsiteY0" fmla="*/ 0 h 459066"/>
                  <a:gd name="connsiteX1" fmla="*/ 309777 w 309777"/>
                  <a:gd name="connsiteY1" fmla="*/ 459066 h 459066"/>
                  <a:gd name="connsiteX0" fmla="*/ 0 w 309777"/>
                  <a:gd name="connsiteY0" fmla="*/ 0 h 459066"/>
                  <a:gd name="connsiteX1" fmla="*/ 309777 w 309777"/>
                  <a:gd name="connsiteY1" fmla="*/ 459066 h 459066"/>
                  <a:gd name="connsiteX0" fmla="*/ 0 w 283651"/>
                  <a:gd name="connsiteY0" fmla="*/ 0 h 436673"/>
                  <a:gd name="connsiteX1" fmla="*/ 283651 w 283651"/>
                  <a:gd name="connsiteY1" fmla="*/ 436673 h 436673"/>
                  <a:gd name="connsiteX0" fmla="*/ 0 w 283651"/>
                  <a:gd name="connsiteY0" fmla="*/ 0 h 436673"/>
                  <a:gd name="connsiteX1" fmla="*/ 283651 w 283651"/>
                  <a:gd name="connsiteY1" fmla="*/ 436673 h 4366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83651" h="436673">
                    <a:moveTo>
                      <a:pt x="0" y="0"/>
                    </a:moveTo>
                    <a:cubicBezTo>
                      <a:pt x="245084" y="85841"/>
                      <a:pt x="277430" y="268722"/>
                      <a:pt x="283651" y="436673"/>
                    </a:cubicBezTo>
                  </a:path>
                </a:pathLst>
              </a:custGeom>
              <a:noFill/>
              <a:ln w="19050" cap="flat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98" name="Freeform: Shape 97">
                <a:extLst>
                  <a:ext uri="{FF2B5EF4-FFF2-40B4-BE49-F238E27FC236}">
                    <a16:creationId xmlns="" xmlns:a16="http://schemas.microsoft.com/office/drawing/2014/main" id="{744E5983-F4FE-4C70-99A4-94C0FB9E4AAA}"/>
                  </a:ext>
                </a:extLst>
              </p:cNvPr>
              <p:cNvSpPr/>
              <p:nvPr/>
            </p:nvSpPr>
            <p:spPr>
              <a:xfrm>
                <a:off x="2034599" y="2361638"/>
                <a:ext cx="88318" cy="509772"/>
              </a:xfrm>
              <a:custGeom>
                <a:avLst/>
                <a:gdLst>
                  <a:gd name="connsiteX0" fmla="*/ 0 w 309777"/>
                  <a:gd name="connsiteY0" fmla="*/ 0 h 459066"/>
                  <a:gd name="connsiteX1" fmla="*/ 309777 w 309777"/>
                  <a:gd name="connsiteY1" fmla="*/ 459066 h 459066"/>
                  <a:gd name="connsiteX0" fmla="*/ 0 w 309777"/>
                  <a:gd name="connsiteY0" fmla="*/ 0 h 459066"/>
                  <a:gd name="connsiteX1" fmla="*/ 309777 w 309777"/>
                  <a:gd name="connsiteY1" fmla="*/ 459066 h 459066"/>
                  <a:gd name="connsiteX0" fmla="*/ 0 w 309777"/>
                  <a:gd name="connsiteY0" fmla="*/ 0 h 459066"/>
                  <a:gd name="connsiteX1" fmla="*/ 309777 w 309777"/>
                  <a:gd name="connsiteY1" fmla="*/ 459066 h 459066"/>
                  <a:gd name="connsiteX0" fmla="*/ 0 w 309777"/>
                  <a:gd name="connsiteY0" fmla="*/ 0 h 459066"/>
                  <a:gd name="connsiteX1" fmla="*/ 309777 w 309777"/>
                  <a:gd name="connsiteY1" fmla="*/ 459066 h 459066"/>
                  <a:gd name="connsiteX0" fmla="*/ 0 w 283651"/>
                  <a:gd name="connsiteY0" fmla="*/ 0 h 436673"/>
                  <a:gd name="connsiteX1" fmla="*/ 283651 w 283651"/>
                  <a:gd name="connsiteY1" fmla="*/ 436673 h 436673"/>
                  <a:gd name="connsiteX0" fmla="*/ 0 w 283651"/>
                  <a:gd name="connsiteY0" fmla="*/ 0 h 436673"/>
                  <a:gd name="connsiteX1" fmla="*/ 283651 w 283651"/>
                  <a:gd name="connsiteY1" fmla="*/ 436673 h 436673"/>
                  <a:gd name="connsiteX0" fmla="*/ 0 w 176389"/>
                  <a:gd name="connsiteY0" fmla="*/ 0 h 436673"/>
                  <a:gd name="connsiteX1" fmla="*/ 167406 w 176389"/>
                  <a:gd name="connsiteY1" fmla="*/ 436673 h 436673"/>
                  <a:gd name="connsiteX0" fmla="*/ 0 w 167406"/>
                  <a:gd name="connsiteY0" fmla="*/ 0 h 436673"/>
                  <a:gd name="connsiteX1" fmla="*/ 167406 w 167406"/>
                  <a:gd name="connsiteY1" fmla="*/ 436673 h 4366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67406" h="436673">
                    <a:moveTo>
                      <a:pt x="0" y="0"/>
                    </a:moveTo>
                    <a:cubicBezTo>
                      <a:pt x="147192" y="134734"/>
                      <a:pt x="161185" y="268722"/>
                      <a:pt x="167406" y="436673"/>
                    </a:cubicBezTo>
                  </a:path>
                </a:pathLst>
              </a:custGeom>
              <a:grpFill/>
              <a:ln w="19050" cap="flat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99" name="Rectangle 98">
                <a:extLst>
                  <a:ext uri="{FF2B5EF4-FFF2-40B4-BE49-F238E27FC236}">
                    <a16:creationId xmlns="" xmlns:a16="http://schemas.microsoft.com/office/drawing/2014/main" id="{6F61CCF7-CE79-48A8-868D-A5AA2513ACA2}"/>
                  </a:ext>
                </a:extLst>
              </p:cNvPr>
              <p:cNvSpPr/>
              <p:nvPr/>
            </p:nvSpPr>
            <p:spPr>
              <a:xfrm>
                <a:off x="2140007" y="2369836"/>
                <a:ext cx="174399" cy="524885"/>
              </a:xfrm>
              <a:prstGeom prst="rect">
                <a:avLst/>
              </a:prstGeom>
              <a:grpFill/>
              <a:ln w="19050" cap="flat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  <a:spcBef>
                    <a:spcPts val="900"/>
                  </a:spcBef>
                </a:pPr>
                <a:endParaRPr lang="en-US" sz="1400" dirty="0" err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00" name="Rectangle: Rounded Corners 99">
                <a:extLst>
                  <a:ext uri="{FF2B5EF4-FFF2-40B4-BE49-F238E27FC236}">
                    <a16:creationId xmlns="" xmlns:a16="http://schemas.microsoft.com/office/drawing/2014/main" id="{15E7CBA8-1474-47C8-89E3-A6DECFB4067E}"/>
                  </a:ext>
                </a:extLst>
              </p:cNvPr>
              <p:cNvSpPr/>
              <p:nvPr/>
            </p:nvSpPr>
            <p:spPr>
              <a:xfrm>
                <a:off x="2186433" y="2493161"/>
                <a:ext cx="80713" cy="172732"/>
              </a:xfrm>
              <a:prstGeom prst="roundRect">
                <a:avLst/>
              </a:prstGeom>
              <a:grpFill/>
              <a:ln w="19050" cap="flat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  <a:spcBef>
                    <a:spcPts val="900"/>
                  </a:spcBef>
                </a:pPr>
                <a:endParaRPr lang="en-US" sz="1400" dirty="0" err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01" name="Rectangle 100">
                <a:extLst>
                  <a:ext uri="{FF2B5EF4-FFF2-40B4-BE49-F238E27FC236}">
                    <a16:creationId xmlns="" xmlns:a16="http://schemas.microsoft.com/office/drawing/2014/main" id="{5DA7B61C-D6A8-49A8-9012-DB9B29CF0269}"/>
                  </a:ext>
                </a:extLst>
              </p:cNvPr>
              <p:cNvSpPr/>
              <p:nvPr/>
            </p:nvSpPr>
            <p:spPr>
              <a:xfrm>
                <a:off x="2305965" y="2360471"/>
                <a:ext cx="1112816" cy="540258"/>
              </a:xfrm>
              <a:prstGeom prst="rect">
                <a:avLst/>
              </a:prstGeom>
              <a:grpFill/>
              <a:ln w="19050" cap="flat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  <a:spcBef>
                    <a:spcPts val="900"/>
                  </a:spcBef>
                </a:pPr>
                <a:endParaRPr lang="en-US" sz="1400" dirty="0" err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02" name="Oval 101">
                <a:extLst>
                  <a:ext uri="{FF2B5EF4-FFF2-40B4-BE49-F238E27FC236}">
                    <a16:creationId xmlns="" xmlns:a16="http://schemas.microsoft.com/office/drawing/2014/main" id="{9B341774-EAC9-412D-A76C-56ABCF95A2BF}"/>
                  </a:ext>
                </a:extLst>
              </p:cNvPr>
              <p:cNvSpPr/>
              <p:nvPr/>
            </p:nvSpPr>
            <p:spPr>
              <a:xfrm>
                <a:off x="3060015" y="3220504"/>
                <a:ext cx="124550" cy="124550"/>
              </a:xfrm>
              <a:prstGeom prst="ellipse">
                <a:avLst/>
              </a:prstGeom>
              <a:grpFill/>
              <a:ln w="19050" cap="flat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  <a:spcBef>
                    <a:spcPts val="900"/>
                  </a:spcBef>
                </a:pPr>
                <a:endParaRPr lang="en-US" sz="1400" dirty="0" err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03" name="Rectangle 102">
                <a:extLst>
                  <a:ext uri="{FF2B5EF4-FFF2-40B4-BE49-F238E27FC236}">
                    <a16:creationId xmlns="" xmlns:a16="http://schemas.microsoft.com/office/drawing/2014/main" id="{3E5B1122-43E6-430F-8BEE-EDD60F0FC4CA}"/>
                  </a:ext>
                </a:extLst>
              </p:cNvPr>
              <p:cNvSpPr/>
              <p:nvPr/>
            </p:nvSpPr>
            <p:spPr>
              <a:xfrm>
                <a:off x="3084437" y="2280944"/>
                <a:ext cx="77500" cy="702670"/>
              </a:xfrm>
              <a:prstGeom prst="rect">
                <a:avLst/>
              </a:prstGeom>
              <a:grpFill/>
              <a:ln w="19050" cap="flat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  <a:spcBef>
                    <a:spcPts val="900"/>
                  </a:spcBef>
                </a:pPr>
                <a:endParaRPr lang="en-US" sz="1400" dirty="0" err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04" name="Oval 103">
                <a:extLst>
                  <a:ext uri="{FF2B5EF4-FFF2-40B4-BE49-F238E27FC236}">
                    <a16:creationId xmlns="" xmlns:a16="http://schemas.microsoft.com/office/drawing/2014/main" id="{CB0758F3-0DEA-4C04-83B0-BBADC0DE118B}"/>
                  </a:ext>
                </a:extLst>
              </p:cNvPr>
              <p:cNvSpPr/>
              <p:nvPr/>
            </p:nvSpPr>
            <p:spPr>
              <a:xfrm flipV="1">
                <a:off x="3101094" y="3263009"/>
                <a:ext cx="39540" cy="39540"/>
              </a:xfrm>
              <a:prstGeom prst="ellipse">
                <a:avLst/>
              </a:prstGeom>
              <a:grpFill/>
              <a:ln w="19050" cap="flat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  <a:spcBef>
                    <a:spcPts val="900"/>
                  </a:spcBef>
                </a:pPr>
                <a:endParaRPr lang="en-US" sz="1400" dirty="0" err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</p:grpSp>
        <p:sp>
          <p:nvSpPr>
            <p:cNvPr id="89" name="Rectangle 88">
              <a:extLst>
                <a:ext uri="{FF2B5EF4-FFF2-40B4-BE49-F238E27FC236}">
                  <a16:creationId xmlns="" xmlns:a16="http://schemas.microsoft.com/office/drawing/2014/main" id="{CE6539AD-F29A-4E20-92A5-C960924DA589}"/>
                </a:ext>
              </a:extLst>
            </p:cNvPr>
            <p:cNvSpPr/>
            <p:nvPr/>
          </p:nvSpPr>
          <p:spPr>
            <a:xfrm>
              <a:off x="5571175" y="2826631"/>
              <a:ext cx="177684" cy="471577"/>
            </a:xfrm>
            <a:prstGeom prst="rect">
              <a:avLst/>
            </a:prstGeom>
            <a:grpFill/>
            <a:ln w="19050" cap="flat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900"/>
                </a:spcBef>
              </a:pPr>
              <a:endParaRPr lang="en-US" sz="140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90" name="Rectangle 89">
              <a:extLst>
                <a:ext uri="{FF2B5EF4-FFF2-40B4-BE49-F238E27FC236}">
                  <a16:creationId xmlns="" xmlns:a16="http://schemas.microsoft.com/office/drawing/2014/main" id="{574AE033-4CE0-475A-ABFB-AB95C814628C}"/>
                </a:ext>
              </a:extLst>
            </p:cNvPr>
            <p:cNvSpPr/>
            <p:nvPr/>
          </p:nvSpPr>
          <p:spPr>
            <a:xfrm>
              <a:off x="5509699" y="3280142"/>
              <a:ext cx="300636" cy="76850"/>
            </a:xfrm>
            <a:prstGeom prst="rect">
              <a:avLst/>
            </a:prstGeom>
            <a:grpFill/>
            <a:ln w="19050" cap="flat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900"/>
                </a:spcBef>
              </a:pPr>
              <a:endParaRPr lang="en-US" sz="140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91" name="Rectangle 90">
              <a:extLst>
                <a:ext uri="{FF2B5EF4-FFF2-40B4-BE49-F238E27FC236}">
                  <a16:creationId xmlns="" xmlns:a16="http://schemas.microsoft.com/office/drawing/2014/main" id="{B672C9F2-41A7-431B-B670-FE63C8E85383}"/>
                </a:ext>
              </a:extLst>
            </p:cNvPr>
            <p:cNvSpPr/>
            <p:nvPr/>
          </p:nvSpPr>
          <p:spPr>
            <a:xfrm>
              <a:off x="5368021" y="2335744"/>
              <a:ext cx="583992" cy="584731"/>
            </a:xfrm>
            <a:prstGeom prst="rect">
              <a:avLst/>
            </a:prstGeom>
            <a:grpFill/>
            <a:ln w="19050" cap="flat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900"/>
                </a:spcBef>
              </a:pPr>
              <a:endParaRPr lang="en-US" sz="140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="" xmlns:a16="http://schemas.microsoft.com/office/drawing/2014/main" id="{5917C310-66D9-448D-B113-15AE772A4CD6}"/>
              </a:ext>
            </a:extLst>
          </p:cNvPr>
          <p:cNvGrpSpPr/>
          <p:nvPr/>
        </p:nvGrpSpPr>
        <p:grpSpPr>
          <a:xfrm>
            <a:off x="5982102" y="5064633"/>
            <a:ext cx="2917720" cy="1278746"/>
            <a:chOff x="5949914" y="2069274"/>
            <a:chExt cx="2938190" cy="1287718"/>
          </a:xfrm>
          <a:solidFill>
            <a:schemeClr val="bg1">
              <a:lumMod val="95000"/>
            </a:schemeClr>
          </a:solidFill>
        </p:grpSpPr>
        <p:sp>
          <p:nvSpPr>
            <p:cNvPr id="15" name="Freeform: Shape 14">
              <a:extLst>
                <a:ext uri="{FF2B5EF4-FFF2-40B4-BE49-F238E27FC236}">
                  <a16:creationId xmlns="" xmlns:a16="http://schemas.microsoft.com/office/drawing/2014/main" id="{344F9810-2874-469A-A896-B00D95065C97}"/>
                </a:ext>
              </a:extLst>
            </p:cNvPr>
            <p:cNvSpPr/>
            <p:nvPr/>
          </p:nvSpPr>
          <p:spPr>
            <a:xfrm>
              <a:off x="6838007" y="2773012"/>
              <a:ext cx="533178" cy="581164"/>
            </a:xfrm>
            <a:custGeom>
              <a:avLst/>
              <a:gdLst>
                <a:gd name="connsiteX0" fmla="*/ 498521 w 498521"/>
                <a:gd name="connsiteY0" fmla="*/ 543841 h 543841"/>
                <a:gd name="connsiteX1" fmla="*/ 314575 w 498521"/>
                <a:gd name="connsiteY1" fmla="*/ 309243 h 543841"/>
                <a:gd name="connsiteX2" fmla="*/ 79977 w 498521"/>
                <a:gd name="connsiteY2" fmla="*/ 298579 h 543841"/>
                <a:gd name="connsiteX3" fmla="*/ 69313 w 498521"/>
                <a:gd name="connsiteY3" fmla="*/ 95972 h 543841"/>
                <a:gd name="connsiteX4" fmla="*/ 133295 w 498521"/>
                <a:gd name="connsiteY4" fmla="*/ 101303 h 543841"/>
                <a:gd name="connsiteX5" fmla="*/ 85309 w 498521"/>
                <a:gd name="connsiteY5" fmla="*/ 7997 h 543841"/>
                <a:gd name="connsiteX6" fmla="*/ 0 w 498521"/>
                <a:gd name="connsiteY6" fmla="*/ 0 h 543841"/>
                <a:gd name="connsiteX0" fmla="*/ 498521 w 498521"/>
                <a:gd name="connsiteY0" fmla="*/ 543841 h 543841"/>
                <a:gd name="connsiteX1" fmla="*/ 314575 w 498521"/>
                <a:gd name="connsiteY1" fmla="*/ 309243 h 543841"/>
                <a:gd name="connsiteX2" fmla="*/ 79977 w 498521"/>
                <a:gd name="connsiteY2" fmla="*/ 298579 h 543841"/>
                <a:gd name="connsiteX3" fmla="*/ 63982 w 498521"/>
                <a:gd name="connsiteY3" fmla="*/ 98638 h 543841"/>
                <a:gd name="connsiteX4" fmla="*/ 133295 w 498521"/>
                <a:gd name="connsiteY4" fmla="*/ 101303 h 543841"/>
                <a:gd name="connsiteX5" fmla="*/ 85309 w 498521"/>
                <a:gd name="connsiteY5" fmla="*/ 7997 h 543841"/>
                <a:gd name="connsiteX6" fmla="*/ 0 w 498521"/>
                <a:gd name="connsiteY6" fmla="*/ 0 h 543841"/>
                <a:gd name="connsiteX0" fmla="*/ 493189 w 493189"/>
                <a:gd name="connsiteY0" fmla="*/ 535844 h 535844"/>
                <a:gd name="connsiteX1" fmla="*/ 309243 w 493189"/>
                <a:gd name="connsiteY1" fmla="*/ 301246 h 535844"/>
                <a:gd name="connsiteX2" fmla="*/ 74645 w 493189"/>
                <a:gd name="connsiteY2" fmla="*/ 290582 h 535844"/>
                <a:gd name="connsiteX3" fmla="*/ 58650 w 493189"/>
                <a:gd name="connsiteY3" fmla="*/ 90641 h 535844"/>
                <a:gd name="connsiteX4" fmla="*/ 127963 w 493189"/>
                <a:gd name="connsiteY4" fmla="*/ 93306 h 535844"/>
                <a:gd name="connsiteX5" fmla="*/ 79977 w 493189"/>
                <a:gd name="connsiteY5" fmla="*/ 0 h 535844"/>
                <a:gd name="connsiteX6" fmla="*/ 0 w 493189"/>
                <a:gd name="connsiteY6" fmla="*/ 5332 h 535844"/>
                <a:gd name="connsiteX0" fmla="*/ 493189 w 493189"/>
                <a:gd name="connsiteY0" fmla="*/ 535844 h 535844"/>
                <a:gd name="connsiteX1" fmla="*/ 309243 w 493189"/>
                <a:gd name="connsiteY1" fmla="*/ 301246 h 535844"/>
                <a:gd name="connsiteX2" fmla="*/ 74645 w 493189"/>
                <a:gd name="connsiteY2" fmla="*/ 290582 h 535844"/>
                <a:gd name="connsiteX3" fmla="*/ 58650 w 493189"/>
                <a:gd name="connsiteY3" fmla="*/ 90641 h 535844"/>
                <a:gd name="connsiteX4" fmla="*/ 127963 w 493189"/>
                <a:gd name="connsiteY4" fmla="*/ 93306 h 535844"/>
                <a:gd name="connsiteX5" fmla="*/ 79977 w 493189"/>
                <a:gd name="connsiteY5" fmla="*/ 0 h 535844"/>
                <a:gd name="connsiteX6" fmla="*/ 0 w 493189"/>
                <a:gd name="connsiteY6" fmla="*/ 5332 h 535844"/>
                <a:gd name="connsiteX0" fmla="*/ 493189 w 493189"/>
                <a:gd name="connsiteY0" fmla="*/ 535844 h 535844"/>
                <a:gd name="connsiteX1" fmla="*/ 309243 w 493189"/>
                <a:gd name="connsiteY1" fmla="*/ 301246 h 535844"/>
                <a:gd name="connsiteX2" fmla="*/ 85308 w 493189"/>
                <a:gd name="connsiteY2" fmla="*/ 290582 h 535844"/>
                <a:gd name="connsiteX3" fmla="*/ 58650 w 493189"/>
                <a:gd name="connsiteY3" fmla="*/ 90641 h 535844"/>
                <a:gd name="connsiteX4" fmla="*/ 127963 w 493189"/>
                <a:gd name="connsiteY4" fmla="*/ 93306 h 535844"/>
                <a:gd name="connsiteX5" fmla="*/ 79977 w 493189"/>
                <a:gd name="connsiteY5" fmla="*/ 0 h 535844"/>
                <a:gd name="connsiteX6" fmla="*/ 0 w 493189"/>
                <a:gd name="connsiteY6" fmla="*/ 5332 h 535844"/>
                <a:gd name="connsiteX0" fmla="*/ 493189 w 493189"/>
                <a:gd name="connsiteY0" fmla="*/ 535844 h 535844"/>
                <a:gd name="connsiteX1" fmla="*/ 309243 w 493189"/>
                <a:gd name="connsiteY1" fmla="*/ 301246 h 535844"/>
                <a:gd name="connsiteX2" fmla="*/ 85308 w 493189"/>
                <a:gd name="connsiteY2" fmla="*/ 290582 h 535844"/>
                <a:gd name="connsiteX3" fmla="*/ 53319 w 493189"/>
                <a:gd name="connsiteY3" fmla="*/ 90641 h 535844"/>
                <a:gd name="connsiteX4" fmla="*/ 127963 w 493189"/>
                <a:gd name="connsiteY4" fmla="*/ 93306 h 535844"/>
                <a:gd name="connsiteX5" fmla="*/ 79977 w 493189"/>
                <a:gd name="connsiteY5" fmla="*/ 0 h 535844"/>
                <a:gd name="connsiteX6" fmla="*/ 0 w 493189"/>
                <a:gd name="connsiteY6" fmla="*/ 5332 h 535844"/>
                <a:gd name="connsiteX0" fmla="*/ 493189 w 493189"/>
                <a:gd name="connsiteY0" fmla="*/ 535844 h 535844"/>
                <a:gd name="connsiteX1" fmla="*/ 309243 w 493189"/>
                <a:gd name="connsiteY1" fmla="*/ 301246 h 535844"/>
                <a:gd name="connsiteX2" fmla="*/ 103970 w 493189"/>
                <a:gd name="connsiteY2" fmla="*/ 290582 h 535844"/>
                <a:gd name="connsiteX3" fmla="*/ 53319 w 493189"/>
                <a:gd name="connsiteY3" fmla="*/ 90641 h 535844"/>
                <a:gd name="connsiteX4" fmla="*/ 127963 w 493189"/>
                <a:gd name="connsiteY4" fmla="*/ 93306 h 535844"/>
                <a:gd name="connsiteX5" fmla="*/ 79977 w 493189"/>
                <a:gd name="connsiteY5" fmla="*/ 0 h 535844"/>
                <a:gd name="connsiteX6" fmla="*/ 0 w 493189"/>
                <a:gd name="connsiteY6" fmla="*/ 5332 h 535844"/>
                <a:gd name="connsiteX0" fmla="*/ 493189 w 493189"/>
                <a:gd name="connsiteY0" fmla="*/ 535844 h 535844"/>
                <a:gd name="connsiteX1" fmla="*/ 309243 w 493189"/>
                <a:gd name="connsiteY1" fmla="*/ 301246 h 535844"/>
                <a:gd name="connsiteX2" fmla="*/ 103970 w 493189"/>
                <a:gd name="connsiteY2" fmla="*/ 290582 h 535844"/>
                <a:gd name="connsiteX3" fmla="*/ 53319 w 493189"/>
                <a:gd name="connsiteY3" fmla="*/ 90641 h 535844"/>
                <a:gd name="connsiteX4" fmla="*/ 119965 w 493189"/>
                <a:gd name="connsiteY4" fmla="*/ 90641 h 535844"/>
                <a:gd name="connsiteX5" fmla="*/ 79977 w 493189"/>
                <a:gd name="connsiteY5" fmla="*/ 0 h 535844"/>
                <a:gd name="connsiteX6" fmla="*/ 0 w 493189"/>
                <a:gd name="connsiteY6" fmla="*/ 5332 h 535844"/>
                <a:gd name="connsiteX0" fmla="*/ 493189 w 493189"/>
                <a:gd name="connsiteY0" fmla="*/ 530512 h 530512"/>
                <a:gd name="connsiteX1" fmla="*/ 309243 w 493189"/>
                <a:gd name="connsiteY1" fmla="*/ 295914 h 530512"/>
                <a:gd name="connsiteX2" fmla="*/ 103970 w 493189"/>
                <a:gd name="connsiteY2" fmla="*/ 285250 h 530512"/>
                <a:gd name="connsiteX3" fmla="*/ 53319 w 493189"/>
                <a:gd name="connsiteY3" fmla="*/ 85309 h 530512"/>
                <a:gd name="connsiteX4" fmla="*/ 119965 w 493189"/>
                <a:gd name="connsiteY4" fmla="*/ 85309 h 530512"/>
                <a:gd name="connsiteX5" fmla="*/ 79977 w 493189"/>
                <a:gd name="connsiteY5" fmla="*/ 2666 h 530512"/>
                <a:gd name="connsiteX6" fmla="*/ 0 w 493189"/>
                <a:gd name="connsiteY6" fmla="*/ 0 h 530512"/>
                <a:gd name="connsiteX0" fmla="*/ 533178 w 533178"/>
                <a:gd name="connsiteY0" fmla="*/ 581164 h 581164"/>
                <a:gd name="connsiteX1" fmla="*/ 309243 w 533178"/>
                <a:gd name="connsiteY1" fmla="*/ 295914 h 581164"/>
                <a:gd name="connsiteX2" fmla="*/ 103970 w 533178"/>
                <a:gd name="connsiteY2" fmla="*/ 285250 h 581164"/>
                <a:gd name="connsiteX3" fmla="*/ 53319 w 533178"/>
                <a:gd name="connsiteY3" fmla="*/ 85309 h 581164"/>
                <a:gd name="connsiteX4" fmla="*/ 119965 w 533178"/>
                <a:gd name="connsiteY4" fmla="*/ 85309 h 581164"/>
                <a:gd name="connsiteX5" fmla="*/ 79977 w 533178"/>
                <a:gd name="connsiteY5" fmla="*/ 2666 h 581164"/>
                <a:gd name="connsiteX6" fmla="*/ 0 w 533178"/>
                <a:gd name="connsiteY6" fmla="*/ 0 h 5811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33178" h="581164">
                  <a:moveTo>
                    <a:pt x="533178" y="581164"/>
                  </a:moveTo>
                  <a:lnTo>
                    <a:pt x="309243" y="295914"/>
                  </a:lnTo>
                  <a:lnTo>
                    <a:pt x="103970" y="285250"/>
                  </a:lnTo>
                  <a:lnTo>
                    <a:pt x="53319" y="85309"/>
                  </a:lnTo>
                  <a:lnTo>
                    <a:pt x="119965" y="85309"/>
                  </a:lnTo>
                  <a:lnTo>
                    <a:pt x="79977" y="2666"/>
                  </a:lnTo>
                  <a:lnTo>
                    <a:pt x="0" y="0"/>
                  </a:lnTo>
                </a:path>
              </a:pathLst>
            </a:custGeom>
            <a:grpFill/>
            <a:ln w="19050" cap="flat">
              <a:solidFill>
                <a:schemeClr val="tx1">
                  <a:lumMod val="95000"/>
                  <a:lumOff val="5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="" xmlns:a16="http://schemas.microsoft.com/office/drawing/2014/main" id="{0301D9BC-8A64-45C5-87A3-50FBE7C1CAA3}"/>
                </a:ext>
              </a:extLst>
            </p:cNvPr>
            <p:cNvSpPr/>
            <p:nvPr/>
          </p:nvSpPr>
          <p:spPr>
            <a:xfrm rot="10800000">
              <a:off x="7068948" y="3161392"/>
              <a:ext cx="45719" cy="63782"/>
            </a:xfrm>
            <a:prstGeom prst="rect">
              <a:avLst/>
            </a:prstGeom>
            <a:grpFill/>
            <a:ln w="19050" cap="flat">
              <a:solidFill>
                <a:schemeClr val="tx1">
                  <a:lumMod val="95000"/>
                  <a:lumOff val="5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900"/>
                </a:spcBef>
              </a:pPr>
              <a:endParaRPr lang="en-US" sz="1400" dirty="0" err="1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grpSp>
          <p:nvGrpSpPr>
            <p:cNvPr id="17" name="Group 16">
              <a:extLst>
                <a:ext uri="{FF2B5EF4-FFF2-40B4-BE49-F238E27FC236}">
                  <a16:creationId xmlns="" xmlns:a16="http://schemas.microsoft.com/office/drawing/2014/main" id="{D0A27D76-39E2-4C85-9135-C84870C25570}"/>
                </a:ext>
              </a:extLst>
            </p:cNvPr>
            <p:cNvGrpSpPr/>
            <p:nvPr/>
          </p:nvGrpSpPr>
          <p:grpSpPr>
            <a:xfrm>
              <a:off x="7350391" y="2706720"/>
              <a:ext cx="244042" cy="171148"/>
              <a:chOff x="7350391" y="2554278"/>
              <a:chExt cx="244042" cy="171148"/>
            </a:xfrm>
            <a:grpFill/>
          </p:grpSpPr>
          <p:sp>
            <p:nvSpPr>
              <p:cNvPr id="83" name="Rectangle 82">
                <a:extLst>
                  <a:ext uri="{FF2B5EF4-FFF2-40B4-BE49-F238E27FC236}">
                    <a16:creationId xmlns="" xmlns:a16="http://schemas.microsoft.com/office/drawing/2014/main" id="{14C6B920-83B2-4B10-8995-267DC5B1F2A3}"/>
                  </a:ext>
                </a:extLst>
              </p:cNvPr>
              <p:cNvSpPr/>
              <p:nvPr/>
            </p:nvSpPr>
            <p:spPr>
              <a:xfrm>
                <a:off x="7427035" y="2579213"/>
                <a:ext cx="121765" cy="142447"/>
              </a:xfrm>
              <a:prstGeom prst="rect">
                <a:avLst/>
              </a:prstGeom>
              <a:grpFill/>
              <a:ln w="19050" cap="flat">
                <a:solidFill>
                  <a:schemeClr val="tx1">
                    <a:lumMod val="95000"/>
                    <a:lumOff val="5000"/>
                  </a:schemeClr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  <a:spcBef>
                    <a:spcPts val="900"/>
                  </a:spcBef>
                </a:pPr>
                <a:endParaRPr lang="en-US" sz="1400" dirty="0" err="1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84" name="Rectangle 83">
                <a:extLst>
                  <a:ext uri="{FF2B5EF4-FFF2-40B4-BE49-F238E27FC236}">
                    <a16:creationId xmlns="" xmlns:a16="http://schemas.microsoft.com/office/drawing/2014/main" id="{9BEFD20F-88A1-44B8-96E7-6C0EF8D5B173}"/>
                  </a:ext>
                </a:extLst>
              </p:cNvPr>
              <p:cNvSpPr/>
              <p:nvPr/>
            </p:nvSpPr>
            <p:spPr>
              <a:xfrm>
                <a:off x="7382420" y="2554278"/>
                <a:ext cx="45719" cy="171148"/>
              </a:xfrm>
              <a:prstGeom prst="rect">
                <a:avLst/>
              </a:prstGeom>
              <a:grpFill/>
              <a:ln w="19050" cap="flat">
                <a:solidFill>
                  <a:schemeClr val="tx1">
                    <a:lumMod val="95000"/>
                    <a:lumOff val="5000"/>
                  </a:schemeClr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  <a:spcBef>
                    <a:spcPts val="900"/>
                  </a:spcBef>
                </a:pPr>
                <a:endParaRPr lang="en-US" sz="1400" dirty="0" err="1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85" name="Rectangle 84">
                <a:extLst>
                  <a:ext uri="{FF2B5EF4-FFF2-40B4-BE49-F238E27FC236}">
                    <a16:creationId xmlns="" xmlns:a16="http://schemas.microsoft.com/office/drawing/2014/main" id="{D4E59C8A-C953-45E9-B295-780610919FA8}"/>
                  </a:ext>
                </a:extLst>
              </p:cNvPr>
              <p:cNvSpPr/>
              <p:nvPr/>
            </p:nvSpPr>
            <p:spPr>
              <a:xfrm>
                <a:off x="7350391" y="2598510"/>
                <a:ext cx="45719" cy="126915"/>
              </a:xfrm>
              <a:prstGeom prst="rect">
                <a:avLst/>
              </a:prstGeom>
              <a:grpFill/>
              <a:ln w="19050" cap="flat">
                <a:solidFill>
                  <a:schemeClr val="tx1">
                    <a:lumMod val="95000"/>
                    <a:lumOff val="5000"/>
                  </a:schemeClr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  <a:spcBef>
                    <a:spcPts val="900"/>
                  </a:spcBef>
                </a:pPr>
                <a:endParaRPr lang="en-US" sz="1400" dirty="0" err="1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86" name="Rectangle 85">
                <a:extLst>
                  <a:ext uri="{FF2B5EF4-FFF2-40B4-BE49-F238E27FC236}">
                    <a16:creationId xmlns="" xmlns:a16="http://schemas.microsoft.com/office/drawing/2014/main" id="{F9553588-7C22-4F18-8E7B-B40C4101D468}"/>
                  </a:ext>
                </a:extLst>
              </p:cNvPr>
              <p:cNvSpPr/>
              <p:nvPr/>
            </p:nvSpPr>
            <p:spPr>
              <a:xfrm>
                <a:off x="7548714" y="2554278"/>
                <a:ext cx="45719" cy="171148"/>
              </a:xfrm>
              <a:prstGeom prst="rect">
                <a:avLst/>
              </a:prstGeom>
              <a:grpFill/>
              <a:ln w="19050" cap="flat">
                <a:solidFill>
                  <a:schemeClr val="tx1">
                    <a:lumMod val="95000"/>
                    <a:lumOff val="5000"/>
                  </a:schemeClr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  <a:spcBef>
                    <a:spcPts val="900"/>
                  </a:spcBef>
                </a:pPr>
                <a:endParaRPr lang="en-US" sz="1400" dirty="0" err="1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</p:grpSp>
        <p:sp>
          <p:nvSpPr>
            <p:cNvPr id="18" name="Freeform: Shape 17">
              <a:extLst>
                <a:ext uri="{FF2B5EF4-FFF2-40B4-BE49-F238E27FC236}">
                  <a16:creationId xmlns="" xmlns:a16="http://schemas.microsoft.com/office/drawing/2014/main" id="{115874B5-E8EE-4DB3-B8DB-EDE67DB0172C}"/>
                </a:ext>
              </a:extLst>
            </p:cNvPr>
            <p:cNvSpPr/>
            <p:nvPr/>
          </p:nvSpPr>
          <p:spPr>
            <a:xfrm>
              <a:off x="6830704" y="2725045"/>
              <a:ext cx="1194180" cy="501555"/>
            </a:xfrm>
            <a:custGeom>
              <a:avLst/>
              <a:gdLst>
                <a:gd name="connsiteX0" fmla="*/ 242248 w 1187356"/>
                <a:gd name="connsiteY0" fmla="*/ 0 h 501555"/>
                <a:gd name="connsiteX1" fmla="*/ 286603 w 1187356"/>
                <a:gd name="connsiteY1" fmla="*/ 20472 h 501555"/>
                <a:gd name="connsiteX2" fmla="*/ 324135 w 1187356"/>
                <a:gd name="connsiteY2" fmla="*/ 23884 h 501555"/>
                <a:gd name="connsiteX3" fmla="*/ 351430 w 1187356"/>
                <a:gd name="connsiteY3" fmla="*/ 17060 h 501555"/>
                <a:gd name="connsiteX4" fmla="*/ 378726 w 1187356"/>
                <a:gd name="connsiteY4" fmla="*/ 47767 h 501555"/>
                <a:gd name="connsiteX5" fmla="*/ 412845 w 1187356"/>
                <a:gd name="connsiteY5" fmla="*/ 40943 h 501555"/>
                <a:gd name="connsiteX6" fmla="*/ 464024 w 1187356"/>
                <a:gd name="connsiteY6" fmla="*/ 44355 h 501555"/>
                <a:gd name="connsiteX7" fmla="*/ 477672 w 1187356"/>
                <a:gd name="connsiteY7" fmla="*/ 68239 h 501555"/>
                <a:gd name="connsiteX8" fmla="*/ 515203 w 1187356"/>
                <a:gd name="connsiteY8" fmla="*/ 64827 h 501555"/>
                <a:gd name="connsiteX9" fmla="*/ 562971 w 1187356"/>
                <a:gd name="connsiteY9" fmla="*/ 64827 h 501555"/>
                <a:gd name="connsiteX10" fmla="*/ 566383 w 1187356"/>
                <a:gd name="connsiteY10" fmla="*/ 98946 h 501555"/>
                <a:gd name="connsiteX11" fmla="*/ 624386 w 1187356"/>
                <a:gd name="connsiteY11" fmla="*/ 139890 h 501555"/>
                <a:gd name="connsiteX12" fmla="*/ 634621 w 1187356"/>
                <a:gd name="connsiteY12" fmla="*/ 116006 h 501555"/>
                <a:gd name="connsiteX13" fmla="*/ 651681 w 1187356"/>
                <a:gd name="connsiteY13" fmla="*/ 102358 h 501555"/>
                <a:gd name="connsiteX14" fmla="*/ 689212 w 1187356"/>
                <a:gd name="connsiteY14" fmla="*/ 105770 h 501555"/>
                <a:gd name="connsiteX15" fmla="*/ 706272 w 1187356"/>
                <a:gd name="connsiteY15" fmla="*/ 129654 h 501555"/>
                <a:gd name="connsiteX16" fmla="*/ 733568 w 1187356"/>
                <a:gd name="connsiteY16" fmla="*/ 126242 h 501555"/>
                <a:gd name="connsiteX17" fmla="*/ 798395 w 1187356"/>
                <a:gd name="connsiteY17" fmla="*/ 180833 h 501555"/>
                <a:gd name="connsiteX18" fmla="*/ 829102 w 1187356"/>
                <a:gd name="connsiteY18" fmla="*/ 180833 h 501555"/>
                <a:gd name="connsiteX19" fmla="*/ 887105 w 1187356"/>
                <a:gd name="connsiteY19" fmla="*/ 170597 h 501555"/>
                <a:gd name="connsiteX20" fmla="*/ 914400 w 1187356"/>
                <a:gd name="connsiteY20" fmla="*/ 208128 h 501555"/>
                <a:gd name="connsiteX21" fmla="*/ 963126 w 1187356"/>
                <a:gd name="connsiteY21" fmla="*/ 226400 h 501555"/>
                <a:gd name="connsiteX22" fmla="*/ 962168 w 1187356"/>
                <a:gd name="connsiteY22" fmla="*/ 225188 h 501555"/>
                <a:gd name="connsiteX23" fmla="*/ 1026995 w 1187356"/>
                <a:gd name="connsiteY23" fmla="*/ 211540 h 501555"/>
                <a:gd name="connsiteX24" fmla="*/ 1047466 w 1187356"/>
                <a:gd name="connsiteY24" fmla="*/ 245660 h 501555"/>
                <a:gd name="connsiteX25" fmla="*/ 1091821 w 1187356"/>
                <a:gd name="connsiteY25" fmla="*/ 293427 h 501555"/>
                <a:gd name="connsiteX26" fmla="*/ 1139589 w 1187356"/>
                <a:gd name="connsiteY26" fmla="*/ 293427 h 501555"/>
                <a:gd name="connsiteX27" fmla="*/ 1139589 w 1187356"/>
                <a:gd name="connsiteY27" fmla="*/ 388961 h 501555"/>
                <a:gd name="connsiteX28" fmla="*/ 1187356 w 1187356"/>
                <a:gd name="connsiteY28" fmla="*/ 392373 h 501555"/>
                <a:gd name="connsiteX29" fmla="*/ 1180532 w 1187356"/>
                <a:gd name="connsiteY29" fmla="*/ 474260 h 501555"/>
                <a:gd name="connsiteX30" fmla="*/ 1183944 w 1187356"/>
                <a:gd name="connsiteY30" fmla="*/ 498143 h 501555"/>
                <a:gd name="connsiteX31" fmla="*/ 1180532 w 1187356"/>
                <a:gd name="connsiteY31" fmla="*/ 501555 h 501555"/>
                <a:gd name="connsiteX32" fmla="*/ 963970 w 1187356"/>
                <a:gd name="connsiteY32" fmla="*/ 227468 h 501555"/>
                <a:gd name="connsiteX33" fmla="*/ 0 w 1187356"/>
                <a:gd name="connsiteY33" fmla="*/ 10236 h 501555"/>
                <a:gd name="connsiteX34" fmla="*/ 71651 w 1187356"/>
                <a:gd name="connsiteY34" fmla="*/ 13648 h 501555"/>
                <a:gd name="connsiteX35" fmla="*/ 88711 w 1187356"/>
                <a:gd name="connsiteY35" fmla="*/ 23884 h 501555"/>
                <a:gd name="connsiteX36" fmla="*/ 150126 w 1187356"/>
                <a:gd name="connsiteY36" fmla="*/ 30707 h 501555"/>
                <a:gd name="connsiteX37" fmla="*/ 187657 w 1187356"/>
                <a:gd name="connsiteY37" fmla="*/ 3412 h 501555"/>
                <a:gd name="connsiteX38" fmla="*/ 221777 w 1187356"/>
                <a:gd name="connsiteY38" fmla="*/ 3412 h 501555"/>
                <a:gd name="connsiteX0" fmla="*/ 242248 w 1187356"/>
                <a:gd name="connsiteY0" fmla="*/ 0 h 501555"/>
                <a:gd name="connsiteX1" fmla="*/ 286603 w 1187356"/>
                <a:gd name="connsiteY1" fmla="*/ 20472 h 501555"/>
                <a:gd name="connsiteX2" fmla="*/ 324135 w 1187356"/>
                <a:gd name="connsiteY2" fmla="*/ 23884 h 501555"/>
                <a:gd name="connsiteX3" fmla="*/ 351430 w 1187356"/>
                <a:gd name="connsiteY3" fmla="*/ 17060 h 501555"/>
                <a:gd name="connsiteX4" fmla="*/ 378726 w 1187356"/>
                <a:gd name="connsiteY4" fmla="*/ 47767 h 501555"/>
                <a:gd name="connsiteX5" fmla="*/ 412845 w 1187356"/>
                <a:gd name="connsiteY5" fmla="*/ 40943 h 501555"/>
                <a:gd name="connsiteX6" fmla="*/ 464024 w 1187356"/>
                <a:gd name="connsiteY6" fmla="*/ 44355 h 501555"/>
                <a:gd name="connsiteX7" fmla="*/ 477672 w 1187356"/>
                <a:gd name="connsiteY7" fmla="*/ 68239 h 501555"/>
                <a:gd name="connsiteX8" fmla="*/ 515203 w 1187356"/>
                <a:gd name="connsiteY8" fmla="*/ 64827 h 501555"/>
                <a:gd name="connsiteX9" fmla="*/ 562971 w 1187356"/>
                <a:gd name="connsiteY9" fmla="*/ 64827 h 501555"/>
                <a:gd name="connsiteX10" fmla="*/ 566383 w 1187356"/>
                <a:gd name="connsiteY10" fmla="*/ 98946 h 501555"/>
                <a:gd name="connsiteX11" fmla="*/ 624386 w 1187356"/>
                <a:gd name="connsiteY11" fmla="*/ 139890 h 501555"/>
                <a:gd name="connsiteX12" fmla="*/ 634621 w 1187356"/>
                <a:gd name="connsiteY12" fmla="*/ 116006 h 501555"/>
                <a:gd name="connsiteX13" fmla="*/ 651681 w 1187356"/>
                <a:gd name="connsiteY13" fmla="*/ 102358 h 501555"/>
                <a:gd name="connsiteX14" fmla="*/ 689212 w 1187356"/>
                <a:gd name="connsiteY14" fmla="*/ 105770 h 501555"/>
                <a:gd name="connsiteX15" fmla="*/ 706272 w 1187356"/>
                <a:gd name="connsiteY15" fmla="*/ 129654 h 501555"/>
                <a:gd name="connsiteX16" fmla="*/ 733568 w 1187356"/>
                <a:gd name="connsiteY16" fmla="*/ 126242 h 501555"/>
                <a:gd name="connsiteX17" fmla="*/ 798395 w 1187356"/>
                <a:gd name="connsiteY17" fmla="*/ 180833 h 501555"/>
                <a:gd name="connsiteX18" fmla="*/ 829102 w 1187356"/>
                <a:gd name="connsiteY18" fmla="*/ 180833 h 501555"/>
                <a:gd name="connsiteX19" fmla="*/ 887105 w 1187356"/>
                <a:gd name="connsiteY19" fmla="*/ 170597 h 501555"/>
                <a:gd name="connsiteX20" fmla="*/ 914400 w 1187356"/>
                <a:gd name="connsiteY20" fmla="*/ 208128 h 501555"/>
                <a:gd name="connsiteX21" fmla="*/ 963126 w 1187356"/>
                <a:gd name="connsiteY21" fmla="*/ 226400 h 501555"/>
                <a:gd name="connsiteX22" fmla="*/ 962168 w 1187356"/>
                <a:gd name="connsiteY22" fmla="*/ 225188 h 501555"/>
                <a:gd name="connsiteX23" fmla="*/ 1026995 w 1187356"/>
                <a:gd name="connsiteY23" fmla="*/ 211540 h 501555"/>
                <a:gd name="connsiteX24" fmla="*/ 1047466 w 1187356"/>
                <a:gd name="connsiteY24" fmla="*/ 245660 h 501555"/>
                <a:gd name="connsiteX25" fmla="*/ 1091821 w 1187356"/>
                <a:gd name="connsiteY25" fmla="*/ 293427 h 501555"/>
                <a:gd name="connsiteX26" fmla="*/ 1139589 w 1187356"/>
                <a:gd name="connsiteY26" fmla="*/ 293427 h 501555"/>
                <a:gd name="connsiteX27" fmla="*/ 1139589 w 1187356"/>
                <a:gd name="connsiteY27" fmla="*/ 388961 h 501555"/>
                <a:gd name="connsiteX28" fmla="*/ 1187356 w 1187356"/>
                <a:gd name="connsiteY28" fmla="*/ 392373 h 501555"/>
                <a:gd name="connsiteX29" fmla="*/ 1180532 w 1187356"/>
                <a:gd name="connsiteY29" fmla="*/ 474260 h 501555"/>
                <a:gd name="connsiteX30" fmla="*/ 1183944 w 1187356"/>
                <a:gd name="connsiteY30" fmla="*/ 498143 h 501555"/>
                <a:gd name="connsiteX31" fmla="*/ 1180532 w 1187356"/>
                <a:gd name="connsiteY31" fmla="*/ 501555 h 501555"/>
                <a:gd name="connsiteX32" fmla="*/ 960558 w 1187356"/>
                <a:gd name="connsiteY32" fmla="*/ 292295 h 501555"/>
                <a:gd name="connsiteX33" fmla="*/ 0 w 1187356"/>
                <a:gd name="connsiteY33" fmla="*/ 10236 h 501555"/>
                <a:gd name="connsiteX34" fmla="*/ 71651 w 1187356"/>
                <a:gd name="connsiteY34" fmla="*/ 13648 h 501555"/>
                <a:gd name="connsiteX35" fmla="*/ 88711 w 1187356"/>
                <a:gd name="connsiteY35" fmla="*/ 23884 h 501555"/>
                <a:gd name="connsiteX36" fmla="*/ 150126 w 1187356"/>
                <a:gd name="connsiteY36" fmla="*/ 30707 h 501555"/>
                <a:gd name="connsiteX37" fmla="*/ 187657 w 1187356"/>
                <a:gd name="connsiteY37" fmla="*/ 3412 h 501555"/>
                <a:gd name="connsiteX38" fmla="*/ 221777 w 1187356"/>
                <a:gd name="connsiteY38" fmla="*/ 3412 h 501555"/>
                <a:gd name="connsiteX39" fmla="*/ 242248 w 1187356"/>
                <a:gd name="connsiteY39" fmla="*/ 0 h 501555"/>
                <a:gd name="connsiteX0" fmla="*/ 960558 w 1187356"/>
                <a:gd name="connsiteY0" fmla="*/ 292295 h 501555"/>
                <a:gd name="connsiteX1" fmla="*/ 0 w 1187356"/>
                <a:gd name="connsiteY1" fmla="*/ 10236 h 501555"/>
                <a:gd name="connsiteX2" fmla="*/ 71651 w 1187356"/>
                <a:gd name="connsiteY2" fmla="*/ 13648 h 501555"/>
                <a:gd name="connsiteX3" fmla="*/ 88711 w 1187356"/>
                <a:gd name="connsiteY3" fmla="*/ 23884 h 501555"/>
                <a:gd name="connsiteX4" fmla="*/ 150126 w 1187356"/>
                <a:gd name="connsiteY4" fmla="*/ 30707 h 501555"/>
                <a:gd name="connsiteX5" fmla="*/ 187657 w 1187356"/>
                <a:gd name="connsiteY5" fmla="*/ 3412 h 501555"/>
                <a:gd name="connsiteX6" fmla="*/ 221777 w 1187356"/>
                <a:gd name="connsiteY6" fmla="*/ 3412 h 501555"/>
                <a:gd name="connsiteX7" fmla="*/ 242248 w 1187356"/>
                <a:gd name="connsiteY7" fmla="*/ 0 h 501555"/>
                <a:gd name="connsiteX8" fmla="*/ 286603 w 1187356"/>
                <a:gd name="connsiteY8" fmla="*/ 20472 h 501555"/>
                <a:gd name="connsiteX9" fmla="*/ 324135 w 1187356"/>
                <a:gd name="connsiteY9" fmla="*/ 23884 h 501555"/>
                <a:gd name="connsiteX10" fmla="*/ 351430 w 1187356"/>
                <a:gd name="connsiteY10" fmla="*/ 17060 h 501555"/>
                <a:gd name="connsiteX11" fmla="*/ 378726 w 1187356"/>
                <a:gd name="connsiteY11" fmla="*/ 47767 h 501555"/>
                <a:gd name="connsiteX12" fmla="*/ 412845 w 1187356"/>
                <a:gd name="connsiteY12" fmla="*/ 40943 h 501555"/>
                <a:gd name="connsiteX13" fmla="*/ 464024 w 1187356"/>
                <a:gd name="connsiteY13" fmla="*/ 44355 h 501555"/>
                <a:gd name="connsiteX14" fmla="*/ 477672 w 1187356"/>
                <a:gd name="connsiteY14" fmla="*/ 68239 h 501555"/>
                <a:gd name="connsiteX15" fmla="*/ 515203 w 1187356"/>
                <a:gd name="connsiteY15" fmla="*/ 64827 h 501555"/>
                <a:gd name="connsiteX16" fmla="*/ 562971 w 1187356"/>
                <a:gd name="connsiteY16" fmla="*/ 64827 h 501555"/>
                <a:gd name="connsiteX17" fmla="*/ 566383 w 1187356"/>
                <a:gd name="connsiteY17" fmla="*/ 98946 h 501555"/>
                <a:gd name="connsiteX18" fmla="*/ 624386 w 1187356"/>
                <a:gd name="connsiteY18" fmla="*/ 139890 h 501555"/>
                <a:gd name="connsiteX19" fmla="*/ 634621 w 1187356"/>
                <a:gd name="connsiteY19" fmla="*/ 116006 h 501555"/>
                <a:gd name="connsiteX20" fmla="*/ 651681 w 1187356"/>
                <a:gd name="connsiteY20" fmla="*/ 102358 h 501555"/>
                <a:gd name="connsiteX21" fmla="*/ 689212 w 1187356"/>
                <a:gd name="connsiteY21" fmla="*/ 105770 h 501555"/>
                <a:gd name="connsiteX22" fmla="*/ 706272 w 1187356"/>
                <a:gd name="connsiteY22" fmla="*/ 129654 h 501555"/>
                <a:gd name="connsiteX23" fmla="*/ 733568 w 1187356"/>
                <a:gd name="connsiteY23" fmla="*/ 126242 h 501555"/>
                <a:gd name="connsiteX24" fmla="*/ 798395 w 1187356"/>
                <a:gd name="connsiteY24" fmla="*/ 180833 h 501555"/>
                <a:gd name="connsiteX25" fmla="*/ 829102 w 1187356"/>
                <a:gd name="connsiteY25" fmla="*/ 180833 h 501555"/>
                <a:gd name="connsiteX26" fmla="*/ 887105 w 1187356"/>
                <a:gd name="connsiteY26" fmla="*/ 170597 h 501555"/>
                <a:gd name="connsiteX27" fmla="*/ 914400 w 1187356"/>
                <a:gd name="connsiteY27" fmla="*/ 208128 h 501555"/>
                <a:gd name="connsiteX28" fmla="*/ 963126 w 1187356"/>
                <a:gd name="connsiteY28" fmla="*/ 226400 h 501555"/>
                <a:gd name="connsiteX29" fmla="*/ 962168 w 1187356"/>
                <a:gd name="connsiteY29" fmla="*/ 225188 h 501555"/>
                <a:gd name="connsiteX30" fmla="*/ 1026995 w 1187356"/>
                <a:gd name="connsiteY30" fmla="*/ 211540 h 501555"/>
                <a:gd name="connsiteX31" fmla="*/ 1047466 w 1187356"/>
                <a:gd name="connsiteY31" fmla="*/ 245660 h 501555"/>
                <a:gd name="connsiteX32" fmla="*/ 1091821 w 1187356"/>
                <a:gd name="connsiteY32" fmla="*/ 293427 h 501555"/>
                <a:gd name="connsiteX33" fmla="*/ 1139589 w 1187356"/>
                <a:gd name="connsiteY33" fmla="*/ 293427 h 501555"/>
                <a:gd name="connsiteX34" fmla="*/ 1139589 w 1187356"/>
                <a:gd name="connsiteY34" fmla="*/ 388961 h 501555"/>
                <a:gd name="connsiteX35" fmla="*/ 1187356 w 1187356"/>
                <a:gd name="connsiteY35" fmla="*/ 392373 h 501555"/>
                <a:gd name="connsiteX36" fmla="*/ 1180532 w 1187356"/>
                <a:gd name="connsiteY36" fmla="*/ 474260 h 501555"/>
                <a:gd name="connsiteX37" fmla="*/ 1183944 w 1187356"/>
                <a:gd name="connsiteY37" fmla="*/ 498143 h 501555"/>
                <a:gd name="connsiteX38" fmla="*/ 1180532 w 1187356"/>
                <a:gd name="connsiteY38" fmla="*/ 501555 h 501555"/>
                <a:gd name="connsiteX39" fmla="*/ 1051998 w 1187356"/>
                <a:gd name="connsiteY39" fmla="*/ 383735 h 501555"/>
                <a:gd name="connsiteX0" fmla="*/ 0 w 1187356"/>
                <a:gd name="connsiteY0" fmla="*/ 10236 h 501555"/>
                <a:gd name="connsiteX1" fmla="*/ 71651 w 1187356"/>
                <a:gd name="connsiteY1" fmla="*/ 13648 h 501555"/>
                <a:gd name="connsiteX2" fmla="*/ 88711 w 1187356"/>
                <a:gd name="connsiteY2" fmla="*/ 23884 h 501555"/>
                <a:gd name="connsiteX3" fmla="*/ 150126 w 1187356"/>
                <a:gd name="connsiteY3" fmla="*/ 30707 h 501555"/>
                <a:gd name="connsiteX4" fmla="*/ 187657 w 1187356"/>
                <a:gd name="connsiteY4" fmla="*/ 3412 h 501555"/>
                <a:gd name="connsiteX5" fmla="*/ 221777 w 1187356"/>
                <a:gd name="connsiteY5" fmla="*/ 3412 h 501555"/>
                <a:gd name="connsiteX6" fmla="*/ 242248 w 1187356"/>
                <a:gd name="connsiteY6" fmla="*/ 0 h 501555"/>
                <a:gd name="connsiteX7" fmla="*/ 286603 w 1187356"/>
                <a:gd name="connsiteY7" fmla="*/ 20472 h 501555"/>
                <a:gd name="connsiteX8" fmla="*/ 324135 w 1187356"/>
                <a:gd name="connsiteY8" fmla="*/ 23884 h 501555"/>
                <a:gd name="connsiteX9" fmla="*/ 351430 w 1187356"/>
                <a:gd name="connsiteY9" fmla="*/ 17060 h 501555"/>
                <a:gd name="connsiteX10" fmla="*/ 378726 w 1187356"/>
                <a:gd name="connsiteY10" fmla="*/ 47767 h 501555"/>
                <a:gd name="connsiteX11" fmla="*/ 412845 w 1187356"/>
                <a:gd name="connsiteY11" fmla="*/ 40943 h 501555"/>
                <a:gd name="connsiteX12" fmla="*/ 464024 w 1187356"/>
                <a:gd name="connsiteY12" fmla="*/ 44355 h 501555"/>
                <a:gd name="connsiteX13" fmla="*/ 477672 w 1187356"/>
                <a:gd name="connsiteY13" fmla="*/ 68239 h 501555"/>
                <a:gd name="connsiteX14" fmla="*/ 515203 w 1187356"/>
                <a:gd name="connsiteY14" fmla="*/ 64827 h 501555"/>
                <a:gd name="connsiteX15" fmla="*/ 562971 w 1187356"/>
                <a:gd name="connsiteY15" fmla="*/ 64827 h 501555"/>
                <a:gd name="connsiteX16" fmla="*/ 566383 w 1187356"/>
                <a:gd name="connsiteY16" fmla="*/ 98946 h 501555"/>
                <a:gd name="connsiteX17" fmla="*/ 624386 w 1187356"/>
                <a:gd name="connsiteY17" fmla="*/ 139890 h 501555"/>
                <a:gd name="connsiteX18" fmla="*/ 634621 w 1187356"/>
                <a:gd name="connsiteY18" fmla="*/ 116006 h 501555"/>
                <a:gd name="connsiteX19" fmla="*/ 651681 w 1187356"/>
                <a:gd name="connsiteY19" fmla="*/ 102358 h 501555"/>
                <a:gd name="connsiteX20" fmla="*/ 689212 w 1187356"/>
                <a:gd name="connsiteY20" fmla="*/ 105770 h 501555"/>
                <a:gd name="connsiteX21" fmla="*/ 706272 w 1187356"/>
                <a:gd name="connsiteY21" fmla="*/ 129654 h 501555"/>
                <a:gd name="connsiteX22" fmla="*/ 733568 w 1187356"/>
                <a:gd name="connsiteY22" fmla="*/ 126242 h 501555"/>
                <a:gd name="connsiteX23" fmla="*/ 798395 w 1187356"/>
                <a:gd name="connsiteY23" fmla="*/ 180833 h 501555"/>
                <a:gd name="connsiteX24" fmla="*/ 829102 w 1187356"/>
                <a:gd name="connsiteY24" fmla="*/ 180833 h 501555"/>
                <a:gd name="connsiteX25" fmla="*/ 887105 w 1187356"/>
                <a:gd name="connsiteY25" fmla="*/ 170597 h 501555"/>
                <a:gd name="connsiteX26" fmla="*/ 914400 w 1187356"/>
                <a:gd name="connsiteY26" fmla="*/ 208128 h 501555"/>
                <a:gd name="connsiteX27" fmla="*/ 963126 w 1187356"/>
                <a:gd name="connsiteY27" fmla="*/ 226400 h 501555"/>
                <a:gd name="connsiteX28" fmla="*/ 962168 w 1187356"/>
                <a:gd name="connsiteY28" fmla="*/ 225188 h 501555"/>
                <a:gd name="connsiteX29" fmla="*/ 1026995 w 1187356"/>
                <a:gd name="connsiteY29" fmla="*/ 211540 h 501555"/>
                <a:gd name="connsiteX30" fmla="*/ 1047466 w 1187356"/>
                <a:gd name="connsiteY30" fmla="*/ 245660 h 501555"/>
                <a:gd name="connsiteX31" fmla="*/ 1091821 w 1187356"/>
                <a:gd name="connsiteY31" fmla="*/ 293427 h 501555"/>
                <a:gd name="connsiteX32" fmla="*/ 1139589 w 1187356"/>
                <a:gd name="connsiteY32" fmla="*/ 293427 h 501555"/>
                <a:gd name="connsiteX33" fmla="*/ 1139589 w 1187356"/>
                <a:gd name="connsiteY33" fmla="*/ 388961 h 501555"/>
                <a:gd name="connsiteX34" fmla="*/ 1187356 w 1187356"/>
                <a:gd name="connsiteY34" fmla="*/ 392373 h 501555"/>
                <a:gd name="connsiteX35" fmla="*/ 1180532 w 1187356"/>
                <a:gd name="connsiteY35" fmla="*/ 474260 h 501555"/>
                <a:gd name="connsiteX36" fmla="*/ 1183944 w 1187356"/>
                <a:gd name="connsiteY36" fmla="*/ 498143 h 501555"/>
                <a:gd name="connsiteX37" fmla="*/ 1180532 w 1187356"/>
                <a:gd name="connsiteY37" fmla="*/ 501555 h 501555"/>
                <a:gd name="connsiteX38" fmla="*/ 1051998 w 1187356"/>
                <a:gd name="connsiteY38" fmla="*/ 383735 h 501555"/>
                <a:gd name="connsiteX0" fmla="*/ 0 w 1187356"/>
                <a:gd name="connsiteY0" fmla="*/ 10236 h 501555"/>
                <a:gd name="connsiteX1" fmla="*/ 71651 w 1187356"/>
                <a:gd name="connsiteY1" fmla="*/ 13648 h 501555"/>
                <a:gd name="connsiteX2" fmla="*/ 88711 w 1187356"/>
                <a:gd name="connsiteY2" fmla="*/ 23884 h 501555"/>
                <a:gd name="connsiteX3" fmla="*/ 150126 w 1187356"/>
                <a:gd name="connsiteY3" fmla="*/ 30707 h 501555"/>
                <a:gd name="connsiteX4" fmla="*/ 187657 w 1187356"/>
                <a:gd name="connsiteY4" fmla="*/ 3412 h 501555"/>
                <a:gd name="connsiteX5" fmla="*/ 221777 w 1187356"/>
                <a:gd name="connsiteY5" fmla="*/ 3412 h 501555"/>
                <a:gd name="connsiteX6" fmla="*/ 242248 w 1187356"/>
                <a:gd name="connsiteY6" fmla="*/ 0 h 501555"/>
                <a:gd name="connsiteX7" fmla="*/ 286603 w 1187356"/>
                <a:gd name="connsiteY7" fmla="*/ 20472 h 501555"/>
                <a:gd name="connsiteX8" fmla="*/ 324135 w 1187356"/>
                <a:gd name="connsiteY8" fmla="*/ 23884 h 501555"/>
                <a:gd name="connsiteX9" fmla="*/ 351430 w 1187356"/>
                <a:gd name="connsiteY9" fmla="*/ 17060 h 501555"/>
                <a:gd name="connsiteX10" fmla="*/ 378726 w 1187356"/>
                <a:gd name="connsiteY10" fmla="*/ 47767 h 501555"/>
                <a:gd name="connsiteX11" fmla="*/ 412845 w 1187356"/>
                <a:gd name="connsiteY11" fmla="*/ 40943 h 501555"/>
                <a:gd name="connsiteX12" fmla="*/ 464024 w 1187356"/>
                <a:gd name="connsiteY12" fmla="*/ 44355 h 501555"/>
                <a:gd name="connsiteX13" fmla="*/ 477672 w 1187356"/>
                <a:gd name="connsiteY13" fmla="*/ 68239 h 501555"/>
                <a:gd name="connsiteX14" fmla="*/ 515203 w 1187356"/>
                <a:gd name="connsiteY14" fmla="*/ 64827 h 501555"/>
                <a:gd name="connsiteX15" fmla="*/ 562971 w 1187356"/>
                <a:gd name="connsiteY15" fmla="*/ 64827 h 501555"/>
                <a:gd name="connsiteX16" fmla="*/ 566383 w 1187356"/>
                <a:gd name="connsiteY16" fmla="*/ 98946 h 501555"/>
                <a:gd name="connsiteX17" fmla="*/ 624386 w 1187356"/>
                <a:gd name="connsiteY17" fmla="*/ 139890 h 501555"/>
                <a:gd name="connsiteX18" fmla="*/ 634621 w 1187356"/>
                <a:gd name="connsiteY18" fmla="*/ 116006 h 501555"/>
                <a:gd name="connsiteX19" fmla="*/ 651681 w 1187356"/>
                <a:gd name="connsiteY19" fmla="*/ 102358 h 501555"/>
                <a:gd name="connsiteX20" fmla="*/ 689212 w 1187356"/>
                <a:gd name="connsiteY20" fmla="*/ 105770 h 501555"/>
                <a:gd name="connsiteX21" fmla="*/ 706272 w 1187356"/>
                <a:gd name="connsiteY21" fmla="*/ 129654 h 501555"/>
                <a:gd name="connsiteX22" fmla="*/ 733568 w 1187356"/>
                <a:gd name="connsiteY22" fmla="*/ 126242 h 501555"/>
                <a:gd name="connsiteX23" fmla="*/ 798395 w 1187356"/>
                <a:gd name="connsiteY23" fmla="*/ 180833 h 501555"/>
                <a:gd name="connsiteX24" fmla="*/ 829102 w 1187356"/>
                <a:gd name="connsiteY24" fmla="*/ 180833 h 501555"/>
                <a:gd name="connsiteX25" fmla="*/ 887105 w 1187356"/>
                <a:gd name="connsiteY25" fmla="*/ 170597 h 501555"/>
                <a:gd name="connsiteX26" fmla="*/ 914400 w 1187356"/>
                <a:gd name="connsiteY26" fmla="*/ 208128 h 501555"/>
                <a:gd name="connsiteX27" fmla="*/ 963126 w 1187356"/>
                <a:gd name="connsiteY27" fmla="*/ 226400 h 501555"/>
                <a:gd name="connsiteX28" fmla="*/ 962168 w 1187356"/>
                <a:gd name="connsiteY28" fmla="*/ 225188 h 501555"/>
                <a:gd name="connsiteX29" fmla="*/ 1026995 w 1187356"/>
                <a:gd name="connsiteY29" fmla="*/ 211540 h 501555"/>
                <a:gd name="connsiteX30" fmla="*/ 1047466 w 1187356"/>
                <a:gd name="connsiteY30" fmla="*/ 245660 h 501555"/>
                <a:gd name="connsiteX31" fmla="*/ 1091821 w 1187356"/>
                <a:gd name="connsiteY31" fmla="*/ 293427 h 501555"/>
                <a:gd name="connsiteX32" fmla="*/ 1139589 w 1187356"/>
                <a:gd name="connsiteY32" fmla="*/ 293427 h 501555"/>
                <a:gd name="connsiteX33" fmla="*/ 1139589 w 1187356"/>
                <a:gd name="connsiteY33" fmla="*/ 388961 h 501555"/>
                <a:gd name="connsiteX34" fmla="*/ 1187356 w 1187356"/>
                <a:gd name="connsiteY34" fmla="*/ 392373 h 501555"/>
                <a:gd name="connsiteX35" fmla="*/ 1180532 w 1187356"/>
                <a:gd name="connsiteY35" fmla="*/ 474260 h 501555"/>
                <a:gd name="connsiteX36" fmla="*/ 1183944 w 1187356"/>
                <a:gd name="connsiteY36" fmla="*/ 498143 h 501555"/>
                <a:gd name="connsiteX37" fmla="*/ 1180532 w 1187356"/>
                <a:gd name="connsiteY37" fmla="*/ 501555 h 501555"/>
                <a:gd name="connsiteX0" fmla="*/ 0 w 1194180"/>
                <a:gd name="connsiteY0" fmla="*/ 10236 h 501555"/>
                <a:gd name="connsiteX1" fmla="*/ 71651 w 1194180"/>
                <a:gd name="connsiteY1" fmla="*/ 13648 h 501555"/>
                <a:gd name="connsiteX2" fmla="*/ 88711 w 1194180"/>
                <a:gd name="connsiteY2" fmla="*/ 23884 h 501555"/>
                <a:gd name="connsiteX3" fmla="*/ 150126 w 1194180"/>
                <a:gd name="connsiteY3" fmla="*/ 30707 h 501555"/>
                <a:gd name="connsiteX4" fmla="*/ 187657 w 1194180"/>
                <a:gd name="connsiteY4" fmla="*/ 3412 h 501555"/>
                <a:gd name="connsiteX5" fmla="*/ 221777 w 1194180"/>
                <a:gd name="connsiteY5" fmla="*/ 3412 h 501555"/>
                <a:gd name="connsiteX6" fmla="*/ 242248 w 1194180"/>
                <a:gd name="connsiteY6" fmla="*/ 0 h 501555"/>
                <a:gd name="connsiteX7" fmla="*/ 286603 w 1194180"/>
                <a:gd name="connsiteY7" fmla="*/ 20472 h 501555"/>
                <a:gd name="connsiteX8" fmla="*/ 324135 w 1194180"/>
                <a:gd name="connsiteY8" fmla="*/ 23884 h 501555"/>
                <a:gd name="connsiteX9" fmla="*/ 351430 w 1194180"/>
                <a:gd name="connsiteY9" fmla="*/ 17060 h 501555"/>
                <a:gd name="connsiteX10" fmla="*/ 378726 w 1194180"/>
                <a:gd name="connsiteY10" fmla="*/ 47767 h 501555"/>
                <a:gd name="connsiteX11" fmla="*/ 412845 w 1194180"/>
                <a:gd name="connsiteY11" fmla="*/ 40943 h 501555"/>
                <a:gd name="connsiteX12" fmla="*/ 464024 w 1194180"/>
                <a:gd name="connsiteY12" fmla="*/ 44355 h 501555"/>
                <a:gd name="connsiteX13" fmla="*/ 477672 w 1194180"/>
                <a:gd name="connsiteY13" fmla="*/ 68239 h 501555"/>
                <a:gd name="connsiteX14" fmla="*/ 515203 w 1194180"/>
                <a:gd name="connsiteY14" fmla="*/ 64827 h 501555"/>
                <a:gd name="connsiteX15" fmla="*/ 562971 w 1194180"/>
                <a:gd name="connsiteY15" fmla="*/ 64827 h 501555"/>
                <a:gd name="connsiteX16" fmla="*/ 566383 w 1194180"/>
                <a:gd name="connsiteY16" fmla="*/ 98946 h 501555"/>
                <a:gd name="connsiteX17" fmla="*/ 624386 w 1194180"/>
                <a:gd name="connsiteY17" fmla="*/ 139890 h 501555"/>
                <a:gd name="connsiteX18" fmla="*/ 634621 w 1194180"/>
                <a:gd name="connsiteY18" fmla="*/ 116006 h 501555"/>
                <a:gd name="connsiteX19" fmla="*/ 651681 w 1194180"/>
                <a:gd name="connsiteY19" fmla="*/ 102358 h 501555"/>
                <a:gd name="connsiteX20" fmla="*/ 689212 w 1194180"/>
                <a:gd name="connsiteY20" fmla="*/ 105770 h 501555"/>
                <a:gd name="connsiteX21" fmla="*/ 706272 w 1194180"/>
                <a:gd name="connsiteY21" fmla="*/ 129654 h 501555"/>
                <a:gd name="connsiteX22" fmla="*/ 733568 w 1194180"/>
                <a:gd name="connsiteY22" fmla="*/ 126242 h 501555"/>
                <a:gd name="connsiteX23" fmla="*/ 798395 w 1194180"/>
                <a:gd name="connsiteY23" fmla="*/ 180833 h 501555"/>
                <a:gd name="connsiteX24" fmla="*/ 829102 w 1194180"/>
                <a:gd name="connsiteY24" fmla="*/ 180833 h 501555"/>
                <a:gd name="connsiteX25" fmla="*/ 887105 w 1194180"/>
                <a:gd name="connsiteY25" fmla="*/ 170597 h 501555"/>
                <a:gd name="connsiteX26" fmla="*/ 914400 w 1194180"/>
                <a:gd name="connsiteY26" fmla="*/ 208128 h 501555"/>
                <a:gd name="connsiteX27" fmla="*/ 963126 w 1194180"/>
                <a:gd name="connsiteY27" fmla="*/ 226400 h 501555"/>
                <a:gd name="connsiteX28" fmla="*/ 962168 w 1194180"/>
                <a:gd name="connsiteY28" fmla="*/ 225188 h 501555"/>
                <a:gd name="connsiteX29" fmla="*/ 1026995 w 1194180"/>
                <a:gd name="connsiteY29" fmla="*/ 211540 h 501555"/>
                <a:gd name="connsiteX30" fmla="*/ 1047466 w 1194180"/>
                <a:gd name="connsiteY30" fmla="*/ 245660 h 501555"/>
                <a:gd name="connsiteX31" fmla="*/ 1091821 w 1194180"/>
                <a:gd name="connsiteY31" fmla="*/ 293427 h 501555"/>
                <a:gd name="connsiteX32" fmla="*/ 1139589 w 1194180"/>
                <a:gd name="connsiteY32" fmla="*/ 293427 h 501555"/>
                <a:gd name="connsiteX33" fmla="*/ 1139589 w 1194180"/>
                <a:gd name="connsiteY33" fmla="*/ 388961 h 501555"/>
                <a:gd name="connsiteX34" fmla="*/ 1187356 w 1194180"/>
                <a:gd name="connsiteY34" fmla="*/ 392373 h 501555"/>
                <a:gd name="connsiteX35" fmla="*/ 1180532 w 1194180"/>
                <a:gd name="connsiteY35" fmla="*/ 474260 h 501555"/>
                <a:gd name="connsiteX36" fmla="*/ 1183944 w 1194180"/>
                <a:gd name="connsiteY36" fmla="*/ 498143 h 501555"/>
                <a:gd name="connsiteX37" fmla="*/ 1194180 w 1194180"/>
                <a:gd name="connsiteY37" fmla="*/ 501555 h 501555"/>
                <a:gd name="connsiteX0" fmla="*/ 0 w 1194180"/>
                <a:gd name="connsiteY0" fmla="*/ 10236 h 501555"/>
                <a:gd name="connsiteX1" fmla="*/ 71651 w 1194180"/>
                <a:gd name="connsiteY1" fmla="*/ 13648 h 501555"/>
                <a:gd name="connsiteX2" fmla="*/ 88711 w 1194180"/>
                <a:gd name="connsiteY2" fmla="*/ 23884 h 501555"/>
                <a:gd name="connsiteX3" fmla="*/ 150126 w 1194180"/>
                <a:gd name="connsiteY3" fmla="*/ 30707 h 501555"/>
                <a:gd name="connsiteX4" fmla="*/ 187657 w 1194180"/>
                <a:gd name="connsiteY4" fmla="*/ 3412 h 501555"/>
                <a:gd name="connsiteX5" fmla="*/ 221777 w 1194180"/>
                <a:gd name="connsiteY5" fmla="*/ 3412 h 501555"/>
                <a:gd name="connsiteX6" fmla="*/ 242248 w 1194180"/>
                <a:gd name="connsiteY6" fmla="*/ 0 h 501555"/>
                <a:gd name="connsiteX7" fmla="*/ 286603 w 1194180"/>
                <a:gd name="connsiteY7" fmla="*/ 20472 h 501555"/>
                <a:gd name="connsiteX8" fmla="*/ 324135 w 1194180"/>
                <a:gd name="connsiteY8" fmla="*/ 23884 h 501555"/>
                <a:gd name="connsiteX9" fmla="*/ 351430 w 1194180"/>
                <a:gd name="connsiteY9" fmla="*/ 17060 h 501555"/>
                <a:gd name="connsiteX10" fmla="*/ 378726 w 1194180"/>
                <a:gd name="connsiteY10" fmla="*/ 47767 h 501555"/>
                <a:gd name="connsiteX11" fmla="*/ 412845 w 1194180"/>
                <a:gd name="connsiteY11" fmla="*/ 40943 h 501555"/>
                <a:gd name="connsiteX12" fmla="*/ 464024 w 1194180"/>
                <a:gd name="connsiteY12" fmla="*/ 44355 h 501555"/>
                <a:gd name="connsiteX13" fmla="*/ 477672 w 1194180"/>
                <a:gd name="connsiteY13" fmla="*/ 68239 h 501555"/>
                <a:gd name="connsiteX14" fmla="*/ 515203 w 1194180"/>
                <a:gd name="connsiteY14" fmla="*/ 64827 h 501555"/>
                <a:gd name="connsiteX15" fmla="*/ 562971 w 1194180"/>
                <a:gd name="connsiteY15" fmla="*/ 64827 h 501555"/>
                <a:gd name="connsiteX16" fmla="*/ 566383 w 1194180"/>
                <a:gd name="connsiteY16" fmla="*/ 98946 h 501555"/>
                <a:gd name="connsiteX17" fmla="*/ 624386 w 1194180"/>
                <a:gd name="connsiteY17" fmla="*/ 139890 h 501555"/>
                <a:gd name="connsiteX18" fmla="*/ 634621 w 1194180"/>
                <a:gd name="connsiteY18" fmla="*/ 116006 h 501555"/>
                <a:gd name="connsiteX19" fmla="*/ 651681 w 1194180"/>
                <a:gd name="connsiteY19" fmla="*/ 102358 h 501555"/>
                <a:gd name="connsiteX20" fmla="*/ 689212 w 1194180"/>
                <a:gd name="connsiteY20" fmla="*/ 105770 h 501555"/>
                <a:gd name="connsiteX21" fmla="*/ 706272 w 1194180"/>
                <a:gd name="connsiteY21" fmla="*/ 129654 h 501555"/>
                <a:gd name="connsiteX22" fmla="*/ 733568 w 1194180"/>
                <a:gd name="connsiteY22" fmla="*/ 126242 h 501555"/>
                <a:gd name="connsiteX23" fmla="*/ 798395 w 1194180"/>
                <a:gd name="connsiteY23" fmla="*/ 180833 h 501555"/>
                <a:gd name="connsiteX24" fmla="*/ 829102 w 1194180"/>
                <a:gd name="connsiteY24" fmla="*/ 180833 h 501555"/>
                <a:gd name="connsiteX25" fmla="*/ 887105 w 1194180"/>
                <a:gd name="connsiteY25" fmla="*/ 170597 h 501555"/>
                <a:gd name="connsiteX26" fmla="*/ 914400 w 1194180"/>
                <a:gd name="connsiteY26" fmla="*/ 208128 h 501555"/>
                <a:gd name="connsiteX27" fmla="*/ 963126 w 1194180"/>
                <a:gd name="connsiteY27" fmla="*/ 226400 h 501555"/>
                <a:gd name="connsiteX28" fmla="*/ 962168 w 1194180"/>
                <a:gd name="connsiteY28" fmla="*/ 225188 h 501555"/>
                <a:gd name="connsiteX29" fmla="*/ 1026995 w 1194180"/>
                <a:gd name="connsiteY29" fmla="*/ 211540 h 501555"/>
                <a:gd name="connsiteX30" fmla="*/ 1047466 w 1194180"/>
                <a:gd name="connsiteY30" fmla="*/ 245660 h 501555"/>
                <a:gd name="connsiteX31" fmla="*/ 1091821 w 1194180"/>
                <a:gd name="connsiteY31" fmla="*/ 293427 h 501555"/>
                <a:gd name="connsiteX32" fmla="*/ 1132765 w 1194180"/>
                <a:gd name="connsiteY32" fmla="*/ 303663 h 501555"/>
                <a:gd name="connsiteX33" fmla="*/ 1139589 w 1194180"/>
                <a:gd name="connsiteY33" fmla="*/ 388961 h 501555"/>
                <a:gd name="connsiteX34" fmla="*/ 1187356 w 1194180"/>
                <a:gd name="connsiteY34" fmla="*/ 392373 h 501555"/>
                <a:gd name="connsiteX35" fmla="*/ 1180532 w 1194180"/>
                <a:gd name="connsiteY35" fmla="*/ 474260 h 501555"/>
                <a:gd name="connsiteX36" fmla="*/ 1183944 w 1194180"/>
                <a:gd name="connsiteY36" fmla="*/ 498143 h 501555"/>
                <a:gd name="connsiteX37" fmla="*/ 1194180 w 1194180"/>
                <a:gd name="connsiteY37" fmla="*/ 501555 h 501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194180" h="501555">
                  <a:moveTo>
                    <a:pt x="0" y="10236"/>
                  </a:moveTo>
                  <a:lnTo>
                    <a:pt x="71651" y="13648"/>
                  </a:lnTo>
                  <a:lnTo>
                    <a:pt x="88711" y="23884"/>
                  </a:lnTo>
                  <a:lnTo>
                    <a:pt x="150126" y="30707"/>
                  </a:lnTo>
                  <a:lnTo>
                    <a:pt x="187657" y="3412"/>
                  </a:lnTo>
                  <a:lnTo>
                    <a:pt x="221777" y="3412"/>
                  </a:lnTo>
                  <a:lnTo>
                    <a:pt x="242248" y="0"/>
                  </a:lnTo>
                  <a:lnTo>
                    <a:pt x="286603" y="20472"/>
                  </a:lnTo>
                  <a:lnTo>
                    <a:pt x="324135" y="23884"/>
                  </a:lnTo>
                  <a:lnTo>
                    <a:pt x="351430" y="17060"/>
                  </a:lnTo>
                  <a:lnTo>
                    <a:pt x="378726" y="47767"/>
                  </a:lnTo>
                  <a:lnTo>
                    <a:pt x="412845" y="40943"/>
                  </a:lnTo>
                  <a:lnTo>
                    <a:pt x="464024" y="44355"/>
                  </a:lnTo>
                  <a:lnTo>
                    <a:pt x="477672" y="68239"/>
                  </a:lnTo>
                  <a:lnTo>
                    <a:pt x="515203" y="64827"/>
                  </a:lnTo>
                  <a:lnTo>
                    <a:pt x="562971" y="64827"/>
                  </a:lnTo>
                  <a:lnTo>
                    <a:pt x="566383" y="98946"/>
                  </a:lnTo>
                  <a:lnTo>
                    <a:pt x="624386" y="139890"/>
                  </a:lnTo>
                  <a:lnTo>
                    <a:pt x="634621" y="116006"/>
                  </a:lnTo>
                  <a:lnTo>
                    <a:pt x="651681" y="102358"/>
                  </a:lnTo>
                  <a:lnTo>
                    <a:pt x="689212" y="105770"/>
                  </a:lnTo>
                  <a:lnTo>
                    <a:pt x="706272" y="129654"/>
                  </a:lnTo>
                  <a:lnTo>
                    <a:pt x="733568" y="126242"/>
                  </a:lnTo>
                  <a:lnTo>
                    <a:pt x="798395" y="180833"/>
                  </a:lnTo>
                  <a:lnTo>
                    <a:pt x="829102" y="180833"/>
                  </a:lnTo>
                  <a:lnTo>
                    <a:pt x="887105" y="170597"/>
                  </a:lnTo>
                  <a:lnTo>
                    <a:pt x="914400" y="208128"/>
                  </a:lnTo>
                  <a:lnTo>
                    <a:pt x="963126" y="226400"/>
                  </a:lnTo>
                  <a:lnTo>
                    <a:pt x="962168" y="225188"/>
                  </a:lnTo>
                  <a:lnTo>
                    <a:pt x="1026995" y="211540"/>
                  </a:lnTo>
                  <a:lnTo>
                    <a:pt x="1047466" y="245660"/>
                  </a:lnTo>
                  <a:lnTo>
                    <a:pt x="1091821" y="293427"/>
                  </a:lnTo>
                  <a:lnTo>
                    <a:pt x="1132765" y="303663"/>
                  </a:lnTo>
                  <a:lnTo>
                    <a:pt x="1139589" y="388961"/>
                  </a:lnTo>
                  <a:lnTo>
                    <a:pt x="1187356" y="392373"/>
                  </a:lnTo>
                  <a:lnTo>
                    <a:pt x="1180532" y="474260"/>
                  </a:lnTo>
                  <a:lnTo>
                    <a:pt x="1183944" y="498143"/>
                  </a:lnTo>
                  <a:lnTo>
                    <a:pt x="1194180" y="501555"/>
                  </a:lnTo>
                </a:path>
              </a:pathLst>
            </a:custGeom>
            <a:grpFill/>
            <a:ln w="19050" cap="flat">
              <a:solidFill>
                <a:schemeClr val="tx1">
                  <a:lumMod val="95000"/>
                  <a:lumOff val="5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000000"/>
                </a:solidFill>
              </a:endParaRPr>
            </a:p>
          </p:txBody>
        </p:sp>
        <p:grpSp>
          <p:nvGrpSpPr>
            <p:cNvPr id="19" name="Group 18">
              <a:extLst>
                <a:ext uri="{FF2B5EF4-FFF2-40B4-BE49-F238E27FC236}">
                  <a16:creationId xmlns="" xmlns:a16="http://schemas.microsoft.com/office/drawing/2014/main" id="{5AFF788D-C5EE-4B89-936F-7030CCE2DAE2}"/>
                </a:ext>
              </a:extLst>
            </p:cNvPr>
            <p:cNvGrpSpPr/>
            <p:nvPr/>
          </p:nvGrpSpPr>
          <p:grpSpPr>
            <a:xfrm>
              <a:off x="6079799" y="2069275"/>
              <a:ext cx="800434" cy="479048"/>
              <a:chOff x="6079799" y="1916833"/>
              <a:chExt cx="800434" cy="479048"/>
            </a:xfrm>
            <a:grpFill/>
          </p:grpSpPr>
          <p:sp>
            <p:nvSpPr>
              <p:cNvPr id="75" name="Rectangle 195">
                <a:extLst>
                  <a:ext uri="{FF2B5EF4-FFF2-40B4-BE49-F238E27FC236}">
                    <a16:creationId xmlns="" xmlns:a16="http://schemas.microsoft.com/office/drawing/2014/main" id="{33835BFB-B552-409A-BD82-E4F997065483}"/>
                  </a:ext>
                </a:extLst>
              </p:cNvPr>
              <p:cNvSpPr/>
              <p:nvPr/>
            </p:nvSpPr>
            <p:spPr>
              <a:xfrm rot="10800000">
                <a:off x="6160512" y="2051062"/>
                <a:ext cx="666395" cy="49408"/>
              </a:xfrm>
              <a:custGeom>
                <a:avLst/>
                <a:gdLst>
                  <a:gd name="connsiteX0" fmla="*/ 0 w 611803"/>
                  <a:gd name="connsiteY0" fmla="*/ 0 h 49408"/>
                  <a:gd name="connsiteX1" fmla="*/ 611803 w 611803"/>
                  <a:gd name="connsiteY1" fmla="*/ 0 h 49408"/>
                  <a:gd name="connsiteX2" fmla="*/ 611803 w 611803"/>
                  <a:gd name="connsiteY2" fmla="*/ 49408 h 49408"/>
                  <a:gd name="connsiteX3" fmla="*/ 0 w 611803"/>
                  <a:gd name="connsiteY3" fmla="*/ 49408 h 49408"/>
                  <a:gd name="connsiteX4" fmla="*/ 0 w 611803"/>
                  <a:gd name="connsiteY4" fmla="*/ 0 h 49408"/>
                  <a:gd name="connsiteX0" fmla="*/ 0 w 611803"/>
                  <a:gd name="connsiteY0" fmla="*/ 0 h 49408"/>
                  <a:gd name="connsiteX1" fmla="*/ 611803 w 611803"/>
                  <a:gd name="connsiteY1" fmla="*/ 0 h 49408"/>
                  <a:gd name="connsiteX2" fmla="*/ 611803 w 611803"/>
                  <a:gd name="connsiteY2" fmla="*/ 49408 h 49408"/>
                  <a:gd name="connsiteX3" fmla="*/ 17060 w 611803"/>
                  <a:gd name="connsiteY3" fmla="*/ 45996 h 49408"/>
                  <a:gd name="connsiteX4" fmla="*/ 0 w 611803"/>
                  <a:gd name="connsiteY4" fmla="*/ 0 h 49408"/>
                  <a:gd name="connsiteX0" fmla="*/ 0 w 611803"/>
                  <a:gd name="connsiteY0" fmla="*/ 0 h 49408"/>
                  <a:gd name="connsiteX1" fmla="*/ 601567 w 611803"/>
                  <a:gd name="connsiteY1" fmla="*/ 0 h 49408"/>
                  <a:gd name="connsiteX2" fmla="*/ 611803 w 611803"/>
                  <a:gd name="connsiteY2" fmla="*/ 49408 h 49408"/>
                  <a:gd name="connsiteX3" fmla="*/ 17060 w 611803"/>
                  <a:gd name="connsiteY3" fmla="*/ 45996 h 49408"/>
                  <a:gd name="connsiteX4" fmla="*/ 0 w 611803"/>
                  <a:gd name="connsiteY4" fmla="*/ 0 h 49408"/>
                  <a:gd name="connsiteX0" fmla="*/ 0 w 601568"/>
                  <a:gd name="connsiteY0" fmla="*/ 0 h 49408"/>
                  <a:gd name="connsiteX1" fmla="*/ 591332 w 601568"/>
                  <a:gd name="connsiteY1" fmla="*/ 0 h 49408"/>
                  <a:gd name="connsiteX2" fmla="*/ 601568 w 601568"/>
                  <a:gd name="connsiteY2" fmla="*/ 49408 h 49408"/>
                  <a:gd name="connsiteX3" fmla="*/ 6825 w 601568"/>
                  <a:gd name="connsiteY3" fmla="*/ 45996 h 49408"/>
                  <a:gd name="connsiteX4" fmla="*/ 0 w 601568"/>
                  <a:gd name="connsiteY4" fmla="*/ 0 h 49408"/>
                  <a:gd name="connsiteX0" fmla="*/ 0 w 598156"/>
                  <a:gd name="connsiteY0" fmla="*/ 0 h 49408"/>
                  <a:gd name="connsiteX1" fmla="*/ 591332 w 598156"/>
                  <a:gd name="connsiteY1" fmla="*/ 0 h 49408"/>
                  <a:gd name="connsiteX2" fmla="*/ 598156 w 598156"/>
                  <a:gd name="connsiteY2" fmla="*/ 49408 h 49408"/>
                  <a:gd name="connsiteX3" fmla="*/ 6825 w 598156"/>
                  <a:gd name="connsiteY3" fmla="*/ 45996 h 49408"/>
                  <a:gd name="connsiteX4" fmla="*/ 0 w 598156"/>
                  <a:gd name="connsiteY4" fmla="*/ 0 h 49408"/>
                  <a:gd name="connsiteX0" fmla="*/ 0 w 598156"/>
                  <a:gd name="connsiteY0" fmla="*/ 0 h 49408"/>
                  <a:gd name="connsiteX1" fmla="*/ 591332 w 598156"/>
                  <a:gd name="connsiteY1" fmla="*/ 0 h 49408"/>
                  <a:gd name="connsiteX2" fmla="*/ 598156 w 598156"/>
                  <a:gd name="connsiteY2" fmla="*/ 49408 h 49408"/>
                  <a:gd name="connsiteX3" fmla="*/ 10237 w 598156"/>
                  <a:gd name="connsiteY3" fmla="*/ 45996 h 49408"/>
                  <a:gd name="connsiteX4" fmla="*/ 0 w 598156"/>
                  <a:gd name="connsiteY4" fmla="*/ 0 h 49408"/>
                  <a:gd name="connsiteX0" fmla="*/ 0 w 598156"/>
                  <a:gd name="connsiteY0" fmla="*/ 0 h 49408"/>
                  <a:gd name="connsiteX1" fmla="*/ 591332 w 598156"/>
                  <a:gd name="connsiteY1" fmla="*/ 0 h 49408"/>
                  <a:gd name="connsiteX2" fmla="*/ 598156 w 598156"/>
                  <a:gd name="connsiteY2" fmla="*/ 49408 h 49408"/>
                  <a:gd name="connsiteX3" fmla="*/ 10237 w 598156"/>
                  <a:gd name="connsiteY3" fmla="*/ 45996 h 49408"/>
                  <a:gd name="connsiteX4" fmla="*/ 0 w 598156"/>
                  <a:gd name="connsiteY4" fmla="*/ 0 h 49408"/>
                  <a:gd name="connsiteX0" fmla="*/ 0 w 601568"/>
                  <a:gd name="connsiteY0" fmla="*/ 0 h 49408"/>
                  <a:gd name="connsiteX1" fmla="*/ 594744 w 601568"/>
                  <a:gd name="connsiteY1" fmla="*/ 0 h 49408"/>
                  <a:gd name="connsiteX2" fmla="*/ 601568 w 601568"/>
                  <a:gd name="connsiteY2" fmla="*/ 49408 h 49408"/>
                  <a:gd name="connsiteX3" fmla="*/ 13649 w 601568"/>
                  <a:gd name="connsiteY3" fmla="*/ 45996 h 49408"/>
                  <a:gd name="connsiteX4" fmla="*/ 0 w 601568"/>
                  <a:gd name="connsiteY4" fmla="*/ 0 h 49408"/>
                  <a:gd name="connsiteX0" fmla="*/ 0 w 666395"/>
                  <a:gd name="connsiteY0" fmla="*/ 0 h 49408"/>
                  <a:gd name="connsiteX1" fmla="*/ 594744 w 666395"/>
                  <a:gd name="connsiteY1" fmla="*/ 0 h 49408"/>
                  <a:gd name="connsiteX2" fmla="*/ 666395 w 666395"/>
                  <a:gd name="connsiteY2" fmla="*/ 49408 h 49408"/>
                  <a:gd name="connsiteX3" fmla="*/ 13649 w 666395"/>
                  <a:gd name="connsiteY3" fmla="*/ 45996 h 49408"/>
                  <a:gd name="connsiteX4" fmla="*/ 0 w 666395"/>
                  <a:gd name="connsiteY4" fmla="*/ 0 h 49408"/>
                  <a:gd name="connsiteX0" fmla="*/ 0 w 666395"/>
                  <a:gd name="connsiteY0" fmla="*/ 0 h 49408"/>
                  <a:gd name="connsiteX1" fmla="*/ 662983 w 666395"/>
                  <a:gd name="connsiteY1" fmla="*/ 0 h 49408"/>
                  <a:gd name="connsiteX2" fmla="*/ 666395 w 666395"/>
                  <a:gd name="connsiteY2" fmla="*/ 49408 h 49408"/>
                  <a:gd name="connsiteX3" fmla="*/ 13649 w 666395"/>
                  <a:gd name="connsiteY3" fmla="*/ 45996 h 49408"/>
                  <a:gd name="connsiteX4" fmla="*/ 0 w 666395"/>
                  <a:gd name="connsiteY4" fmla="*/ 0 h 494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66395" h="49408">
                    <a:moveTo>
                      <a:pt x="0" y="0"/>
                    </a:moveTo>
                    <a:lnTo>
                      <a:pt x="662983" y="0"/>
                    </a:lnTo>
                    <a:lnTo>
                      <a:pt x="666395" y="49408"/>
                    </a:lnTo>
                    <a:lnTo>
                      <a:pt x="13649" y="45996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9050" cap="flat">
                <a:solidFill>
                  <a:schemeClr val="tx1">
                    <a:lumMod val="95000"/>
                    <a:lumOff val="5000"/>
                  </a:schemeClr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  <a:spcBef>
                    <a:spcPts val="900"/>
                  </a:spcBef>
                </a:pPr>
                <a:endParaRPr lang="en-US" sz="1400" dirty="0" err="1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76" name="Rectangle 195">
                <a:extLst>
                  <a:ext uri="{FF2B5EF4-FFF2-40B4-BE49-F238E27FC236}">
                    <a16:creationId xmlns="" xmlns:a16="http://schemas.microsoft.com/office/drawing/2014/main" id="{9382626B-AF27-4427-A80A-0E19DCBAD09F}"/>
                  </a:ext>
                </a:extLst>
              </p:cNvPr>
              <p:cNvSpPr/>
              <p:nvPr/>
            </p:nvSpPr>
            <p:spPr>
              <a:xfrm rot="10800000">
                <a:off x="6170691" y="2120021"/>
                <a:ext cx="666395" cy="46459"/>
              </a:xfrm>
              <a:custGeom>
                <a:avLst/>
                <a:gdLst>
                  <a:gd name="connsiteX0" fmla="*/ 0 w 611803"/>
                  <a:gd name="connsiteY0" fmla="*/ 0 h 49408"/>
                  <a:gd name="connsiteX1" fmla="*/ 611803 w 611803"/>
                  <a:gd name="connsiteY1" fmla="*/ 0 h 49408"/>
                  <a:gd name="connsiteX2" fmla="*/ 611803 w 611803"/>
                  <a:gd name="connsiteY2" fmla="*/ 49408 h 49408"/>
                  <a:gd name="connsiteX3" fmla="*/ 0 w 611803"/>
                  <a:gd name="connsiteY3" fmla="*/ 49408 h 49408"/>
                  <a:gd name="connsiteX4" fmla="*/ 0 w 611803"/>
                  <a:gd name="connsiteY4" fmla="*/ 0 h 49408"/>
                  <a:gd name="connsiteX0" fmla="*/ 0 w 611803"/>
                  <a:gd name="connsiteY0" fmla="*/ 0 h 49408"/>
                  <a:gd name="connsiteX1" fmla="*/ 611803 w 611803"/>
                  <a:gd name="connsiteY1" fmla="*/ 0 h 49408"/>
                  <a:gd name="connsiteX2" fmla="*/ 611803 w 611803"/>
                  <a:gd name="connsiteY2" fmla="*/ 49408 h 49408"/>
                  <a:gd name="connsiteX3" fmla="*/ 17060 w 611803"/>
                  <a:gd name="connsiteY3" fmla="*/ 45996 h 49408"/>
                  <a:gd name="connsiteX4" fmla="*/ 0 w 611803"/>
                  <a:gd name="connsiteY4" fmla="*/ 0 h 49408"/>
                  <a:gd name="connsiteX0" fmla="*/ 0 w 611803"/>
                  <a:gd name="connsiteY0" fmla="*/ 0 h 49408"/>
                  <a:gd name="connsiteX1" fmla="*/ 601567 w 611803"/>
                  <a:gd name="connsiteY1" fmla="*/ 0 h 49408"/>
                  <a:gd name="connsiteX2" fmla="*/ 611803 w 611803"/>
                  <a:gd name="connsiteY2" fmla="*/ 49408 h 49408"/>
                  <a:gd name="connsiteX3" fmla="*/ 17060 w 611803"/>
                  <a:gd name="connsiteY3" fmla="*/ 45996 h 49408"/>
                  <a:gd name="connsiteX4" fmla="*/ 0 w 611803"/>
                  <a:gd name="connsiteY4" fmla="*/ 0 h 49408"/>
                  <a:gd name="connsiteX0" fmla="*/ 0 w 601568"/>
                  <a:gd name="connsiteY0" fmla="*/ 0 h 49408"/>
                  <a:gd name="connsiteX1" fmla="*/ 591332 w 601568"/>
                  <a:gd name="connsiteY1" fmla="*/ 0 h 49408"/>
                  <a:gd name="connsiteX2" fmla="*/ 601568 w 601568"/>
                  <a:gd name="connsiteY2" fmla="*/ 49408 h 49408"/>
                  <a:gd name="connsiteX3" fmla="*/ 6825 w 601568"/>
                  <a:gd name="connsiteY3" fmla="*/ 45996 h 49408"/>
                  <a:gd name="connsiteX4" fmla="*/ 0 w 601568"/>
                  <a:gd name="connsiteY4" fmla="*/ 0 h 49408"/>
                  <a:gd name="connsiteX0" fmla="*/ 0 w 598156"/>
                  <a:gd name="connsiteY0" fmla="*/ 0 h 49408"/>
                  <a:gd name="connsiteX1" fmla="*/ 591332 w 598156"/>
                  <a:gd name="connsiteY1" fmla="*/ 0 h 49408"/>
                  <a:gd name="connsiteX2" fmla="*/ 598156 w 598156"/>
                  <a:gd name="connsiteY2" fmla="*/ 49408 h 49408"/>
                  <a:gd name="connsiteX3" fmla="*/ 6825 w 598156"/>
                  <a:gd name="connsiteY3" fmla="*/ 45996 h 49408"/>
                  <a:gd name="connsiteX4" fmla="*/ 0 w 598156"/>
                  <a:gd name="connsiteY4" fmla="*/ 0 h 49408"/>
                  <a:gd name="connsiteX0" fmla="*/ 0 w 598156"/>
                  <a:gd name="connsiteY0" fmla="*/ 0 h 49408"/>
                  <a:gd name="connsiteX1" fmla="*/ 591332 w 598156"/>
                  <a:gd name="connsiteY1" fmla="*/ 0 h 49408"/>
                  <a:gd name="connsiteX2" fmla="*/ 598156 w 598156"/>
                  <a:gd name="connsiteY2" fmla="*/ 49408 h 49408"/>
                  <a:gd name="connsiteX3" fmla="*/ 10237 w 598156"/>
                  <a:gd name="connsiteY3" fmla="*/ 45996 h 49408"/>
                  <a:gd name="connsiteX4" fmla="*/ 0 w 598156"/>
                  <a:gd name="connsiteY4" fmla="*/ 0 h 49408"/>
                  <a:gd name="connsiteX0" fmla="*/ 0 w 598156"/>
                  <a:gd name="connsiteY0" fmla="*/ 0 h 49408"/>
                  <a:gd name="connsiteX1" fmla="*/ 591332 w 598156"/>
                  <a:gd name="connsiteY1" fmla="*/ 0 h 49408"/>
                  <a:gd name="connsiteX2" fmla="*/ 598156 w 598156"/>
                  <a:gd name="connsiteY2" fmla="*/ 49408 h 49408"/>
                  <a:gd name="connsiteX3" fmla="*/ 10237 w 598156"/>
                  <a:gd name="connsiteY3" fmla="*/ 45996 h 49408"/>
                  <a:gd name="connsiteX4" fmla="*/ 0 w 598156"/>
                  <a:gd name="connsiteY4" fmla="*/ 0 h 49408"/>
                  <a:gd name="connsiteX0" fmla="*/ 0 w 601568"/>
                  <a:gd name="connsiteY0" fmla="*/ 0 h 49408"/>
                  <a:gd name="connsiteX1" fmla="*/ 594744 w 601568"/>
                  <a:gd name="connsiteY1" fmla="*/ 0 h 49408"/>
                  <a:gd name="connsiteX2" fmla="*/ 601568 w 601568"/>
                  <a:gd name="connsiteY2" fmla="*/ 49408 h 49408"/>
                  <a:gd name="connsiteX3" fmla="*/ 13649 w 601568"/>
                  <a:gd name="connsiteY3" fmla="*/ 45996 h 49408"/>
                  <a:gd name="connsiteX4" fmla="*/ 0 w 601568"/>
                  <a:gd name="connsiteY4" fmla="*/ 0 h 49408"/>
                  <a:gd name="connsiteX0" fmla="*/ 0 w 666395"/>
                  <a:gd name="connsiteY0" fmla="*/ 0 h 49408"/>
                  <a:gd name="connsiteX1" fmla="*/ 594744 w 666395"/>
                  <a:gd name="connsiteY1" fmla="*/ 0 h 49408"/>
                  <a:gd name="connsiteX2" fmla="*/ 666395 w 666395"/>
                  <a:gd name="connsiteY2" fmla="*/ 49408 h 49408"/>
                  <a:gd name="connsiteX3" fmla="*/ 13649 w 666395"/>
                  <a:gd name="connsiteY3" fmla="*/ 45996 h 49408"/>
                  <a:gd name="connsiteX4" fmla="*/ 0 w 666395"/>
                  <a:gd name="connsiteY4" fmla="*/ 0 h 49408"/>
                  <a:gd name="connsiteX0" fmla="*/ 0 w 666395"/>
                  <a:gd name="connsiteY0" fmla="*/ 0 h 49408"/>
                  <a:gd name="connsiteX1" fmla="*/ 662983 w 666395"/>
                  <a:gd name="connsiteY1" fmla="*/ 0 h 49408"/>
                  <a:gd name="connsiteX2" fmla="*/ 666395 w 666395"/>
                  <a:gd name="connsiteY2" fmla="*/ 49408 h 49408"/>
                  <a:gd name="connsiteX3" fmla="*/ 13649 w 666395"/>
                  <a:gd name="connsiteY3" fmla="*/ 45996 h 49408"/>
                  <a:gd name="connsiteX4" fmla="*/ 0 w 666395"/>
                  <a:gd name="connsiteY4" fmla="*/ 0 h 494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66395" h="49408">
                    <a:moveTo>
                      <a:pt x="0" y="0"/>
                    </a:moveTo>
                    <a:lnTo>
                      <a:pt x="662983" y="0"/>
                    </a:lnTo>
                    <a:lnTo>
                      <a:pt x="666395" y="49408"/>
                    </a:lnTo>
                    <a:lnTo>
                      <a:pt x="13649" y="45996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9050" cap="flat">
                <a:solidFill>
                  <a:schemeClr val="tx1">
                    <a:lumMod val="95000"/>
                    <a:lumOff val="5000"/>
                  </a:schemeClr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  <a:spcBef>
                    <a:spcPts val="900"/>
                  </a:spcBef>
                </a:pPr>
                <a:endParaRPr lang="en-US" sz="1400" dirty="0" err="1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77" name="Rectangle 195">
                <a:extLst>
                  <a:ext uri="{FF2B5EF4-FFF2-40B4-BE49-F238E27FC236}">
                    <a16:creationId xmlns="" xmlns:a16="http://schemas.microsoft.com/office/drawing/2014/main" id="{263F6505-1E93-4BAB-A01B-F60A156617C3}"/>
                  </a:ext>
                </a:extLst>
              </p:cNvPr>
              <p:cNvSpPr/>
              <p:nvPr/>
            </p:nvSpPr>
            <p:spPr>
              <a:xfrm rot="10800000">
                <a:off x="6183098" y="2186031"/>
                <a:ext cx="666395" cy="43200"/>
              </a:xfrm>
              <a:custGeom>
                <a:avLst/>
                <a:gdLst>
                  <a:gd name="connsiteX0" fmla="*/ 0 w 611803"/>
                  <a:gd name="connsiteY0" fmla="*/ 0 h 49408"/>
                  <a:gd name="connsiteX1" fmla="*/ 611803 w 611803"/>
                  <a:gd name="connsiteY1" fmla="*/ 0 h 49408"/>
                  <a:gd name="connsiteX2" fmla="*/ 611803 w 611803"/>
                  <a:gd name="connsiteY2" fmla="*/ 49408 h 49408"/>
                  <a:gd name="connsiteX3" fmla="*/ 0 w 611803"/>
                  <a:gd name="connsiteY3" fmla="*/ 49408 h 49408"/>
                  <a:gd name="connsiteX4" fmla="*/ 0 w 611803"/>
                  <a:gd name="connsiteY4" fmla="*/ 0 h 49408"/>
                  <a:gd name="connsiteX0" fmla="*/ 0 w 611803"/>
                  <a:gd name="connsiteY0" fmla="*/ 0 h 49408"/>
                  <a:gd name="connsiteX1" fmla="*/ 611803 w 611803"/>
                  <a:gd name="connsiteY1" fmla="*/ 0 h 49408"/>
                  <a:gd name="connsiteX2" fmla="*/ 611803 w 611803"/>
                  <a:gd name="connsiteY2" fmla="*/ 49408 h 49408"/>
                  <a:gd name="connsiteX3" fmla="*/ 17060 w 611803"/>
                  <a:gd name="connsiteY3" fmla="*/ 45996 h 49408"/>
                  <a:gd name="connsiteX4" fmla="*/ 0 w 611803"/>
                  <a:gd name="connsiteY4" fmla="*/ 0 h 49408"/>
                  <a:gd name="connsiteX0" fmla="*/ 0 w 611803"/>
                  <a:gd name="connsiteY0" fmla="*/ 0 h 49408"/>
                  <a:gd name="connsiteX1" fmla="*/ 601567 w 611803"/>
                  <a:gd name="connsiteY1" fmla="*/ 0 h 49408"/>
                  <a:gd name="connsiteX2" fmla="*/ 611803 w 611803"/>
                  <a:gd name="connsiteY2" fmla="*/ 49408 h 49408"/>
                  <a:gd name="connsiteX3" fmla="*/ 17060 w 611803"/>
                  <a:gd name="connsiteY3" fmla="*/ 45996 h 49408"/>
                  <a:gd name="connsiteX4" fmla="*/ 0 w 611803"/>
                  <a:gd name="connsiteY4" fmla="*/ 0 h 49408"/>
                  <a:gd name="connsiteX0" fmla="*/ 0 w 601568"/>
                  <a:gd name="connsiteY0" fmla="*/ 0 h 49408"/>
                  <a:gd name="connsiteX1" fmla="*/ 591332 w 601568"/>
                  <a:gd name="connsiteY1" fmla="*/ 0 h 49408"/>
                  <a:gd name="connsiteX2" fmla="*/ 601568 w 601568"/>
                  <a:gd name="connsiteY2" fmla="*/ 49408 h 49408"/>
                  <a:gd name="connsiteX3" fmla="*/ 6825 w 601568"/>
                  <a:gd name="connsiteY3" fmla="*/ 45996 h 49408"/>
                  <a:gd name="connsiteX4" fmla="*/ 0 w 601568"/>
                  <a:gd name="connsiteY4" fmla="*/ 0 h 49408"/>
                  <a:gd name="connsiteX0" fmla="*/ 0 w 598156"/>
                  <a:gd name="connsiteY0" fmla="*/ 0 h 49408"/>
                  <a:gd name="connsiteX1" fmla="*/ 591332 w 598156"/>
                  <a:gd name="connsiteY1" fmla="*/ 0 h 49408"/>
                  <a:gd name="connsiteX2" fmla="*/ 598156 w 598156"/>
                  <a:gd name="connsiteY2" fmla="*/ 49408 h 49408"/>
                  <a:gd name="connsiteX3" fmla="*/ 6825 w 598156"/>
                  <a:gd name="connsiteY3" fmla="*/ 45996 h 49408"/>
                  <a:gd name="connsiteX4" fmla="*/ 0 w 598156"/>
                  <a:gd name="connsiteY4" fmla="*/ 0 h 49408"/>
                  <a:gd name="connsiteX0" fmla="*/ 0 w 598156"/>
                  <a:gd name="connsiteY0" fmla="*/ 0 h 49408"/>
                  <a:gd name="connsiteX1" fmla="*/ 591332 w 598156"/>
                  <a:gd name="connsiteY1" fmla="*/ 0 h 49408"/>
                  <a:gd name="connsiteX2" fmla="*/ 598156 w 598156"/>
                  <a:gd name="connsiteY2" fmla="*/ 49408 h 49408"/>
                  <a:gd name="connsiteX3" fmla="*/ 10237 w 598156"/>
                  <a:gd name="connsiteY3" fmla="*/ 45996 h 49408"/>
                  <a:gd name="connsiteX4" fmla="*/ 0 w 598156"/>
                  <a:gd name="connsiteY4" fmla="*/ 0 h 49408"/>
                  <a:gd name="connsiteX0" fmla="*/ 0 w 598156"/>
                  <a:gd name="connsiteY0" fmla="*/ 0 h 49408"/>
                  <a:gd name="connsiteX1" fmla="*/ 591332 w 598156"/>
                  <a:gd name="connsiteY1" fmla="*/ 0 h 49408"/>
                  <a:gd name="connsiteX2" fmla="*/ 598156 w 598156"/>
                  <a:gd name="connsiteY2" fmla="*/ 49408 h 49408"/>
                  <a:gd name="connsiteX3" fmla="*/ 10237 w 598156"/>
                  <a:gd name="connsiteY3" fmla="*/ 45996 h 49408"/>
                  <a:gd name="connsiteX4" fmla="*/ 0 w 598156"/>
                  <a:gd name="connsiteY4" fmla="*/ 0 h 49408"/>
                  <a:gd name="connsiteX0" fmla="*/ 0 w 601568"/>
                  <a:gd name="connsiteY0" fmla="*/ 0 h 49408"/>
                  <a:gd name="connsiteX1" fmla="*/ 594744 w 601568"/>
                  <a:gd name="connsiteY1" fmla="*/ 0 h 49408"/>
                  <a:gd name="connsiteX2" fmla="*/ 601568 w 601568"/>
                  <a:gd name="connsiteY2" fmla="*/ 49408 h 49408"/>
                  <a:gd name="connsiteX3" fmla="*/ 13649 w 601568"/>
                  <a:gd name="connsiteY3" fmla="*/ 45996 h 49408"/>
                  <a:gd name="connsiteX4" fmla="*/ 0 w 601568"/>
                  <a:gd name="connsiteY4" fmla="*/ 0 h 49408"/>
                  <a:gd name="connsiteX0" fmla="*/ 0 w 666395"/>
                  <a:gd name="connsiteY0" fmla="*/ 0 h 49408"/>
                  <a:gd name="connsiteX1" fmla="*/ 594744 w 666395"/>
                  <a:gd name="connsiteY1" fmla="*/ 0 h 49408"/>
                  <a:gd name="connsiteX2" fmla="*/ 666395 w 666395"/>
                  <a:gd name="connsiteY2" fmla="*/ 49408 h 49408"/>
                  <a:gd name="connsiteX3" fmla="*/ 13649 w 666395"/>
                  <a:gd name="connsiteY3" fmla="*/ 45996 h 49408"/>
                  <a:gd name="connsiteX4" fmla="*/ 0 w 666395"/>
                  <a:gd name="connsiteY4" fmla="*/ 0 h 49408"/>
                  <a:gd name="connsiteX0" fmla="*/ 0 w 666395"/>
                  <a:gd name="connsiteY0" fmla="*/ 0 h 49408"/>
                  <a:gd name="connsiteX1" fmla="*/ 662983 w 666395"/>
                  <a:gd name="connsiteY1" fmla="*/ 0 h 49408"/>
                  <a:gd name="connsiteX2" fmla="*/ 666395 w 666395"/>
                  <a:gd name="connsiteY2" fmla="*/ 49408 h 49408"/>
                  <a:gd name="connsiteX3" fmla="*/ 13649 w 666395"/>
                  <a:gd name="connsiteY3" fmla="*/ 45996 h 49408"/>
                  <a:gd name="connsiteX4" fmla="*/ 0 w 666395"/>
                  <a:gd name="connsiteY4" fmla="*/ 0 h 494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66395" h="49408">
                    <a:moveTo>
                      <a:pt x="0" y="0"/>
                    </a:moveTo>
                    <a:lnTo>
                      <a:pt x="662983" y="0"/>
                    </a:lnTo>
                    <a:lnTo>
                      <a:pt x="666395" y="49408"/>
                    </a:lnTo>
                    <a:lnTo>
                      <a:pt x="13649" y="45996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9050" cap="flat">
                <a:solidFill>
                  <a:schemeClr val="tx1">
                    <a:lumMod val="95000"/>
                    <a:lumOff val="5000"/>
                  </a:schemeClr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  <a:spcBef>
                    <a:spcPts val="900"/>
                  </a:spcBef>
                </a:pPr>
                <a:endParaRPr lang="en-US" sz="1400" dirty="0" err="1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78" name="Rectangle 195">
                <a:extLst>
                  <a:ext uri="{FF2B5EF4-FFF2-40B4-BE49-F238E27FC236}">
                    <a16:creationId xmlns="" xmlns:a16="http://schemas.microsoft.com/office/drawing/2014/main" id="{117C0974-D0CA-42A3-BF4C-392CEE58FDA4}"/>
                  </a:ext>
                </a:extLst>
              </p:cNvPr>
              <p:cNvSpPr/>
              <p:nvPr/>
            </p:nvSpPr>
            <p:spPr>
              <a:xfrm rot="10800000">
                <a:off x="6197211" y="2248782"/>
                <a:ext cx="666395" cy="39600"/>
              </a:xfrm>
              <a:custGeom>
                <a:avLst/>
                <a:gdLst>
                  <a:gd name="connsiteX0" fmla="*/ 0 w 611803"/>
                  <a:gd name="connsiteY0" fmla="*/ 0 h 49408"/>
                  <a:gd name="connsiteX1" fmla="*/ 611803 w 611803"/>
                  <a:gd name="connsiteY1" fmla="*/ 0 h 49408"/>
                  <a:gd name="connsiteX2" fmla="*/ 611803 w 611803"/>
                  <a:gd name="connsiteY2" fmla="*/ 49408 h 49408"/>
                  <a:gd name="connsiteX3" fmla="*/ 0 w 611803"/>
                  <a:gd name="connsiteY3" fmla="*/ 49408 h 49408"/>
                  <a:gd name="connsiteX4" fmla="*/ 0 w 611803"/>
                  <a:gd name="connsiteY4" fmla="*/ 0 h 49408"/>
                  <a:gd name="connsiteX0" fmla="*/ 0 w 611803"/>
                  <a:gd name="connsiteY0" fmla="*/ 0 h 49408"/>
                  <a:gd name="connsiteX1" fmla="*/ 611803 w 611803"/>
                  <a:gd name="connsiteY1" fmla="*/ 0 h 49408"/>
                  <a:gd name="connsiteX2" fmla="*/ 611803 w 611803"/>
                  <a:gd name="connsiteY2" fmla="*/ 49408 h 49408"/>
                  <a:gd name="connsiteX3" fmla="*/ 17060 w 611803"/>
                  <a:gd name="connsiteY3" fmla="*/ 45996 h 49408"/>
                  <a:gd name="connsiteX4" fmla="*/ 0 w 611803"/>
                  <a:gd name="connsiteY4" fmla="*/ 0 h 49408"/>
                  <a:gd name="connsiteX0" fmla="*/ 0 w 611803"/>
                  <a:gd name="connsiteY0" fmla="*/ 0 h 49408"/>
                  <a:gd name="connsiteX1" fmla="*/ 601567 w 611803"/>
                  <a:gd name="connsiteY1" fmla="*/ 0 h 49408"/>
                  <a:gd name="connsiteX2" fmla="*/ 611803 w 611803"/>
                  <a:gd name="connsiteY2" fmla="*/ 49408 h 49408"/>
                  <a:gd name="connsiteX3" fmla="*/ 17060 w 611803"/>
                  <a:gd name="connsiteY3" fmla="*/ 45996 h 49408"/>
                  <a:gd name="connsiteX4" fmla="*/ 0 w 611803"/>
                  <a:gd name="connsiteY4" fmla="*/ 0 h 49408"/>
                  <a:gd name="connsiteX0" fmla="*/ 0 w 601568"/>
                  <a:gd name="connsiteY0" fmla="*/ 0 h 49408"/>
                  <a:gd name="connsiteX1" fmla="*/ 591332 w 601568"/>
                  <a:gd name="connsiteY1" fmla="*/ 0 h 49408"/>
                  <a:gd name="connsiteX2" fmla="*/ 601568 w 601568"/>
                  <a:gd name="connsiteY2" fmla="*/ 49408 h 49408"/>
                  <a:gd name="connsiteX3" fmla="*/ 6825 w 601568"/>
                  <a:gd name="connsiteY3" fmla="*/ 45996 h 49408"/>
                  <a:gd name="connsiteX4" fmla="*/ 0 w 601568"/>
                  <a:gd name="connsiteY4" fmla="*/ 0 h 49408"/>
                  <a:gd name="connsiteX0" fmla="*/ 0 w 598156"/>
                  <a:gd name="connsiteY0" fmla="*/ 0 h 49408"/>
                  <a:gd name="connsiteX1" fmla="*/ 591332 w 598156"/>
                  <a:gd name="connsiteY1" fmla="*/ 0 h 49408"/>
                  <a:gd name="connsiteX2" fmla="*/ 598156 w 598156"/>
                  <a:gd name="connsiteY2" fmla="*/ 49408 h 49408"/>
                  <a:gd name="connsiteX3" fmla="*/ 6825 w 598156"/>
                  <a:gd name="connsiteY3" fmla="*/ 45996 h 49408"/>
                  <a:gd name="connsiteX4" fmla="*/ 0 w 598156"/>
                  <a:gd name="connsiteY4" fmla="*/ 0 h 49408"/>
                  <a:gd name="connsiteX0" fmla="*/ 0 w 598156"/>
                  <a:gd name="connsiteY0" fmla="*/ 0 h 49408"/>
                  <a:gd name="connsiteX1" fmla="*/ 591332 w 598156"/>
                  <a:gd name="connsiteY1" fmla="*/ 0 h 49408"/>
                  <a:gd name="connsiteX2" fmla="*/ 598156 w 598156"/>
                  <a:gd name="connsiteY2" fmla="*/ 49408 h 49408"/>
                  <a:gd name="connsiteX3" fmla="*/ 10237 w 598156"/>
                  <a:gd name="connsiteY3" fmla="*/ 45996 h 49408"/>
                  <a:gd name="connsiteX4" fmla="*/ 0 w 598156"/>
                  <a:gd name="connsiteY4" fmla="*/ 0 h 49408"/>
                  <a:gd name="connsiteX0" fmla="*/ 0 w 598156"/>
                  <a:gd name="connsiteY0" fmla="*/ 0 h 49408"/>
                  <a:gd name="connsiteX1" fmla="*/ 591332 w 598156"/>
                  <a:gd name="connsiteY1" fmla="*/ 0 h 49408"/>
                  <a:gd name="connsiteX2" fmla="*/ 598156 w 598156"/>
                  <a:gd name="connsiteY2" fmla="*/ 49408 h 49408"/>
                  <a:gd name="connsiteX3" fmla="*/ 10237 w 598156"/>
                  <a:gd name="connsiteY3" fmla="*/ 45996 h 49408"/>
                  <a:gd name="connsiteX4" fmla="*/ 0 w 598156"/>
                  <a:gd name="connsiteY4" fmla="*/ 0 h 49408"/>
                  <a:gd name="connsiteX0" fmla="*/ 0 w 601568"/>
                  <a:gd name="connsiteY0" fmla="*/ 0 h 49408"/>
                  <a:gd name="connsiteX1" fmla="*/ 594744 w 601568"/>
                  <a:gd name="connsiteY1" fmla="*/ 0 h 49408"/>
                  <a:gd name="connsiteX2" fmla="*/ 601568 w 601568"/>
                  <a:gd name="connsiteY2" fmla="*/ 49408 h 49408"/>
                  <a:gd name="connsiteX3" fmla="*/ 13649 w 601568"/>
                  <a:gd name="connsiteY3" fmla="*/ 45996 h 49408"/>
                  <a:gd name="connsiteX4" fmla="*/ 0 w 601568"/>
                  <a:gd name="connsiteY4" fmla="*/ 0 h 49408"/>
                  <a:gd name="connsiteX0" fmla="*/ 0 w 666395"/>
                  <a:gd name="connsiteY0" fmla="*/ 0 h 49408"/>
                  <a:gd name="connsiteX1" fmla="*/ 594744 w 666395"/>
                  <a:gd name="connsiteY1" fmla="*/ 0 h 49408"/>
                  <a:gd name="connsiteX2" fmla="*/ 666395 w 666395"/>
                  <a:gd name="connsiteY2" fmla="*/ 49408 h 49408"/>
                  <a:gd name="connsiteX3" fmla="*/ 13649 w 666395"/>
                  <a:gd name="connsiteY3" fmla="*/ 45996 h 49408"/>
                  <a:gd name="connsiteX4" fmla="*/ 0 w 666395"/>
                  <a:gd name="connsiteY4" fmla="*/ 0 h 49408"/>
                  <a:gd name="connsiteX0" fmla="*/ 0 w 666395"/>
                  <a:gd name="connsiteY0" fmla="*/ 0 h 49408"/>
                  <a:gd name="connsiteX1" fmla="*/ 662983 w 666395"/>
                  <a:gd name="connsiteY1" fmla="*/ 0 h 49408"/>
                  <a:gd name="connsiteX2" fmla="*/ 666395 w 666395"/>
                  <a:gd name="connsiteY2" fmla="*/ 49408 h 49408"/>
                  <a:gd name="connsiteX3" fmla="*/ 13649 w 666395"/>
                  <a:gd name="connsiteY3" fmla="*/ 45996 h 49408"/>
                  <a:gd name="connsiteX4" fmla="*/ 0 w 666395"/>
                  <a:gd name="connsiteY4" fmla="*/ 0 h 494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66395" h="49408">
                    <a:moveTo>
                      <a:pt x="0" y="0"/>
                    </a:moveTo>
                    <a:lnTo>
                      <a:pt x="662983" y="0"/>
                    </a:lnTo>
                    <a:lnTo>
                      <a:pt x="666395" y="49408"/>
                    </a:lnTo>
                    <a:lnTo>
                      <a:pt x="13649" y="45996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9050" cap="flat">
                <a:solidFill>
                  <a:schemeClr val="tx1">
                    <a:lumMod val="95000"/>
                    <a:lumOff val="5000"/>
                  </a:schemeClr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  <a:spcBef>
                    <a:spcPts val="900"/>
                  </a:spcBef>
                </a:pPr>
                <a:endParaRPr lang="en-US" sz="1400" dirty="0" err="1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79" name="Rectangle 195">
                <a:extLst>
                  <a:ext uri="{FF2B5EF4-FFF2-40B4-BE49-F238E27FC236}">
                    <a16:creationId xmlns="" xmlns:a16="http://schemas.microsoft.com/office/drawing/2014/main" id="{6F7F2E1D-2CFC-4DB8-8DEF-264C71ABBB84}"/>
                  </a:ext>
                </a:extLst>
              </p:cNvPr>
              <p:cNvSpPr/>
              <p:nvPr/>
            </p:nvSpPr>
            <p:spPr>
              <a:xfrm rot="10800000">
                <a:off x="6204035" y="2307933"/>
                <a:ext cx="666395" cy="36000"/>
              </a:xfrm>
              <a:custGeom>
                <a:avLst/>
                <a:gdLst>
                  <a:gd name="connsiteX0" fmla="*/ 0 w 611803"/>
                  <a:gd name="connsiteY0" fmla="*/ 0 h 49408"/>
                  <a:gd name="connsiteX1" fmla="*/ 611803 w 611803"/>
                  <a:gd name="connsiteY1" fmla="*/ 0 h 49408"/>
                  <a:gd name="connsiteX2" fmla="*/ 611803 w 611803"/>
                  <a:gd name="connsiteY2" fmla="*/ 49408 h 49408"/>
                  <a:gd name="connsiteX3" fmla="*/ 0 w 611803"/>
                  <a:gd name="connsiteY3" fmla="*/ 49408 h 49408"/>
                  <a:gd name="connsiteX4" fmla="*/ 0 w 611803"/>
                  <a:gd name="connsiteY4" fmla="*/ 0 h 49408"/>
                  <a:gd name="connsiteX0" fmla="*/ 0 w 611803"/>
                  <a:gd name="connsiteY0" fmla="*/ 0 h 49408"/>
                  <a:gd name="connsiteX1" fmla="*/ 611803 w 611803"/>
                  <a:gd name="connsiteY1" fmla="*/ 0 h 49408"/>
                  <a:gd name="connsiteX2" fmla="*/ 611803 w 611803"/>
                  <a:gd name="connsiteY2" fmla="*/ 49408 h 49408"/>
                  <a:gd name="connsiteX3" fmla="*/ 17060 w 611803"/>
                  <a:gd name="connsiteY3" fmla="*/ 45996 h 49408"/>
                  <a:gd name="connsiteX4" fmla="*/ 0 w 611803"/>
                  <a:gd name="connsiteY4" fmla="*/ 0 h 49408"/>
                  <a:gd name="connsiteX0" fmla="*/ 0 w 611803"/>
                  <a:gd name="connsiteY0" fmla="*/ 0 h 49408"/>
                  <a:gd name="connsiteX1" fmla="*/ 601567 w 611803"/>
                  <a:gd name="connsiteY1" fmla="*/ 0 h 49408"/>
                  <a:gd name="connsiteX2" fmla="*/ 611803 w 611803"/>
                  <a:gd name="connsiteY2" fmla="*/ 49408 h 49408"/>
                  <a:gd name="connsiteX3" fmla="*/ 17060 w 611803"/>
                  <a:gd name="connsiteY3" fmla="*/ 45996 h 49408"/>
                  <a:gd name="connsiteX4" fmla="*/ 0 w 611803"/>
                  <a:gd name="connsiteY4" fmla="*/ 0 h 49408"/>
                  <a:gd name="connsiteX0" fmla="*/ 0 w 601568"/>
                  <a:gd name="connsiteY0" fmla="*/ 0 h 49408"/>
                  <a:gd name="connsiteX1" fmla="*/ 591332 w 601568"/>
                  <a:gd name="connsiteY1" fmla="*/ 0 h 49408"/>
                  <a:gd name="connsiteX2" fmla="*/ 601568 w 601568"/>
                  <a:gd name="connsiteY2" fmla="*/ 49408 h 49408"/>
                  <a:gd name="connsiteX3" fmla="*/ 6825 w 601568"/>
                  <a:gd name="connsiteY3" fmla="*/ 45996 h 49408"/>
                  <a:gd name="connsiteX4" fmla="*/ 0 w 601568"/>
                  <a:gd name="connsiteY4" fmla="*/ 0 h 49408"/>
                  <a:gd name="connsiteX0" fmla="*/ 0 w 598156"/>
                  <a:gd name="connsiteY0" fmla="*/ 0 h 49408"/>
                  <a:gd name="connsiteX1" fmla="*/ 591332 w 598156"/>
                  <a:gd name="connsiteY1" fmla="*/ 0 h 49408"/>
                  <a:gd name="connsiteX2" fmla="*/ 598156 w 598156"/>
                  <a:gd name="connsiteY2" fmla="*/ 49408 h 49408"/>
                  <a:gd name="connsiteX3" fmla="*/ 6825 w 598156"/>
                  <a:gd name="connsiteY3" fmla="*/ 45996 h 49408"/>
                  <a:gd name="connsiteX4" fmla="*/ 0 w 598156"/>
                  <a:gd name="connsiteY4" fmla="*/ 0 h 49408"/>
                  <a:gd name="connsiteX0" fmla="*/ 0 w 598156"/>
                  <a:gd name="connsiteY0" fmla="*/ 0 h 49408"/>
                  <a:gd name="connsiteX1" fmla="*/ 591332 w 598156"/>
                  <a:gd name="connsiteY1" fmla="*/ 0 h 49408"/>
                  <a:gd name="connsiteX2" fmla="*/ 598156 w 598156"/>
                  <a:gd name="connsiteY2" fmla="*/ 49408 h 49408"/>
                  <a:gd name="connsiteX3" fmla="*/ 10237 w 598156"/>
                  <a:gd name="connsiteY3" fmla="*/ 45996 h 49408"/>
                  <a:gd name="connsiteX4" fmla="*/ 0 w 598156"/>
                  <a:gd name="connsiteY4" fmla="*/ 0 h 49408"/>
                  <a:gd name="connsiteX0" fmla="*/ 0 w 598156"/>
                  <a:gd name="connsiteY0" fmla="*/ 0 h 49408"/>
                  <a:gd name="connsiteX1" fmla="*/ 591332 w 598156"/>
                  <a:gd name="connsiteY1" fmla="*/ 0 h 49408"/>
                  <a:gd name="connsiteX2" fmla="*/ 598156 w 598156"/>
                  <a:gd name="connsiteY2" fmla="*/ 49408 h 49408"/>
                  <a:gd name="connsiteX3" fmla="*/ 10237 w 598156"/>
                  <a:gd name="connsiteY3" fmla="*/ 45996 h 49408"/>
                  <a:gd name="connsiteX4" fmla="*/ 0 w 598156"/>
                  <a:gd name="connsiteY4" fmla="*/ 0 h 49408"/>
                  <a:gd name="connsiteX0" fmla="*/ 0 w 601568"/>
                  <a:gd name="connsiteY0" fmla="*/ 0 h 49408"/>
                  <a:gd name="connsiteX1" fmla="*/ 594744 w 601568"/>
                  <a:gd name="connsiteY1" fmla="*/ 0 h 49408"/>
                  <a:gd name="connsiteX2" fmla="*/ 601568 w 601568"/>
                  <a:gd name="connsiteY2" fmla="*/ 49408 h 49408"/>
                  <a:gd name="connsiteX3" fmla="*/ 13649 w 601568"/>
                  <a:gd name="connsiteY3" fmla="*/ 45996 h 49408"/>
                  <a:gd name="connsiteX4" fmla="*/ 0 w 601568"/>
                  <a:gd name="connsiteY4" fmla="*/ 0 h 49408"/>
                  <a:gd name="connsiteX0" fmla="*/ 0 w 666395"/>
                  <a:gd name="connsiteY0" fmla="*/ 0 h 49408"/>
                  <a:gd name="connsiteX1" fmla="*/ 594744 w 666395"/>
                  <a:gd name="connsiteY1" fmla="*/ 0 h 49408"/>
                  <a:gd name="connsiteX2" fmla="*/ 666395 w 666395"/>
                  <a:gd name="connsiteY2" fmla="*/ 49408 h 49408"/>
                  <a:gd name="connsiteX3" fmla="*/ 13649 w 666395"/>
                  <a:gd name="connsiteY3" fmla="*/ 45996 h 49408"/>
                  <a:gd name="connsiteX4" fmla="*/ 0 w 666395"/>
                  <a:gd name="connsiteY4" fmla="*/ 0 h 49408"/>
                  <a:gd name="connsiteX0" fmla="*/ 0 w 666395"/>
                  <a:gd name="connsiteY0" fmla="*/ 0 h 49408"/>
                  <a:gd name="connsiteX1" fmla="*/ 662983 w 666395"/>
                  <a:gd name="connsiteY1" fmla="*/ 0 h 49408"/>
                  <a:gd name="connsiteX2" fmla="*/ 666395 w 666395"/>
                  <a:gd name="connsiteY2" fmla="*/ 49408 h 49408"/>
                  <a:gd name="connsiteX3" fmla="*/ 13649 w 666395"/>
                  <a:gd name="connsiteY3" fmla="*/ 45996 h 49408"/>
                  <a:gd name="connsiteX4" fmla="*/ 0 w 666395"/>
                  <a:gd name="connsiteY4" fmla="*/ 0 h 494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66395" h="49408">
                    <a:moveTo>
                      <a:pt x="0" y="0"/>
                    </a:moveTo>
                    <a:lnTo>
                      <a:pt x="662983" y="0"/>
                    </a:lnTo>
                    <a:lnTo>
                      <a:pt x="666395" y="49408"/>
                    </a:lnTo>
                    <a:lnTo>
                      <a:pt x="13649" y="45996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9050" cap="flat">
                <a:solidFill>
                  <a:schemeClr val="tx1">
                    <a:lumMod val="95000"/>
                    <a:lumOff val="5000"/>
                  </a:schemeClr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  <a:spcBef>
                    <a:spcPts val="900"/>
                  </a:spcBef>
                </a:pPr>
                <a:endParaRPr lang="en-US" sz="1400" dirty="0" err="1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80" name="Rectangle 195">
                <a:extLst>
                  <a:ext uri="{FF2B5EF4-FFF2-40B4-BE49-F238E27FC236}">
                    <a16:creationId xmlns="" xmlns:a16="http://schemas.microsoft.com/office/drawing/2014/main" id="{206C6E72-C334-476F-A917-6DEF4BF1434B}"/>
                  </a:ext>
                </a:extLst>
              </p:cNvPr>
              <p:cNvSpPr/>
              <p:nvPr/>
            </p:nvSpPr>
            <p:spPr>
              <a:xfrm rot="10800000">
                <a:off x="6213838" y="2363481"/>
                <a:ext cx="666395" cy="32400"/>
              </a:xfrm>
              <a:custGeom>
                <a:avLst/>
                <a:gdLst>
                  <a:gd name="connsiteX0" fmla="*/ 0 w 611803"/>
                  <a:gd name="connsiteY0" fmla="*/ 0 h 49408"/>
                  <a:gd name="connsiteX1" fmla="*/ 611803 w 611803"/>
                  <a:gd name="connsiteY1" fmla="*/ 0 h 49408"/>
                  <a:gd name="connsiteX2" fmla="*/ 611803 w 611803"/>
                  <a:gd name="connsiteY2" fmla="*/ 49408 h 49408"/>
                  <a:gd name="connsiteX3" fmla="*/ 0 w 611803"/>
                  <a:gd name="connsiteY3" fmla="*/ 49408 h 49408"/>
                  <a:gd name="connsiteX4" fmla="*/ 0 w 611803"/>
                  <a:gd name="connsiteY4" fmla="*/ 0 h 49408"/>
                  <a:gd name="connsiteX0" fmla="*/ 0 w 611803"/>
                  <a:gd name="connsiteY0" fmla="*/ 0 h 49408"/>
                  <a:gd name="connsiteX1" fmla="*/ 611803 w 611803"/>
                  <a:gd name="connsiteY1" fmla="*/ 0 h 49408"/>
                  <a:gd name="connsiteX2" fmla="*/ 611803 w 611803"/>
                  <a:gd name="connsiteY2" fmla="*/ 49408 h 49408"/>
                  <a:gd name="connsiteX3" fmla="*/ 17060 w 611803"/>
                  <a:gd name="connsiteY3" fmla="*/ 45996 h 49408"/>
                  <a:gd name="connsiteX4" fmla="*/ 0 w 611803"/>
                  <a:gd name="connsiteY4" fmla="*/ 0 h 49408"/>
                  <a:gd name="connsiteX0" fmla="*/ 0 w 611803"/>
                  <a:gd name="connsiteY0" fmla="*/ 0 h 49408"/>
                  <a:gd name="connsiteX1" fmla="*/ 601567 w 611803"/>
                  <a:gd name="connsiteY1" fmla="*/ 0 h 49408"/>
                  <a:gd name="connsiteX2" fmla="*/ 611803 w 611803"/>
                  <a:gd name="connsiteY2" fmla="*/ 49408 h 49408"/>
                  <a:gd name="connsiteX3" fmla="*/ 17060 w 611803"/>
                  <a:gd name="connsiteY3" fmla="*/ 45996 h 49408"/>
                  <a:gd name="connsiteX4" fmla="*/ 0 w 611803"/>
                  <a:gd name="connsiteY4" fmla="*/ 0 h 49408"/>
                  <a:gd name="connsiteX0" fmla="*/ 0 w 601568"/>
                  <a:gd name="connsiteY0" fmla="*/ 0 h 49408"/>
                  <a:gd name="connsiteX1" fmla="*/ 591332 w 601568"/>
                  <a:gd name="connsiteY1" fmla="*/ 0 h 49408"/>
                  <a:gd name="connsiteX2" fmla="*/ 601568 w 601568"/>
                  <a:gd name="connsiteY2" fmla="*/ 49408 h 49408"/>
                  <a:gd name="connsiteX3" fmla="*/ 6825 w 601568"/>
                  <a:gd name="connsiteY3" fmla="*/ 45996 h 49408"/>
                  <a:gd name="connsiteX4" fmla="*/ 0 w 601568"/>
                  <a:gd name="connsiteY4" fmla="*/ 0 h 49408"/>
                  <a:gd name="connsiteX0" fmla="*/ 0 w 598156"/>
                  <a:gd name="connsiteY0" fmla="*/ 0 h 49408"/>
                  <a:gd name="connsiteX1" fmla="*/ 591332 w 598156"/>
                  <a:gd name="connsiteY1" fmla="*/ 0 h 49408"/>
                  <a:gd name="connsiteX2" fmla="*/ 598156 w 598156"/>
                  <a:gd name="connsiteY2" fmla="*/ 49408 h 49408"/>
                  <a:gd name="connsiteX3" fmla="*/ 6825 w 598156"/>
                  <a:gd name="connsiteY3" fmla="*/ 45996 h 49408"/>
                  <a:gd name="connsiteX4" fmla="*/ 0 w 598156"/>
                  <a:gd name="connsiteY4" fmla="*/ 0 h 49408"/>
                  <a:gd name="connsiteX0" fmla="*/ 0 w 598156"/>
                  <a:gd name="connsiteY0" fmla="*/ 0 h 49408"/>
                  <a:gd name="connsiteX1" fmla="*/ 591332 w 598156"/>
                  <a:gd name="connsiteY1" fmla="*/ 0 h 49408"/>
                  <a:gd name="connsiteX2" fmla="*/ 598156 w 598156"/>
                  <a:gd name="connsiteY2" fmla="*/ 49408 h 49408"/>
                  <a:gd name="connsiteX3" fmla="*/ 10237 w 598156"/>
                  <a:gd name="connsiteY3" fmla="*/ 45996 h 49408"/>
                  <a:gd name="connsiteX4" fmla="*/ 0 w 598156"/>
                  <a:gd name="connsiteY4" fmla="*/ 0 h 49408"/>
                  <a:gd name="connsiteX0" fmla="*/ 0 w 598156"/>
                  <a:gd name="connsiteY0" fmla="*/ 0 h 49408"/>
                  <a:gd name="connsiteX1" fmla="*/ 591332 w 598156"/>
                  <a:gd name="connsiteY1" fmla="*/ 0 h 49408"/>
                  <a:gd name="connsiteX2" fmla="*/ 598156 w 598156"/>
                  <a:gd name="connsiteY2" fmla="*/ 49408 h 49408"/>
                  <a:gd name="connsiteX3" fmla="*/ 10237 w 598156"/>
                  <a:gd name="connsiteY3" fmla="*/ 45996 h 49408"/>
                  <a:gd name="connsiteX4" fmla="*/ 0 w 598156"/>
                  <a:gd name="connsiteY4" fmla="*/ 0 h 49408"/>
                  <a:gd name="connsiteX0" fmla="*/ 0 w 601568"/>
                  <a:gd name="connsiteY0" fmla="*/ 0 h 49408"/>
                  <a:gd name="connsiteX1" fmla="*/ 594744 w 601568"/>
                  <a:gd name="connsiteY1" fmla="*/ 0 h 49408"/>
                  <a:gd name="connsiteX2" fmla="*/ 601568 w 601568"/>
                  <a:gd name="connsiteY2" fmla="*/ 49408 h 49408"/>
                  <a:gd name="connsiteX3" fmla="*/ 13649 w 601568"/>
                  <a:gd name="connsiteY3" fmla="*/ 45996 h 49408"/>
                  <a:gd name="connsiteX4" fmla="*/ 0 w 601568"/>
                  <a:gd name="connsiteY4" fmla="*/ 0 h 49408"/>
                  <a:gd name="connsiteX0" fmla="*/ 0 w 666395"/>
                  <a:gd name="connsiteY0" fmla="*/ 0 h 49408"/>
                  <a:gd name="connsiteX1" fmla="*/ 594744 w 666395"/>
                  <a:gd name="connsiteY1" fmla="*/ 0 h 49408"/>
                  <a:gd name="connsiteX2" fmla="*/ 666395 w 666395"/>
                  <a:gd name="connsiteY2" fmla="*/ 49408 h 49408"/>
                  <a:gd name="connsiteX3" fmla="*/ 13649 w 666395"/>
                  <a:gd name="connsiteY3" fmla="*/ 45996 h 49408"/>
                  <a:gd name="connsiteX4" fmla="*/ 0 w 666395"/>
                  <a:gd name="connsiteY4" fmla="*/ 0 h 49408"/>
                  <a:gd name="connsiteX0" fmla="*/ 0 w 666395"/>
                  <a:gd name="connsiteY0" fmla="*/ 0 h 49408"/>
                  <a:gd name="connsiteX1" fmla="*/ 662983 w 666395"/>
                  <a:gd name="connsiteY1" fmla="*/ 0 h 49408"/>
                  <a:gd name="connsiteX2" fmla="*/ 666395 w 666395"/>
                  <a:gd name="connsiteY2" fmla="*/ 49408 h 49408"/>
                  <a:gd name="connsiteX3" fmla="*/ 13649 w 666395"/>
                  <a:gd name="connsiteY3" fmla="*/ 45996 h 49408"/>
                  <a:gd name="connsiteX4" fmla="*/ 0 w 666395"/>
                  <a:gd name="connsiteY4" fmla="*/ 0 h 494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66395" h="49408">
                    <a:moveTo>
                      <a:pt x="0" y="0"/>
                    </a:moveTo>
                    <a:lnTo>
                      <a:pt x="662983" y="0"/>
                    </a:lnTo>
                    <a:lnTo>
                      <a:pt x="666395" y="49408"/>
                    </a:lnTo>
                    <a:lnTo>
                      <a:pt x="13649" y="45996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9050" cap="flat">
                <a:solidFill>
                  <a:schemeClr val="tx1">
                    <a:lumMod val="95000"/>
                    <a:lumOff val="5000"/>
                  </a:schemeClr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  <a:spcBef>
                    <a:spcPts val="900"/>
                  </a:spcBef>
                </a:pPr>
                <a:endParaRPr lang="en-US" sz="1400" dirty="0" err="1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81" name="Rectangle 195">
                <a:extLst>
                  <a:ext uri="{FF2B5EF4-FFF2-40B4-BE49-F238E27FC236}">
                    <a16:creationId xmlns="" xmlns:a16="http://schemas.microsoft.com/office/drawing/2014/main" id="{2B9D3377-D4BD-4E77-8655-C9E22378D0A2}"/>
                  </a:ext>
                </a:extLst>
              </p:cNvPr>
              <p:cNvSpPr/>
              <p:nvPr/>
            </p:nvSpPr>
            <p:spPr>
              <a:xfrm rot="10800000">
                <a:off x="6139907" y="1982103"/>
                <a:ext cx="666395" cy="49408"/>
              </a:xfrm>
              <a:custGeom>
                <a:avLst/>
                <a:gdLst>
                  <a:gd name="connsiteX0" fmla="*/ 0 w 611803"/>
                  <a:gd name="connsiteY0" fmla="*/ 0 h 49408"/>
                  <a:gd name="connsiteX1" fmla="*/ 611803 w 611803"/>
                  <a:gd name="connsiteY1" fmla="*/ 0 h 49408"/>
                  <a:gd name="connsiteX2" fmla="*/ 611803 w 611803"/>
                  <a:gd name="connsiteY2" fmla="*/ 49408 h 49408"/>
                  <a:gd name="connsiteX3" fmla="*/ 0 w 611803"/>
                  <a:gd name="connsiteY3" fmla="*/ 49408 h 49408"/>
                  <a:gd name="connsiteX4" fmla="*/ 0 w 611803"/>
                  <a:gd name="connsiteY4" fmla="*/ 0 h 49408"/>
                  <a:gd name="connsiteX0" fmla="*/ 0 w 611803"/>
                  <a:gd name="connsiteY0" fmla="*/ 0 h 49408"/>
                  <a:gd name="connsiteX1" fmla="*/ 611803 w 611803"/>
                  <a:gd name="connsiteY1" fmla="*/ 0 h 49408"/>
                  <a:gd name="connsiteX2" fmla="*/ 611803 w 611803"/>
                  <a:gd name="connsiteY2" fmla="*/ 49408 h 49408"/>
                  <a:gd name="connsiteX3" fmla="*/ 17060 w 611803"/>
                  <a:gd name="connsiteY3" fmla="*/ 45996 h 49408"/>
                  <a:gd name="connsiteX4" fmla="*/ 0 w 611803"/>
                  <a:gd name="connsiteY4" fmla="*/ 0 h 49408"/>
                  <a:gd name="connsiteX0" fmla="*/ 0 w 611803"/>
                  <a:gd name="connsiteY0" fmla="*/ 0 h 49408"/>
                  <a:gd name="connsiteX1" fmla="*/ 601567 w 611803"/>
                  <a:gd name="connsiteY1" fmla="*/ 0 h 49408"/>
                  <a:gd name="connsiteX2" fmla="*/ 611803 w 611803"/>
                  <a:gd name="connsiteY2" fmla="*/ 49408 h 49408"/>
                  <a:gd name="connsiteX3" fmla="*/ 17060 w 611803"/>
                  <a:gd name="connsiteY3" fmla="*/ 45996 h 49408"/>
                  <a:gd name="connsiteX4" fmla="*/ 0 w 611803"/>
                  <a:gd name="connsiteY4" fmla="*/ 0 h 49408"/>
                  <a:gd name="connsiteX0" fmla="*/ 0 w 601568"/>
                  <a:gd name="connsiteY0" fmla="*/ 0 h 49408"/>
                  <a:gd name="connsiteX1" fmla="*/ 591332 w 601568"/>
                  <a:gd name="connsiteY1" fmla="*/ 0 h 49408"/>
                  <a:gd name="connsiteX2" fmla="*/ 601568 w 601568"/>
                  <a:gd name="connsiteY2" fmla="*/ 49408 h 49408"/>
                  <a:gd name="connsiteX3" fmla="*/ 6825 w 601568"/>
                  <a:gd name="connsiteY3" fmla="*/ 45996 h 49408"/>
                  <a:gd name="connsiteX4" fmla="*/ 0 w 601568"/>
                  <a:gd name="connsiteY4" fmla="*/ 0 h 49408"/>
                  <a:gd name="connsiteX0" fmla="*/ 0 w 598156"/>
                  <a:gd name="connsiteY0" fmla="*/ 0 h 49408"/>
                  <a:gd name="connsiteX1" fmla="*/ 591332 w 598156"/>
                  <a:gd name="connsiteY1" fmla="*/ 0 h 49408"/>
                  <a:gd name="connsiteX2" fmla="*/ 598156 w 598156"/>
                  <a:gd name="connsiteY2" fmla="*/ 49408 h 49408"/>
                  <a:gd name="connsiteX3" fmla="*/ 6825 w 598156"/>
                  <a:gd name="connsiteY3" fmla="*/ 45996 h 49408"/>
                  <a:gd name="connsiteX4" fmla="*/ 0 w 598156"/>
                  <a:gd name="connsiteY4" fmla="*/ 0 h 49408"/>
                  <a:gd name="connsiteX0" fmla="*/ 0 w 598156"/>
                  <a:gd name="connsiteY0" fmla="*/ 0 h 49408"/>
                  <a:gd name="connsiteX1" fmla="*/ 591332 w 598156"/>
                  <a:gd name="connsiteY1" fmla="*/ 0 h 49408"/>
                  <a:gd name="connsiteX2" fmla="*/ 598156 w 598156"/>
                  <a:gd name="connsiteY2" fmla="*/ 49408 h 49408"/>
                  <a:gd name="connsiteX3" fmla="*/ 10237 w 598156"/>
                  <a:gd name="connsiteY3" fmla="*/ 45996 h 49408"/>
                  <a:gd name="connsiteX4" fmla="*/ 0 w 598156"/>
                  <a:gd name="connsiteY4" fmla="*/ 0 h 49408"/>
                  <a:gd name="connsiteX0" fmla="*/ 0 w 598156"/>
                  <a:gd name="connsiteY0" fmla="*/ 0 h 49408"/>
                  <a:gd name="connsiteX1" fmla="*/ 591332 w 598156"/>
                  <a:gd name="connsiteY1" fmla="*/ 0 h 49408"/>
                  <a:gd name="connsiteX2" fmla="*/ 598156 w 598156"/>
                  <a:gd name="connsiteY2" fmla="*/ 49408 h 49408"/>
                  <a:gd name="connsiteX3" fmla="*/ 10237 w 598156"/>
                  <a:gd name="connsiteY3" fmla="*/ 45996 h 49408"/>
                  <a:gd name="connsiteX4" fmla="*/ 0 w 598156"/>
                  <a:gd name="connsiteY4" fmla="*/ 0 h 49408"/>
                  <a:gd name="connsiteX0" fmla="*/ 0 w 601568"/>
                  <a:gd name="connsiteY0" fmla="*/ 0 h 49408"/>
                  <a:gd name="connsiteX1" fmla="*/ 594744 w 601568"/>
                  <a:gd name="connsiteY1" fmla="*/ 0 h 49408"/>
                  <a:gd name="connsiteX2" fmla="*/ 601568 w 601568"/>
                  <a:gd name="connsiteY2" fmla="*/ 49408 h 49408"/>
                  <a:gd name="connsiteX3" fmla="*/ 13649 w 601568"/>
                  <a:gd name="connsiteY3" fmla="*/ 45996 h 49408"/>
                  <a:gd name="connsiteX4" fmla="*/ 0 w 601568"/>
                  <a:gd name="connsiteY4" fmla="*/ 0 h 49408"/>
                  <a:gd name="connsiteX0" fmla="*/ 0 w 666395"/>
                  <a:gd name="connsiteY0" fmla="*/ 0 h 49408"/>
                  <a:gd name="connsiteX1" fmla="*/ 594744 w 666395"/>
                  <a:gd name="connsiteY1" fmla="*/ 0 h 49408"/>
                  <a:gd name="connsiteX2" fmla="*/ 666395 w 666395"/>
                  <a:gd name="connsiteY2" fmla="*/ 49408 h 49408"/>
                  <a:gd name="connsiteX3" fmla="*/ 13649 w 666395"/>
                  <a:gd name="connsiteY3" fmla="*/ 45996 h 49408"/>
                  <a:gd name="connsiteX4" fmla="*/ 0 w 666395"/>
                  <a:gd name="connsiteY4" fmla="*/ 0 h 49408"/>
                  <a:gd name="connsiteX0" fmla="*/ 0 w 666395"/>
                  <a:gd name="connsiteY0" fmla="*/ 0 h 49408"/>
                  <a:gd name="connsiteX1" fmla="*/ 662983 w 666395"/>
                  <a:gd name="connsiteY1" fmla="*/ 0 h 49408"/>
                  <a:gd name="connsiteX2" fmla="*/ 666395 w 666395"/>
                  <a:gd name="connsiteY2" fmla="*/ 49408 h 49408"/>
                  <a:gd name="connsiteX3" fmla="*/ 13649 w 666395"/>
                  <a:gd name="connsiteY3" fmla="*/ 45996 h 49408"/>
                  <a:gd name="connsiteX4" fmla="*/ 0 w 666395"/>
                  <a:gd name="connsiteY4" fmla="*/ 0 h 494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66395" h="49408">
                    <a:moveTo>
                      <a:pt x="0" y="0"/>
                    </a:moveTo>
                    <a:lnTo>
                      <a:pt x="662983" y="0"/>
                    </a:lnTo>
                    <a:lnTo>
                      <a:pt x="666395" y="49408"/>
                    </a:lnTo>
                    <a:lnTo>
                      <a:pt x="13649" y="45996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9050" cap="flat">
                <a:solidFill>
                  <a:schemeClr val="tx1">
                    <a:lumMod val="95000"/>
                    <a:lumOff val="5000"/>
                  </a:schemeClr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  <a:spcBef>
                    <a:spcPts val="900"/>
                  </a:spcBef>
                </a:pPr>
                <a:endParaRPr lang="en-US" sz="1400" dirty="0" err="1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82" name="Rectangle 195">
                <a:extLst>
                  <a:ext uri="{FF2B5EF4-FFF2-40B4-BE49-F238E27FC236}">
                    <a16:creationId xmlns="" xmlns:a16="http://schemas.microsoft.com/office/drawing/2014/main" id="{5F93FA71-67D9-47DA-ACE0-DBACB660E8DF}"/>
                  </a:ext>
                </a:extLst>
              </p:cNvPr>
              <p:cNvSpPr/>
              <p:nvPr/>
            </p:nvSpPr>
            <p:spPr>
              <a:xfrm rot="10800000">
                <a:off x="6079799" y="1916833"/>
                <a:ext cx="712301" cy="45719"/>
              </a:xfrm>
              <a:custGeom>
                <a:avLst/>
                <a:gdLst>
                  <a:gd name="connsiteX0" fmla="*/ 0 w 611803"/>
                  <a:gd name="connsiteY0" fmla="*/ 0 h 49408"/>
                  <a:gd name="connsiteX1" fmla="*/ 611803 w 611803"/>
                  <a:gd name="connsiteY1" fmla="*/ 0 h 49408"/>
                  <a:gd name="connsiteX2" fmla="*/ 611803 w 611803"/>
                  <a:gd name="connsiteY2" fmla="*/ 49408 h 49408"/>
                  <a:gd name="connsiteX3" fmla="*/ 0 w 611803"/>
                  <a:gd name="connsiteY3" fmla="*/ 49408 h 49408"/>
                  <a:gd name="connsiteX4" fmla="*/ 0 w 611803"/>
                  <a:gd name="connsiteY4" fmla="*/ 0 h 49408"/>
                  <a:gd name="connsiteX0" fmla="*/ 0 w 611803"/>
                  <a:gd name="connsiteY0" fmla="*/ 0 h 49408"/>
                  <a:gd name="connsiteX1" fmla="*/ 611803 w 611803"/>
                  <a:gd name="connsiteY1" fmla="*/ 0 h 49408"/>
                  <a:gd name="connsiteX2" fmla="*/ 611803 w 611803"/>
                  <a:gd name="connsiteY2" fmla="*/ 49408 h 49408"/>
                  <a:gd name="connsiteX3" fmla="*/ 17060 w 611803"/>
                  <a:gd name="connsiteY3" fmla="*/ 45996 h 49408"/>
                  <a:gd name="connsiteX4" fmla="*/ 0 w 611803"/>
                  <a:gd name="connsiteY4" fmla="*/ 0 h 49408"/>
                  <a:gd name="connsiteX0" fmla="*/ 0 w 611803"/>
                  <a:gd name="connsiteY0" fmla="*/ 0 h 49408"/>
                  <a:gd name="connsiteX1" fmla="*/ 601567 w 611803"/>
                  <a:gd name="connsiteY1" fmla="*/ 0 h 49408"/>
                  <a:gd name="connsiteX2" fmla="*/ 611803 w 611803"/>
                  <a:gd name="connsiteY2" fmla="*/ 49408 h 49408"/>
                  <a:gd name="connsiteX3" fmla="*/ 17060 w 611803"/>
                  <a:gd name="connsiteY3" fmla="*/ 45996 h 49408"/>
                  <a:gd name="connsiteX4" fmla="*/ 0 w 611803"/>
                  <a:gd name="connsiteY4" fmla="*/ 0 h 49408"/>
                  <a:gd name="connsiteX0" fmla="*/ 0 w 601568"/>
                  <a:gd name="connsiteY0" fmla="*/ 0 h 49408"/>
                  <a:gd name="connsiteX1" fmla="*/ 591332 w 601568"/>
                  <a:gd name="connsiteY1" fmla="*/ 0 h 49408"/>
                  <a:gd name="connsiteX2" fmla="*/ 601568 w 601568"/>
                  <a:gd name="connsiteY2" fmla="*/ 49408 h 49408"/>
                  <a:gd name="connsiteX3" fmla="*/ 6825 w 601568"/>
                  <a:gd name="connsiteY3" fmla="*/ 45996 h 49408"/>
                  <a:gd name="connsiteX4" fmla="*/ 0 w 601568"/>
                  <a:gd name="connsiteY4" fmla="*/ 0 h 49408"/>
                  <a:gd name="connsiteX0" fmla="*/ 0 w 598156"/>
                  <a:gd name="connsiteY0" fmla="*/ 0 h 49408"/>
                  <a:gd name="connsiteX1" fmla="*/ 591332 w 598156"/>
                  <a:gd name="connsiteY1" fmla="*/ 0 h 49408"/>
                  <a:gd name="connsiteX2" fmla="*/ 598156 w 598156"/>
                  <a:gd name="connsiteY2" fmla="*/ 49408 h 49408"/>
                  <a:gd name="connsiteX3" fmla="*/ 6825 w 598156"/>
                  <a:gd name="connsiteY3" fmla="*/ 45996 h 49408"/>
                  <a:gd name="connsiteX4" fmla="*/ 0 w 598156"/>
                  <a:gd name="connsiteY4" fmla="*/ 0 h 49408"/>
                  <a:gd name="connsiteX0" fmla="*/ 0 w 598156"/>
                  <a:gd name="connsiteY0" fmla="*/ 0 h 49408"/>
                  <a:gd name="connsiteX1" fmla="*/ 591332 w 598156"/>
                  <a:gd name="connsiteY1" fmla="*/ 0 h 49408"/>
                  <a:gd name="connsiteX2" fmla="*/ 598156 w 598156"/>
                  <a:gd name="connsiteY2" fmla="*/ 49408 h 49408"/>
                  <a:gd name="connsiteX3" fmla="*/ 10237 w 598156"/>
                  <a:gd name="connsiteY3" fmla="*/ 45996 h 49408"/>
                  <a:gd name="connsiteX4" fmla="*/ 0 w 598156"/>
                  <a:gd name="connsiteY4" fmla="*/ 0 h 49408"/>
                  <a:gd name="connsiteX0" fmla="*/ 0 w 598156"/>
                  <a:gd name="connsiteY0" fmla="*/ 0 h 49408"/>
                  <a:gd name="connsiteX1" fmla="*/ 591332 w 598156"/>
                  <a:gd name="connsiteY1" fmla="*/ 0 h 49408"/>
                  <a:gd name="connsiteX2" fmla="*/ 598156 w 598156"/>
                  <a:gd name="connsiteY2" fmla="*/ 49408 h 49408"/>
                  <a:gd name="connsiteX3" fmla="*/ 10237 w 598156"/>
                  <a:gd name="connsiteY3" fmla="*/ 45996 h 49408"/>
                  <a:gd name="connsiteX4" fmla="*/ 0 w 598156"/>
                  <a:gd name="connsiteY4" fmla="*/ 0 h 49408"/>
                  <a:gd name="connsiteX0" fmla="*/ 0 w 601568"/>
                  <a:gd name="connsiteY0" fmla="*/ 0 h 49408"/>
                  <a:gd name="connsiteX1" fmla="*/ 594744 w 601568"/>
                  <a:gd name="connsiteY1" fmla="*/ 0 h 49408"/>
                  <a:gd name="connsiteX2" fmla="*/ 601568 w 601568"/>
                  <a:gd name="connsiteY2" fmla="*/ 49408 h 49408"/>
                  <a:gd name="connsiteX3" fmla="*/ 13649 w 601568"/>
                  <a:gd name="connsiteY3" fmla="*/ 45996 h 49408"/>
                  <a:gd name="connsiteX4" fmla="*/ 0 w 601568"/>
                  <a:gd name="connsiteY4" fmla="*/ 0 h 49408"/>
                  <a:gd name="connsiteX0" fmla="*/ 0 w 666395"/>
                  <a:gd name="connsiteY0" fmla="*/ 0 h 49408"/>
                  <a:gd name="connsiteX1" fmla="*/ 594744 w 666395"/>
                  <a:gd name="connsiteY1" fmla="*/ 0 h 49408"/>
                  <a:gd name="connsiteX2" fmla="*/ 666395 w 666395"/>
                  <a:gd name="connsiteY2" fmla="*/ 49408 h 49408"/>
                  <a:gd name="connsiteX3" fmla="*/ 13649 w 666395"/>
                  <a:gd name="connsiteY3" fmla="*/ 45996 h 49408"/>
                  <a:gd name="connsiteX4" fmla="*/ 0 w 666395"/>
                  <a:gd name="connsiteY4" fmla="*/ 0 h 49408"/>
                  <a:gd name="connsiteX0" fmla="*/ 0 w 666395"/>
                  <a:gd name="connsiteY0" fmla="*/ 0 h 49408"/>
                  <a:gd name="connsiteX1" fmla="*/ 662983 w 666395"/>
                  <a:gd name="connsiteY1" fmla="*/ 0 h 49408"/>
                  <a:gd name="connsiteX2" fmla="*/ 666395 w 666395"/>
                  <a:gd name="connsiteY2" fmla="*/ 49408 h 49408"/>
                  <a:gd name="connsiteX3" fmla="*/ 13649 w 666395"/>
                  <a:gd name="connsiteY3" fmla="*/ 45996 h 49408"/>
                  <a:gd name="connsiteX4" fmla="*/ 0 w 666395"/>
                  <a:gd name="connsiteY4" fmla="*/ 0 h 494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66395" h="49408">
                    <a:moveTo>
                      <a:pt x="0" y="0"/>
                    </a:moveTo>
                    <a:lnTo>
                      <a:pt x="662983" y="0"/>
                    </a:lnTo>
                    <a:lnTo>
                      <a:pt x="666395" y="49408"/>
                    </a:lnTo>
                    <a:lnTo>
                      <a:pt x="13649" y="45996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9050" cap="flat">
                <a:solidFill>
                  <a:schemeClr val="tx1">
                    <a:lumMod val="95000"/>
                    <a:lumOff val="5000"/>
                  </a:schemeClr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  <a:spcBef>
                    <a:spcPts val="900"/>
                  </a:spcBef>
                </a:pPr>
                <a:endParaRPr lang="en-US" sz="1400" dirty="0" err="1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</p:grpSp>
        <p:sp>
          <p:nvSpPr>
            <p:cNvPr id="20" name="Freeform: Shape 19">
              <a:extLst>
                <a:ext uri="{FF2B5EF4-FFF2-40B4-BE49-F238E27FC236}">
                  <a16:creationId xmlns="" xmlns:a16="http://schemas.microsoft.com/office/drawing/2014/main" id="{80182AF6-6206-4E50-BE95-022F488F09F2}"/>
                </a:ext>
              </a:extLst>
            </p:cNvPr>
            <p:cNvSpPr/>
            <p:nvPr/>
          </p:nvSpPr>
          <p:spPr>
            <a:xfrm>
              <a:off x="6243851" y="2329260"/>
              <a:ext cx="392373" cy="873457"/>
            </a:xfrm>
            <a:custGeom>
              <a:avLst/>
              <a:gdLst>
                <a:gd name="connsiteX0" fmla="*/ 402609 w 402609"/>
                <a:gd name="connsiteY0" fmla="*/ 259307 h 907576"/>
                <a:gd name="connsiteX1" fmla="*/ 0 w 402609"/>
                <a:gd name="connsiteY1" fmla="*/ 0 h 907576"/>
                <a:gd name="connsiteX2" fmla="*/ 10236 w 402609"/>
                <a:gd name="connsiteY2" fmla="*/ 907576 h 907576"/>
                <a:gd name="connsiteX0" fmla="*/ 392373 w 392373"/>
                <a:gd name="connsiteY0" fmla="*/ 225188 h 873457"/>
                <a:gd name="connsiteX1" fmla="*/ 3412 w 392373"/>
                <a:gd name="connsiteY1" fmla="*/ 0 h 873457"/>
                <a:gd name="connsiteX2" fmla="*/ 0 w 392373"/>
                <a:gd name="connsiteY2" fmla="*/ 873457 h 8734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92373" h="873457">
                  <a:moveTo>
                    <a:pt x="392373" y="225188"/>
                  </a:moveTo>
                  <a:lnTo>
                    <a:pt x="3412" y="0"/>
                  </a:lnTo>
                  <a:cubicBezTo>
                    <a:pt x="2275" y="291152"/>
                    <a:pt x="1137" y="582305"/>
                    <a:pt x="0" y="873457"/>
                  </a:cubicBezTo>
                </a:path>
              </a:pathLst>
            </a:custGeom>
            <a:grpFill/>
            <a:ln w="19050" cap="flat">
              <a:solidFill>
                <a:schemeClr val="tx1">
                  <a:lumMod val="95000"/>
                  <a:lumOff val="5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="" xmlns:a16="http://schemas.microsoft.com/office/drawing/2014/main" id="{2CEA0066-16B9-4738-8516-6C5CF7659664}"/>
                </a:ext>
              </a:extLst>
            </p:cNvPr>
            <p:cNvSpPr/>
            <p:nvPr/>
          </p:nvSpPr>
          <p:spPr>
            <a:xfrm>
              <a:off x="6606073" y="2165188"/>
              <a:ext cx="234599" cy="418545"/>
            </a:xfrm>
            <a:custGeom>
              <a:avLst/>
              <a:gdLst>
                <a:gd name="connsiteX0" fmla="*/ 218603 w 218603"/>
                <a:gd name="connsiteY0" fmla="*/ 418545 h 418545"/>
                <a:gd name="connsiteX1" fmla="*/ 95972 w 218603"/>
                <a:gd name="connsiteY1" fmla="*/ 2666 h 418545"/>
                <a:gd name="connsiteX2" fmla="*/ 0 w 218603"/>
                <a:gd name="connsiteY2" fmla="*/ 0 h 418545"/>
                <a:gd name="connsiteX3" fmla="*/ 218603 w 218603"/>
                <a:gd name="connsiteY3" fmla="*/ 418545 h 418545"/>
                <a:gd name="connsiteX0" fmla="*/ 226601 w 226601"/>
                <a:gd name="connsiteY0" fmla="*/ 418545 h 418545"/>
                <a:gd name="connsiteX1" fmla="*/ 103970 w 226601"/>
                <a:gd name="connsiteY1" fmla="*/ 2666 h 418545"/>
                <a:gd name="connsiteX2" fmla="*/ 0 w 226601"/>
                <a:gd name="connsiteY2" fmla="*/ 0 h 418545"/>
                <a:gd name="connsiteX3" fmla="*/ 226601 w 226601"/>
                <a:gd name="connsiteY3" fmla="*/ 418545 h 418545"/>
                <a:gd name="connsiteX0" fmla="*/ 226601 w 226601"/>
                <a:gd name="connsiteY0" fmla="*/ 418545 h 418545"/>
                <a:gd name="connsiteX1" fmla="*/ 103970 w 226601"/>
                <a:gd name="connsiteY1" fmla="*/ 2666 h 418545"/>
                <a:gd name="connsiteX2" fmla="*/ 0 w 226601"/>
                <a:gd name="connsiteY2" fmla="*/ 0 h 418545"/>
                <a:gd name="connsiteX3" fmla="*/ 183946 w 226601"/>
                <a:gd name="connsiteY3" fmla="*/ 341234 h 418545"/>
                <a:gd name="connsiteX4" fmla="*/ 226601 w 226601"/>
                <a:gd name="connsiteY4" fmla="*/ 418545 h 418545"/>
                <a:gd name="connsiteX0" fmla="*/ 226601 w 226601"/>
                <a:gd name="connsiteY0" fmla="*/ 418545 h 421210"/>
                <a:gd name="connsiteX1" fmla="*/ 103970 w 226601"/>
                <a:gd name="connsiteY1" fmla="*/ 2666 h 421210"/>
                <a:gd name="connsiteX2" fmla="*/ 0 w 226601"/>
                <a:gd name="connsiteY2" fmla="*/ 0 h 421210"/>
                <a:gd name="connsiteX3" fmla="*/ 199941 w 226601"/>
                <a:gd name="connsiteY3" fmla="*/ 421210 h 421210"/>
                <a:gd name="connsiteX4" fmla="*/ 226601 w 226601"/>
                <a:gd name="connsiteY4" fmla="*/ 418545 h 421210"/>
                <a:gd name="connsiteX0" fmla="*/ 226601 w 226601"/>
                <a:gd name="connsiteY0" fmla="*/ 418545 h 418545"/>
                <a:gd name="connsiteX1" fmla="*/ 103970 w 226601"/>
                <a:gd name="connsiteY1" fmla="*/ 2666 h 418545"/>
                <a:gd name="connsiteX2" fmla="*/ 0 w 226601"/>
                <a:gd name="connsiteY2" fmla="*/ 0 h 418545"/>
                <a:gd name="connsiteX3" fmla="*/ 197275 w 226601"/>
                <a:gd name="connsiteY3" fmla="*/ 410547 h 418545"/>
                <a:gd name="connsiteX4" fmla="*/ 226601 w 226601"/>
                <a:gd name="connsiteY4" fmla="*/ 418545 h 4185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6601" h="418545">
                  <a:moveTo>
                    <a:pt x="226601" y="418545"/>
                  </a:moveTo>
                  <a:lnTo>
                    <a:pt x="103970" y="2666"/>
                  </a:lnTo>
                  <a:lnTo>
                    <a:pt x="0" y="0"/>
                  </a:lnTo>
                  <a:lnTo>
                    <a:pt x="197275" y="410547"/>
                  </a:lnTo>
                  <a:lnTo>
                    <a:pt x="226601" y="418545"/>
                  </a:lnTo>
                  <a:close/>
                </a:path>
              </a:pathLst>
            </a:custGeom>
            <a:grpFill/>
            <a:ln w="19050" cap="flat">
              <a:solidFill>
                <a:schemeClr val="tx1">
                  <a:lumMod val="95000"/>
                  <a:lumOff val="5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900"/>
                </a:spcBef>
              </a:pPr>
              <a:endParaRPr lang="en-US" sz="1400" dirty="0" err="1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2" name="Rectangle 21">
              <a:extLst>
                <a:ext uri="{FF2B5EF4-FFF2-40B4-BE49-F238E27FC236}">
                  <a16:creationId xmlns="" xmlns:a16="http://schemas.microsoft.com/office/drawing/2014/main" id="{FEA54D45-BB8B-458E-B15E-91AE79426A22}"/>
                </a:ext>
              </a:extLst>
            </p:cNvPr>
            <p:cNvSpPr/>
            <p:nvPr/>
          </p:nvSpPr>
          <p:spPr>
            <a:xfrm>
              <a:off x="5949914" y="2069274"/>
              <a:ext cx="122514" cy="1287718"/>
            </a:xfrm>
            <a:prstGeom prst="rect">
              <a:avLst/>
            </a:prstGeom>
            <a:grpFill/>
            <a:ln w="19050" cap="flat">
              <a:solidFill>
                <a:schemeClr val="tx1">
                  <a:lumMod val="95000"/>
                  <a:lumOff val="5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900"/>
                </a:spcBef>
              </a:pPr>
              <a:endParaRPr lang="en-US" sz="1400" dirty="0" err="1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grpSp>
          <p:nvGrpSpPr>
            <p:cNvPr id="23" name="Group 22">
              <a:extLst>
                <a:ext uri="{FF2B5EF4-FFF2-40B4-BE49-F238E27FC236}">
                  <a16:creationId xmlns="" xmlns:a16="http://schemas.microsoft.com/office/drawing/2014/main" id="{549A4FB9-739D-4384-8791-793B1A9B8008}"/>
                </a:ext>
              </a:extLst>
            </p:cNvPr>
            <p:cNvGrpSpPr/>
            <p:nvPr/>
          </p:nvGrpSpPr>
          <p:grpSpPr>
            <a:xfrm>
              <a:off x="6622805" y="2213016"/>
              <a:ext cx="97902" cy="1030446"/>
              <a:chOff x="6622805" y="2060574"/>
              <a:chExt cx="97902" cy="1030446"/>
            </a:xfrm>
            <a:grpFill/>
          </p:grpSpPr>
          <p:sp>
            <p:nvSpPr>
              <p:cNvPr id="73" name="Rectangle 72">
                <a:extLst>
                  <a:ext uri="{FF2B5EF4-FFF2-40B4-BE49-F238E27FC236}">
                    <a16:creationId xmlns="" xmlns:a16="http://schemas.microsoft.com/office/drawing/2014/main" id="{62BEEF8C-934D-4525-BC4D-0588B83D747C}"/>
                  </a:ext>
                </a:extLst>
              </p:cNvPr>
              <p:cNvSpPr/>
              <p:nvPr/>
            </p:nvSpPr>
            <p:spPr>
              <a:xfrm rot="10800000">
                <a:off x="6633469" y="2060574"/>
                <a:ext cx="76574" cy="936377"/>
              </a:xfrm>
              <a:prstGeom prst="rect">
                <a:avLst/>
              </a:prstGeom>
              <a:grpFill/>
              <a:ln w="19050" cap="flat">
                <a:solidFill>
                  <a:schemeClr val="tx1">
                    <a:lumMod val="95000"/>
                    <a:lumOff val="5000"/>
                  </a:schemeClr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  <a:spcBef>
                    <a:spcPts val="900"/>
                  </a:spcBef>
                </a:pPr>
                <a:endParaRPr lang="en-US" sz="1400" dirty="0" err="1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74" name="Rectangle 73">
                <a:extLst>
                  <a:ext uri="{FF2B5EF4-FFF2-40B4-BE49-F238E27FC236}">
                    <a16:creationId xmlns="" xmlns:a16="http://schemas.microsoft.com/office/drawing/2014/main" id="{DD2E0748-E6CF-4D1F-BFA5-32735B9952F5}"/>
                  </a:ext>
                </a:extLst>
              </p:cNvPr>
              <p:cNvSpPr/>
              <p:nvPr/>
            </p:nvSpPr>
            <p:spPr>
              <a:xfrm rot="10800000">
                <a:off x="6622805" y="2965491"/>
                <a:ext cx="97902" cy="125529"/>
              </a:xfrm>
              <a:prstGeom prst="rect">
                <a:avLst/>
              </a:prstGeom>
              <a:grpFill/>
              <a:ln w="19050" cap="flat">
                <a:solidFill>
                  <a:schemeClr val="tx1">
                    <a:lumMod val="95000"/>
                    <a:lumOff val="5000"/>
                  </a:schemeClr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  <a:spcBef>
                    <a:spcPts val="900"/>
                  </a:spcBef>
                </a:pPr>
                <a:endParaRPr lang="en-US" sz="1400" dirty="0" err="1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</p:grpSp>
        <p:grpSp>
          <p:nvGrpSpPr>
            <p:cNvPr id="24" name="Group 23">
              <a:extLst>
                <a:ext uri="{FF2B5EF4-FFF2-40B4-BE49-F238E27FC236}">
                  <a16:creationId xmlns="" xmlns:a16="http://schemas.microsoft.com/office/drawing/2014/main" id="{13248FDE-BD58-4274-B557-9915E9E98912}"/>
                </a:ext>
              </a:extLst>
            </p:cNvPr>
            <p:cNvGrpSpPr/>
            <p:nvPr/>
          </p:nvGrpSpPr>
          <p:grpSpPr>
            <a:xfrm>
              <a:off x="6730636" y="2429314"/>
              <a:ext cx="60282" cy="634482"/>
              <a:chOff x="6622805" y="2060574"/>
              <a:chExt cx="97902" cy="1030446"/>
            </a:xfrm>
            <a:grpFill/>
          </p:grpSpPr>
          <p:sp>
            <p:nvSpPr>
              <p:cNvPr id="71" name="Rectangle 70">
                <a:extLst>
                  <a:ext uri="{FF2B5EF4-FFF2-40B4-BE49-F238E27FC236}">
                    <a16:creationId xmlns="" xmlns:a16="http://schemas.microsoft.com/office/drawing/2014/main" id="{AC90F898-9CF6-4BB6-8030-5A6CEE0C2856}"/>
                  </a:ext>
                </a:extLst>
              </p:cNvPr>
              <p:cNvSpPr/>
              <p:nvPr/>
            </p:nvSpPr>
            <p:spPr>
              <a:xfrm rot="10800000">
                <a:off x="6633469" y="2060574"/>
                <a:ext cx="76574" cy="936377"/>
              </a:xfrm>
              <a:prstGeom prst="rect">
                <a:avLst/>
              </a:prstGeom>
              <a:grpFill/>
              <a:ln w="19050" cap="flat">
                <a:solidFill>
                  <a:schemeClr val="tx1">
                    <a:lumMod val="95000"/>
                    <a:lumOff val="5000"/>
                  </a:schemeClr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  <a:spcBef>
                    <a:spcPts val="900"/>
                  </a:spcBef>
                </a:pPr>
                <a:endParaRPr lang="en-US" sz="1400" dirty="0" err="1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72" name="Rectangle 71">
                <a:extLst>
                  <a:ext uri="{FF2B5EF4-FFF2-40B4-BE49-F238E27FC236}">
                    <a16:creationId xmlns="" xmlns:a16="http://schemas.microsoft.com/office/drawing/2014/main" id="{006921B9-34A1-456A-89AB-C2FF95CBD2E9}"/>
                  </a:ext>
                </a:extLst>
              </p:cNvPr>
              <p:cNvSpPr/>
              <p:nvPr/>
            </p:nvSpPr>
            <p:spPr>
              <a:xfrm rot="10800000">
                <a:off x="6622805" y="2965491"/>
                <a:ext cx="97902" cy="125529"/>
              </a:xfrm>
              <a:prstGeom prst="rect">
                <a:avLst/>
              </a:prstGeom>
              <a:grpFill/>
              <a:ln w="19050" cap="flat">
                <a:solidFill>
                  <a:schemeClr val="tx1">
                    <a:lumMod val="95000"/>
                    <a:lumOff val="5000"/>
                  </a:schemeClr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  <a:spcBef>
                    <a:spcPts val="900"/>
                  </a:spcBef>
                </a:pPr>
                <a:endParaRPr lang="en-US" sz="1400" dirty="0" err="1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</p:grpSp>
        <p:grpSp>
          <p:nvGrpSpPr>
            <p:cNvPr id="25" name="Group 24">
              <a:extLst>
                <a:ext uri="{FF2B5EF4-FFF2-40B4-BE49-F238E27FC236}">
                  <a16:creationId xmlns="" xmlns:a16="http://schemas.microsoft.com/office/drawing/2014/main" id="{0D94D3BC-C132-47AF-ACAB-16C6CA56EA92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6806302" y="2564250"/>
              <a:ext cx="30785" cy="324000"/>
              <a:chOff x="6622805" y="2060574"/>
              <a:chExt cx="97902" cy="1030446"/>
            </a:xfrm>
            <a:grpFill/>
          </p:grpSpPr>
          <p:sp>
            <p:nvSpPr>
              <p:cNvPr id="69" name="Rectangle 68">
                <a:extLst>
                  <a:ext uri="{FF2B5EF4-FFF2-40B4-BE49-F238E27FC236}">
                    <a16:creationId xmlns="" xmlns:a16="http://schemas.microsoft.com/office/drawing/2014/main" id="{CF9004B6-0101-4C2D-A23C-AB6F64384EDF}"/>
                  </a:ext>
                </a:extLst>
              </p:cNvPr>
              <p:cNvSpPr/>
              <p:nvPr/>
            </p:nvSpPr>
            <p:spPr>
              <a:xfrm rot="10800000">
                <a:off x="6633469" y="2060574"/>
                <a:ext cx="76574" cy="936377"/>
              </a:xfrm>
              <a:prstGeom prst="rect">
                <a:avLst/>
              </a:prstGeom>
              <a:grpFill/>
              <a:ln w="19050" cap="flat">
                <a:solidFill>
                  <a:schemeClr val="tx1">
                    <a:lumMod val="95000"/>
                    <a:lumOff val="5000"/>
                  </a:schemeClr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  <a:spcBef>
                    <a:spcPts val="900"/>
                  </a:spcBef>
                </a:pPr>
                <a:endParaRPr lang="en-US" sz="1400" dirty="0" err="1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70" name="Rectangle 69">
                <a:extLst>
                  <a:ext uri="{FF2B5EF4-FFF2-40B4-BE49-F238E27FC236}">
                    <a16:creationId xmlns="" xmlns:a16="http://schemas.microsoft.com/office/drawing/2014/main" id="{E320AFEC-C647-4ED8-8E2C-A1C46287C64B}"/>
                  </a:ext>
                </a:extLst>
              </p:cNvPr>
              <p:cNvSpPr/>
              <p:nvPr/>
            </p:nvSpPr>
            <p:spPr>
              <a:xfrm rot="10800000">
                <a:off x="6622805" y="2965491"/>
                <a:ext cx="97902" cy="125529"/>
              </a:xfrm>
              <a:prstGeom prst="rect">
                <a:avLst/>
              </a:prstGeom>
              <a:grpFill/>
              <a:ln w="19050" cap="flat">
                <a:solidFill>
                  <a:schemeClr val="tx1">
                    <a:lumMod val="95000"/>
                    <a:lumOff val="5000"/>
                  </a:schemeClr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  <a:spcBef>
                    <a:spcPts val="900"/>
                  </a:spcBef>
                </a:pPr>
                <a:endParaRPr lang="en-US" sz="1400" dirty="0" err="1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</p:grpSp>
        <p:cxnSp>
          <p:nvCxnSpPr>
            <p:cNvPr id="26" name="Straight Connector 25">
              <a:extLst>
                <a:ext uri="{FF2B5EF4-FFF2-40B4-BE49-F238E27FC236}">
                  <a16:creationId xmlns="" xmlns:a16="http://schemas.microsoft.com/office/drawing/2014/main" id="{CDB59C1E-DEF5-4AC7-ADCE-18D9562D3D5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917592" y="2858696"/>
              <a:ext cx="0" cy="92930"/>
            </a:xfrm>
            <a:prstGeom prst="line">
              <a:avLst/>
            </a:prstGeom>
            <a:grpFill/>
            <a:ln w="19050" cap="flat">
              <a:solidFill>
                <a:schemeClr val="tx1">
                  <a:lumMod val="95000"/>
                  <a:lumOff val="5000"/>
                </a:schemeClr>
              </a:solidFill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="" xmlns:a16="http://schemas.microsoft.com/office/drawing/2014/main" id="{1C541EC6-A064-42F4-897C-A8729B6489D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904263" y="2858696"/>
              <a:ext cx="0" cy="28948"/>
            </a:xfrm>
            <a:prstGeom prst="line">
              <a:avLst/>
            </a:prstGeom>
            <a:grpFill/>
            <a:ln w="19050" cap="flat">
              <a:solidFill>
                <a:schemeClr val="tx1">
                  <a:lumMod val="95000"/>
                  <a:lumOff val="5000"/>
                </a:schemeClr>
              </a:solidFill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8" name="Freeform: Shape 27">
              <a:extLst>
                <a:ext uri="{FF2B5EF4-FFF2-40B4-BE49-F238E27FC236}">
                  <a16:creationId xmlns="" xmlns:a16="http://schemas.microsoft.com/office/drawing/2014/main" id="{D28C66F9-4CE3-420F-8498-C61035E54614}"/>
                </a:ext>
              </a:extLst>
            </p:cNvPr>
            <p:cNvSpPr/>
            <p:nvPr/>
          </p:nvSpPr>
          <p:spPr>
            <a:xfrm>
              <a:off x="6710043" y="2105123"/>
              <a:ext cx="127963" cy="454615"/>
            </a:xfrm>
            <a:custGeom>
              <a:avLst/>
              <a:gdLst>
                <a:gd name="connsiteX0" fmla="*/ 133295 w 133295"/>
                <a:gd name="connsiteY0" fmla="*/ 482526 h 482526"/>
                <a:gd name="connsiteX1" fmla="*/ 133295 w 133295"/>
                <a:gd name="connsiteY1" fmla="*/ 429208 h 482526"/>
                <a:gd name="connsiteX2" fmla="*/ 39989 w 133295"/>
                <a:gd name="connsiteY2" fmla="*/ 0 h 482526"/>
                <a:gd name="connsiteX3" fmla="*/ 0 w 133295"/>
                <a:gd name="connsiteY3" fmla="*/ 79977 h 482526"/>
                <a:gd name="connsiteX4" fmla="*/ 133295 w 133295"/>
                <a:gd name="connsiteY4" fmla="*/ 482526 h 482526"/>
                <a:gd name="connsiteX0" fmla="*/ 133295 w 133295"/>
                <a:gd name="connsiteY0" fmla="*/ 511851 h 511851"/>
                <a:gd name="connsiteX1" fmla="*/ 133295 w 133295"/>
                <a:gd name="connsiteY1" fmla="*/ 458533 h 511851"/>
                <a:gd name="connsiteX2" fmla="*/ 2666 w 133295"/>
                <a:gd name="connsiteY2" fmla="*/ 0 h 511851"/>
                <a:gd name="connsiteX3" fmla="*/ 0 w 133295"/>
                <a:gd name="connsiteY3" fmla="*/ 109302 h 511851"/>
                <a:gd name="connsiteX4" fmla="*/ 133295 w 133295"/>
                <a:gd name="connsiteY4" fmla="*/ 511851 h 511851"/>
                <a:gd name="connsiteX0" fmla="*/ 133295 w 133295"/>
                <a:gd name="connsiteY0" fmla="*/ 495855 h 495855"/>
                <a:gd name="connsiteX1" fmla="*/ 133295 w 133295"/>
                <a:gd name="connsiteY1" fmla="*/ 442537 h 495855"/>
                <a:gd name="connsiteX2" fmla="*/ 2666 w 133295"/>
                <a:gd name="connsiteY2" fmla="*/ 0 h 495855"/>
                <a:gd name="connsiteX3" fmla="*/ 0 w 133295"/>
                <a:gd name="connsiteY3" fmla="*/ 93306 h 495855"/>
                <a:gd name="connsiteX4" fmla="*/ 133295 w 133295"/>
                <a:gd name="connsiteY4" fmla="*/ 495855 h 495855"/>
                <a:gd name="connsiteX0" fmla="*/ 127963 w 133295"/>
                <a:gd name="connsiteY0" fmla="*/ 493189 h 493189"/>
                <a:gd name="connsiteX1" fmla="*/ 133295 w 133295"/>
                <a:gd name="connsiteY1" fmla="*/ 442537 h 493189"/>
                <a:gd name="connsiteX2" fmla="*/ 2666 w 133295"/>
                <a:gd name="connsiteY2" fmla="*/ 0 h 493189"/>
                <a:gd name="connsiteX3" fmla="*/ 0 w 133295"/>
                <a:gd name="connsiteY3" fmla="*/ 93306 h 493189"/>
                <a:gd name="connsiteX4" fmla="*/ 127963 w 133295"/>
                <a:gd name="connsiteY4" fmla="*/ 493189 h 493189"/>
                <a:gd name="connsiteX0" fmla="*/ 127963 w 130629"/>
                <a:gd name="connsiteY0" fmla="*/ 493189 h 493189"/>
                <a:gd name="connsiteX1" fmla="*/ 130629 w 130629"/>
                <a:gd name="connsiteY1" fmla="*/ 439871 h 493189"/>
                <a:gd name="connsiteX2" fmla="*/ 2666 w 130629"/>
                <a:gd name="connsiteY2" fmla="*/ 0 h 493189"/>
                <a:gd name="connsiteX3" fmla="*/ 0 w 130629"/>
                <a:gd name="connsiteY3" fmla="*/ 93306 h 493189"/>
                <a:gd name="connsiteX4" fmla="*/ 127963 w 130629"/>
                <a:gd name="connsiteY4" fmla="*/ 493189 h 493189"/>
                <a:gd name="connsiteX0" fmla="*/ 128219 w 130885"/>
                <a:gd name="connsiteY0" fmla="*/ 485191 h 485191"/>
                <a:gd name="connsiteX1" fmla="*/ 130885 w 130885"/>
                <a:gd name="connsiteY1" fmla="*/ 431873 h 485191"/>
                <a:gd name="connsiteX2" fmla="*/ 256 w 130885"/>
                <a:gd name="connsiteY2" fmla="*/ 0 h 485191"/>
                <a:gd name="connsiteX3" fmla="*/ 256 w 130885"/>
                <a:gd name="connsiteY3" fmla="*/ 85308 h 485191"/>
                <a:gd name="connsiteX4" fmla="*/ 128219 w 130885"/>
                <a:gd name="connsiteY4" fmla="*/ 485191 h 485191"/>
                <a:gd name="connsiteX0" fmla="*/ 128219 w 130885"/>
                <a:gd name="connsiteY0" fmla="*/ 474527 h 474527"/>
                <a:gd name="connsiteX1" fmla="*/ 130885 w 130885"/>
                <a:gd name="connsiteY1" fmla="*/ 431873 h 474527"/>
                <a:gd name="connsiteX2" fmla="*/ 256 w 130885"/>
                <a:gd name="connsiteY2" fmla="*/ 0 h 474527"/>
                <a:gd name="connsiteX3" fmla="*/ 256 w 130885"/>
                <a:gd name="connsiteY3" fmla="*/ 85308 h 474527"/>
                <a:gd name="connsiteX4" fmla="*/ 128219 w 130885"/>
                <a:gd name="connsiteY4" fmla="*/ 474527 h 474527"/>
                <a:gd name="connsiteX0" fmla="*/ 128219 w 128219"/>
                <a:gd name="connsiteY0" fmla="*/ 474527 h 474527"/>
                <a:gd name="connsiteX1" fmla="*/ 128219 w 128219"/>
                <a:gd name="connsiteY1" fmla="*/ 429208 h 474527"/>
                <a:gd name="connsiteX2" fmla="*/ 256 w 128219"/>
                <a:gd name="connsiteY2" fmla="*/ 0 h 474527"/>
                <a:gd name="connsiteX3" fmla="*/ 256 w 128219"/>
                <a:gd name="connsiteY3" fmla="*/ 85308 h 474527"/>
                <a:gd name="connsiteX4" fmla="*/ 128219 w 128219"/>
                <a:gd name="connsiteY4" fmla="*/ 474527 h 474527"/>
                <a:gd name="connsiteX0" fmla="*/ 128219 w 128219"/>
                <a:gd name="connsiteY0" fmla="*/ 479859 h 479859"/>
                <a:gd name="connsiteX1" fmla="*/ 128219 w 128219"/>
                <a:gd name="connsiteY1" fmla="*/ 429208 h 479859"/>
                <a:gd name="connsiteX2" fmla="*/ 256 w 128219"/>
                <a:gd name="connsiteY2" fmla="*/ 0 h 479859"/>
                <a:gd name="connsiteX3" fmla="*/ 256 w 128219"/>
                <a:gd name="connsiteY3" fmla="*/ 85308 h 479859"/>
                <a:gd name="connsiteX4" fmla="*/ 128219 w 128219"/>
                <a:gd name="connsiteY4" fmla="*/ 479859 h 479859"/>
                <a:gd name="connsiteX0" fmla="*/ 127963 w 127963"/>
                <a:gd name="connsiteY0" fmla="*/ 454615 h 454615"/>
                <a:gd name="connsiteX1" fmla="*/ 127963 w 127963"/>
                <a:gd name="connsiteY1" fmla="*/ 403964 h 454615"/>
                <a:gd name="connsiteX2" fmla="*/ 2805 w 127963"/>
                <a:gd name="connsiteY2" fmla="*/ 0 h 454615"/>
                <a:gd name="connsiteX3" fmla="*/ 0 w 127963"/>
                <a:gd name="connsiteY3" fmla="*/ 60064 h 454615"/>
                <a:gd name="connsiteX4" fmla="*/ 127963 w 127963"/>
                <a:gd name="connsiteY4" fmla="*/ 454615 h 454615"/>
                <a:gd name="connsiteX0" fmla="*/ 127963 w 127963"/>
                <a:gd name="connsiteY0" fmla="*/ 463030 h 463030"/>
                <a:gd name="connsiteX1" fmla="*/ 127963 w 127963"/>
                <a:gd name="connsiteY1" fmla="*/ 412379 h 463030"/>
                <a:gd name="connsiteX2" fmla="*/ 2805 w 127963"/>
                <a:gd name="connsiteY2" fmla="*/ 0 h 463030"/>
                <a:gd name="connsiteX3" fmla="*/ 0 w 127963"/>
                <a:gd name="connsiteY3" fmla="*/ 68479 h 463030"/>
                <a:gd name="connsiteX4" fmla="*/ 127963 w 127963"/>
                <a:gd name="connsiteY4" fmla="*/ 463030 h 463030"/>
                <a:gd name="connsiteX0" fmla="*/ 127963 w 127963"/>
                <a:gd name="connsiteY0" fmla="*/ 454615 h 454615"/>
                <a:gd name="connsiteX1" fmla="*/ 127963 w 127963"/>
                <a:gd name="connsiteY1" fmla="*/ 403964 h 454615"/>
                <a:gd name="connsiteX2" fmla="*/ 2805 w 127963"/>
                <a:gd name="connsiteY2" fmla="*/ 0 h 454615"/>
                <a:gd name="connsiteX3" fmla="*/ 0 w 127963"/>
                <a:gd name="connsiteY3" fmla="*/ 60064 h 454615"/>
                <a:gd name="connsiteX4" fmla="*/ 127963 w 127963"/>
                <a:gd name="connsiteY4" fmla="*/ 454615 h 4546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7963" h="454615">
                  <a:moveTo>
                    <a:pt x="127963" y="454615"/>
                  </a:moveTo>
                  <a:lnTo>
                    <a:pt x="127963" y="403964"/>
                  </a:lnTo>
                  <a:lnTo>
                    <a:pt x="2805" y="0"/>
                  </a:lnTo>
                  <a:cubicBezTo>
                    <a:pt x="1916" y="36434"/>
                    <a:pt x="889" y="23630"/>
                    <a:pt x="0" y="60064"/>
                  </a:cubicBezTo>
                  <a:lnTo>
                    <a:pt x="127963" y="454615"/>
                  </a:lnTo>
                  <a:close/>
                </a:path>
              </a:pathLst>
            </a:custGeom>
            <a:grpFill/>
            <a:ln w="19050" cap="flat">
              <a:solidFill>
                <a:schemeClr val="tx1">
                  <a:lumMod val="95000"/>
                  <a:lumOff val="5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900"/>
                </a:spcBef>
              </a:pPr>
              <a:endParaRPr lang="en-US" sz="1400" dirty="0" err="1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9" name="Rectangle 28">
              <a:extLst>
                <a:ext uri="{FF2B5EF4-FFF2-40B4-BE49-F238E27FC236}">
                  <a16:creationId xmlns="" xmlns:a16="http://schemas.microsoft.com/office/drawing/2014/main" id="{A118CCA2-5BB1-4477-8EE0-DA8277ED833D}"/>
                </a:ext>
              </a:extLst>
            </p:cNvPr>
            <p:cNvSpPr/>
            <p:nvPr/>
          </p:nvSpPr>
          <p:spPr>
            <a:xfrm rot="10800000">
              <a:off x="6606073" y="2075287"/>
              <a:ext cx="103970" cy="93848"/>
            </a:xfrm>
            <a:prstGeom prst="rect">
              <a:avLst/>
            </a:prstGeom>
            <a:grpFill/>
            <a:ln w="19050" cap="flat">
              <a:solidFill>
                <a:schemeClr val="tx1">
                  <a:lumMod val="95000"/>
                  <a:lumOff val="5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900"/>
                </a:spcBef>
              </a:pPr>
              <a:endParaRPr lang="en-US" sz="1400" dirty="0" err="1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="" xmlns:a16="http://schemas.microsoft.com/office/drawing/2014/main" id="{4C373C85-6146-4EA0-A597-B27D0444B603}"/>
                </a:ext>
              </a:extLst>
            </p:cNvPr>
            <p:cNvSpPr/>
            <p:nvPr/>
          </p:nvSpPr>
          <p:spPr>
            <a:xfrm>
              <a:off x="6933978" y="2807668"/>
              <a:ext cx="173283" cy="5331"/>
            </a:xfrm>
            <a:custGeom>
              <a:avLst/>
              <a:gdLst>
                <a:gd name="connsiteX0" fmla="*/ 0 w 173283"/>
                <a:gd name="connsiteY0" fmla="*/ 0 h 5331"/>
                <a:gd name="connsiteX1" fmla="*/ 173283 w 173283"/>
                <a:gd name="connsiteY1" fmla="*/ 5331 h 53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73283" h="5331">
                  <a:moveTo>
                    <a:pt x="0" y="0"/>
                  </a:moveTo>
                  <a:lnTo>
                    <a:pt x="173283" y="5331"/>
                  </a:lnTo>
                </a:path>
              </a:pathLst>
            </a:custGeom>
            <a:grpFill/>
            <a:ln w="19050" cap="flat">
              <a:solidFill>
                <a:schemeClr val="tx1">
                  <a:lumMod val="95000"/>
                  <a:lumOff val="5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="" xmlns:a16="http://schemas.microsoft.com/office/drawing/2014/main" id="{816F87F2-D85F-4933-977A-23241638BDA9}"/>
                </a:ext>
              </a:extLst>
            </p:cNvPr>
            <p:cNvSpPr/>
            <p:nvPr/>
          </p:nvSpPr>
          <p:spPr>
            <a:xfrm>
              <a:off x="6933978" y="2805002"/>
              <a:ext cx="1348940" cy="549173"/>
            </a:xfrm>
            <a:custGeom>
              <a:avLst/>
              <a:gdLst>
                <a:gd name="connsiteX0" fmla="*/ 0 w 1348940"/>
                <a:gd name="connsiteY0" fmla="*/ 0 h 549173"/>
                <a:gd name="connsiteX1" fmla="*/ 189278 w 1348940"/>
                <a:gd name="connsiteY1" fmla="*/ 7997 h 549173"/>
                <a:gd name="connsiteX2" fmla="*/ 1348940 w 1348940"/>
                <a:gd name="connsiteY2" fmla="*/ 549173 h 549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348940" h="549173">
                  <a:moveTo>
                    <a:pt x="0" y="0"/>
                  </a:moveTo>
                  <a:lnTo>
                    <a:pt x="189278" y="7997"/>
                  </a:lnTo>
                  <a:lnTo>
                    <a:pt x="1348940" y="549173"/>
                  </a:lnTo>
                </a:path>
              </a:pathLst>
            </a:custGeom>
            <a:grpFill/>
            <a:ln w="19050" cap="flat">
              <a:solidFill>
                <a:schemeClr val="tx1">
                  <a:lumMod val="95000"/>
                  <a:lumOff val="5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000000"/>
                </a:solidFill>
              </a:endParaRPr>
            </a:p>
          </p:txBody>
        </p:sp>
        <p:grpSp>
          <p:nvGrpSpPr>
            <p:cNvPr id="32" name="Group 31">
              <a:extLst>
                <a:ext uri="{FF2B5EF4-FFF2-40B4-BE49-F238E27FC236}">
                  <a16:creationId xmlns="" xmlns:a16="http://schemas.microsoft.com/office/drawing/2014/main" id="{C7AE8187-7D64-4CD3-AE43-325A921BE227}"/>
                </a:ext>
              </a:extLst>
            </p:cNvPr>
            <p:cNvGrpSpPr/>
            <p:nvPr/>
          </p:nvGrpSpPr>
          <p:grpSpPr>
            <a:xfrm>
              <a:off x="6245889" y="2437298"/>
              <a:ext cx="283507" cy="495155"/>
              <a:chOff x="6245889" y="2487599"/>
              <a:chExt cx="254707" cy="444855"/>
            </a:xfrm>
            <a:grpFill/>
          </p:grpSpPr>
          <p:sp>
            <p:nvSpPr>
              <p:cNvPr id="65" name="Rectangle 136">
                <a:extLst>
                  <a:ext uri="{FF2B5EF4-FFF2-40B4-BE49-F238E27FC236}">
                    <a16:creationId xmlns="" xmlns:a16="http://schemas.microsoft.com/office/drawing/2014/main" id="{13206B9F-883E-4F96-9524-267A2C81101C}"/>
                  </a:ext>
                </a:extLst>
              </p:cNvPr>
              <p:cNvSpPr/>
              <p:nvPr/>
            </p:nvSpPr>
            <p:spPr>
              <a:xfrm>
                <a:off x="6245889" y="2508331"/>
                <a:ext cx="254707" cy="424123"/>
              </a:xfrm>
              <a:custGeom>
                <a:avLst/>
                <a:gdLst>
                  <a:gd name="connsiteX0" fmla="*/ 0 w 120414"/>
                  <a:gd name="connsiteY0" fmla="*/ 0 h 1327111"/>
                  <a:gd name="connsiteX1" fmla="*/ 120414 w 120414"/>
                  <a:gd name="connsiteY1" fmla="*/ 0 h 1327111"/>
                  <a:gd name="connsiteX2" fmla="*/ 120414 w 120414"/>
                  <a:gd name="connsiteY2" fmla="*/ 1327111 h 1327111"/>
                  <a:gd name="connsiteX3" fmla="*/ 0 w 120414"/>
                  <a:gd name="connsiteY3" fmla="*/ 1327111 h 1327111"/>
                  <a:gd name="connsiteX4" fmla="*/ 0 w 120414"/>
                  <a:gd name="connsiteY4" fmla="*/ 0 h 1327111"/>
                  <a:gd name="connsiteX0" fmla="*/ 0 w 183674"/>
                  <a:gd name="connsiteY0" fmla="*/ 0 h 1327111"/>
                  <a:gd name="connsiteX1" fmla="*/ 183674 w 183674"/>
                  <a:gd name="connsiteY1" fmla="*/ 109268 h 1327111"/>
                  <a:gd name="connsiteX2" fmla="*/ 120414 w 183674"/>
                  <a:gd name="connsiteY2" fmla="*/ 1327111 h 1327111"/>
                  <a:gd name="connsiteX3" fmla="*/ 0 w 183674"/>
                  <a:gd name="connsiteY3" fmla="*/ 1327111 h 1327111"/>
                  <a:gd name="connsiteX4" fmla="*/ 0 w 183674"/>
                  <a:gd name="connsiteY4" fmla="*/ 0 h 1327111"/>
                  <a:gd name="connsiteX0" fmla="*/ 0 w 200927"/>
                  <a:gd name="connsiteY0" fmla="*/ 0 h 1327111"/>
                  <a:gd name="connsiteX1" fmla="*/ 183674 w 200927"/>
                  <a:gd name="connsiteY1" fmla="*/ 109268 h 1327111"/>
                  <a:gd name="connsiteX2" fmla="*/ 200927 w 200927"/>
                  <a:gd name="connsiteY2" fmla="*/ 1206341 h 1327111"/>
                  <a:gd name="connsiteX3" fmla="*/ 0 w 200927"/>
                  <a:gd name="connsiteY3" fmla="*/ 1327111 h 1327111"/>
                  <a:gd name="connsiteX4" fmla="*/ 0 w 200927"/>
                  <a:gd name="connsiteY4" fmla="*/ 0 h 1327111"/>
                  <a:gd name="connsiteX0" fmla="*/ 0 w 183674"/>
                  <a:gd name="connsiteY0" fmla="*/ 0 h 1327111"/>
                  <a:gd name="connsiteX1" fmla="*/ 183674 w 183674"/>
                  <a:gd name="connsiteY1" fmla="*/ 109268 h 1327111"/>
                  <a:gd name="connsiteX2" fmla="*/ 177924 w 183674"/>
                  <a:gd name="connsiteY2" fmla="*/ 1235095 h 1327111"/>
                  <a:gd name="connsiteX3" fmla="*/ 0 w 183674"/>
                  <a:gd name="connsiteY3" fmla="*/ 1327111 h 1327111"/>
                  <a:gd name="connsiteX4" fmla="*/ 0 w 183674"/>
                  <a:gd name="connsiteY4" fmla="*/ 0 h 1327111"/>
                  <a:gd name="connsiteX0" fmla="*/ 0 w 184227"/>
                  <a:gd name="connsiteY0" fmla="*/ 0 h 1327111"/>
                  <a:gd name="connsiteX1" fmla="*/ 183674 w 184227"/>
                  <a:gd name="connsiteY1" fmla="*/ 109268 h 1327111"/>
                  <a:gd name="connsiteX2" fmla="*/ 183674 w 184227"/>
                  <a:gd name="connsiteY2" fmla="*/ 1206341 h 1327111"/>
                  <a:gd name="connsiteX3" fmla="*/ 0 w 184227"/>
                  <a:gd name="connsiteY3" fmla="*/ 1327111 h 1327111"/>
                  <a:gd name="connsiteX4" fmla="*/ 0 w 184227"/>
                  <a:gd name="connsiteY4" fmla="*/ 0 h 1327111"/>
                  <a:gd name="connsiteX0" fmla="*/ 0 w 195342"/>
                  <a:gd name="connsiteY0" fmla="*/ 0 h 1327111"/>
                  <a:gd name="connsiteX1" fmla="*/ 183674 w 195342"/>
                  <a:gd name="connsiteY1" fmla="*/ 109268 h 1327111"/>
                  <a:gd name="connsiteX2" fmla="*/ 195176 w 195342"/>
                  <a:gd name="connsiteY2" fmla="*/ 1171835 h 1327111"/>
                  <a:gd name="connsiteX3" fmla="*/ 0 w 195342"/>
                  <a:gd name="connsiteY3" fmla="*/ 1327111 h 1327111"/>
                  <a:gd name="connsiteX4" fmla="*/ 0 w 195342"/>
                  <a:gd name="connsiteY4" fmla="*/ 0 h 1327111"/>
                  <a:gd name="connsiteX0" fmla="*/ 0 w 183674"/>
                  <a:gd name="connsiteY0" fmla="*/ 0 h 1327111"/>
                  <a:gd name="connsiteX1" fmla="*/ 183674 w 183674"/>
                  <a:gd name="connsiteY1" fmla="*/ 109268 h 1327111"/>
                  <a:gd name="connsiteX2" fmla="*/ 177924 w 183674"/>
                  <a:gd name="connsiteY2" fmla="*/ 1166084 h 1327111"/>
                  <a:gd name="connsiteX3" fmla="*/ 0 w 183674"/>
                  <a:gd name="connsiteY3" fmla="*/ 1327111 h 1327111"/>
                  <a:gd name="connsiteX4" fmla="*/ 0 w 183674"/>
                  <a:gd name="connsiteY4" fmla="*/ 0 h 1327111"/>
                  <a:gd name="connsiteX0" fmla="*/ 0 w 183674"/>
                  <a:gd name="connsiteY0" fmla="*/ 0 h 1327111"/>
                  <a:gd name="connsiteX1" fmla="*/ 183674 w 183674"/>
                  <a:gd name="connsiteY1" fmla="*/ 109268 h 1327111"/>
                  <a:gd name="connsiteX2" fmla="*/ 177924 w 183674"/>
                  <a:gd name="connsiteY2" fmla="*/ 1166084 h 1327111"/>
                  <a:gd name="connsiteX3" fmla="*/ 0 w 183674"/>
                  <a:gd name="connsiteY3" fmla="*/ 1327111 h 1327111"/>
                  <a:gd name="connsiteX4" fmla="*/ 0 w 183674"/>
                  <a:gd name="connsiteY4" fmla="*/ 0 h 1327111"/>
                  <a:gd name="connsiteX0" fmla="*/ 0 w 183862"/>
                  <a:gd name="connsiteY0" fmla="*/ 0 h 1327111"/>
                  <a:gd name="connsiteX1" fmla="*/ 183674 w 183862"/>
                  <a:gd name="connsiteY1" fmla="*/ 109268 h 1327111"/>
                  <a:gd name="connsiteX2" fmla="*/ 183256 w 183862"/>
                  <a:gd name="connsiteY2" fmla="*/ 1155420 h 1327111"/>
                  <a:gd name="connsiteX3" fmla="*/ 0 w 183862"/>
                  <a:gd name="connsiteY3" fmla="*/ 1327111 h 1327111"/>
                  <a:gd name="connsiteX4" fmla="*/ 0 w 183862"/>
                  <a:gd name="connsiteY4" fmla="*/ 0 h 1327111"/>
                  <a:gd name="connsiteX0" fmla="*/ 0 w 183862"/>
                  <a:gd name="connsiteY0" fmla="*/ 0 h 1327111"/>
                  <a:gd name="connsiteX1" fmla="*/ 183674 w 183862"/>
                  <a:gd name="connsiteY1" fmla="*/ 109268 h 1327111"/>
                  <a:gd name="connsiteX2" fmla="*/ 183256 w 183862"/>
                  <a:gd name="connsiteY2" fmla="*/ 1155420 h 1327111"/>
                  <a:gd name="connsiteX3" fmla="*/ 0 w 183862"/>
                  <a:gd name="connsiteY3" fmla="*/ 1327111 h 1327111"/>
                  <a:gd name="connsiteX4" fmla="*/ 0 w 183862"/>
                  <a:gd name="connsiteY4" fmla="*/ 0 h 1327111"/>
                  <a:gd name="connsiteX0" fmla="*/ 0 w 186340"/>
                  <a:gd name="connsiteY0" fmla="*/ 0 h 1327111"/>
                  <a:gd name="connsiteX1" fmla="*/ 186340 w 186340"/>
                  <a:gd name="connsiteY1" fmla="*/ 109268 h 1327111"/>
                  <a:gd name="connsiteX2" fmla="*/ 183256 w 186340"/>
                  <a:gd name="connsiteY2" fmla="*/ 1155420 h 1327111"/>
                  <a:gd name="connsiteX3" fmla="*/ 0 w 186340"/>
                  <a:gd name="connsiteY3" fmla="*/ 1327111 h 1327111"/>
                  <a:gd name="connsiteX4" fmla="*/ 0 w 186340"/>
                  <a:gd name="connsiteY4" fmla="*/ 0 h 1327111"/>
                  <a:gd name="connsiteX0" fmla="*/ 0 w 183634"/>
                  <a:gd name="connsiteY0" fmla="*/ 0 h 1327111"/>
                  <a:gd name="connsiteX1" fmla="*/ 181008 w 183634"/>
                  <a:gd name="connsiteY1" fmla="*/ 109268 h 1327111"/>
                  <a:gd name="connsiteX2" fmla="*/ 183256 w 183634"/>
                  <a:gd name="connsiteY2" fmla="*/ 1155420 h 1327111"/>
                  <a:gd name="connsiteX3" fmla="*/ 0 w 183634"/>
                  <a:gd name="connsiteY3" fmla="*/ 1327111 h 1327111"/>
                  <a:gd name="connsiteX4" fmla="*/ 0 w 183634"/>
                  <a:gd name="connsiteY4" fmla="*/ 0 h 1327111"/>
                  <a:gd name="connsiteX0" fmla="*/ 0 w 185879"/>
                  <a:gd name="connsiteY0" fmla="*/ 0 h 1327111"/>
                  <a:gd name="connsiteX1" fmla="*/ 185879 w 185879"/>
                  <a:gd name="connsiteY1" fmla="*/ 251690 h 1327111"/>
                  <a:gd name="connsiteX2" fmla="*/ 183256 w 185879"/>
                  <a:gd name="connsiteY2" fmla="*/ 1155420 h 1327111"/>
                  <a:gd name="connsiteX3" fmla="*/ 0 w 185879"/>
                  <a:gd name="connsiteY3" fmla="*/ 1327111 h 1327111"/>
                  <a:gd name="connsiteX4" fmla="*/ 0 w 185879"/>
                  <a:gd name="connsiteY4" fmla="*/ 0 h 1327111"/>
                  <a:gd name="connsiteX0" fmla="*/ 0 w 185879"/>
                  <a:gd name="connsiteY0" fmla="*/ 0 h 1327111"/>
                  <a:gd name="connsiteX1" fmla="*/ 185879 w 185879"/>
                  <a:gd name="connsiteY1" fmla="*/ 251690 h 1327111"/>
                  <a:gd name="connsiteX2" fmla="*/ 183256 w 185879"/>
                  <a:gd name="connsiteY2" fmla="*/ 1004097 h 1327111"/>
                  <a:gd name="connsiteX3" fmla="*/ 0 w 185879"/>
                  <a:gd name="connsiteY3" fmla="*/ 1327111 h 1327111"/>
                  <a:gd name="connsiteX4" fmla="*/ 0 w 185879"/>
                  <a:gd name="connsiteY4" fmla="*/ 0 h 1327111"/>
                  <a:gd name="connsiteX0" fmla="*/ 0 w 185879"/>
                  <a:gd name="connsiteY0" fmla="*/ 0 h 1131278"/>
                  <a:gd name="connsiteX1" fmla="*/ 185879 w 185879"/>
                  <a:gd name="connsiteY1" fmla="*/ 251690 h 1131278"/>
                  <a:gd name="connsiteX2" fmla="*/ 183256 w 185879"/>
                  <a:gd name="connsiteY2" fmla="*/ 1004097 h 1131278"/>
                  <a:gd name="connsiteX3" fmla="*/ 0 w 185879"/>
                  <a:gd name="connsiteY3" fmla="*/ 1131278 h 1131278"/>
                  <a:gd name="connsiteX4" fmla="*/ 0 w 185879"/>
                  <a:gd name="connsiteY4" fmla="*/ 0 h 1131278"/>
                  <a:gd name="connsiteX0" fmla="*/ 0 w 185879"/>
                  <a:gd name="connsiteY0" fmla="*/ 0 h 1131278"/>
                  <a:gd name="connsiteX1" fmla="*/ 185879 w 185879"/>
                  <a:gd name="connsiteY1" fmla="*/ 251690 h 1131278"/>
                  <a:gd name="connsiteX2" fmla="*/ 183256 w 185879"/>
                  <a:gd name="connsiteY2" fmla="*/ 923983 h 1131278"/>
                  <a:gd name="connsiteX3" fmla="*/ 0 w 185879"/>
                  <a:gd name="connsiteY3" fmla="*/ 1131278 h 1131278"/>
                  <a:gd name="connsiteX4" fmla="*/ 0 w 185879"/>
                  <a:gd name="connsiteY4" fmla="*/ 0 h 11312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5879" h="1131278">
                    <a:moveTo>
                      <a:pt x="0" y="0"/>
                    </a:moveTo>
                    <a:lnTo>
                      <a:pt x="185879" y="251690"/>
                    </a:lnTo>
                    <a:cubicBezTo>
                      <a:pt x="183962" y="626966"/>
                      <a:pt x="185173" y="548707"/>
                      <a:pt x="183256" y="923983"/>
                    </a:cubicBezTo>
                    <a:lnTo>
                      <a:pt x="0" y="1131278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9050" cap="flat">
                <a:solidFill>
                  <a:schemeClr val="tx1">
                    <a:lumMod val="95000"/>
                    <a:lumOff val="5000"/>
                  </a:schemeClr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  <a:spcBef>
                    <a:spcPts val="900"/>
                  </a:spcBef>
                </a:pPr>
                <a:endParaRPr lang="en-US" sz="1400" dirty="0" err="1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66" name="Freeform: Shape 65">
                <a:extLst>
                  <a:ext uri="{FF2B5EF4-FFF2-40B4-BE49-F238E27FC236}">
                    <a16:creationId xmlns="" xmlns:a16="http://schemas.microsoft.com/office/drawing/2014/main" id="{4AF534F2-924F-437F-8B78-CF3E9DB3152F}"/>
                  </a:ext>
                </a:extLst>
              </p:cNvPr>
              <p:cNvSpPr/>
              <p:nvPr/>
            </p:nvSpPr>
            <p:spPr>
              <a:xfrm>
                <a:off x="6300684" y="2551907"/>
                <a:ext cx="46721" cy="360421"/>
              </a:xfrm>
              <a:custGeom>
                <a:avLst/>
                <a:gdLst>
                  <a:gd name="connsiteX0" fmla="*/ 13349 w 56733"/>
                  <a:gd name="connsiteY0" fmla="*/ 0 h 357083"/>
                  <a:gd name="connsiteX1" fmla="*/ 0 w 56733"/>
                  <a:gd name="connsiteY1" fmla="*/ 357083 h 357083"/>
                  <a:gd name="connsiteX2" fmla="*/ 56733 w 56733"/>
                  <a:gd name="connsiteY2" fmla="*/ 333722 h 357083"/>
                  <a:gd name="connsiteX3" fmla="*/ 13349 w 56733"/>
                  <a:gd name="connsiteY3" fmla="*/ 0 h 357083"/>
                  <a:gd name="connsiteX0" fmla="*/ 13349 w 56733"/>
                  <a:gd name="connsiteY0" fmla="*/ 0 h 357083"/>
                  <a:gd name="connsiteX1" fmla="*/ 0 w 56733"/>
                  <a:gd name="connsiteY1" fmla="*/ 357083 h 357083"/>
                  <a:gd name="connsiteX2" fmla="*/ 56733 w 56733"/>
                  <a:gd name="connsiteY2" fmla="*/ 333722 h 357083"/>
                  <a:gd name="connsiteX3" fmla="*/ 33373 w 56733"/>
                  <a:gd name="connsiteY3" fmla="*/ 126814 h 357083"/>
                  <a:gd name="connsiteX4" fmla="*/ 13349 w 56733"/>
                  <a:gd name="connsiteY4" fmla="*/ 0 h 357083"/>
                  <a:gd name="connsiteX0" fmla="*/ 13349 w 60070"/>
                  <a:gd name="connsiteY0" fmla="*/ 0 h 357083"/>
                  <a:gd name="connsiteX1" fmla="*/ 0 w 60070"/>
                  <a:gd name="connsiteY1" fmla="*/ 357083 h 357083"/>
                  <a:gd name="connsiteX2" fmla="*/ 56733 w 60070"/>
                  <a:gd name="connsiteY2" fmla="*/ 333722 h 357083"/>
                  <a:gd name="connsiteX3" fmla="*/ 60070 w 60070"/>
                  <a:gd name="connsiteY3" fmla="*/ 3337 h 357083"/>
                  <a:gd name="connsiteX4" fmla="*/ 13349 w 60070"/>
                  <a:gd name="connsiteY4" fmla="*/ 0 h 357083"/>
                  <a:gd name="connsiteX0" fmla="*/ 0 w 46721"/>
                  <a:gd name="connsiteY0" fmla="*/ 0 h 333722"/>
                  <a:gd name="connsiteX1" fmla="*/ 0 w 46721"/>
                  <a:gd name="connsiteY1" fmla="*/ 320374 h 333722"/>
                  <a:gd name="connsiteX2" fmla="*/ 43384 w 46721"/>
                  <a:gd name="connsiteY2" fmla="*/ 333722 h 333722"/>
                  <a:gd name="connsiteX3" fmla="*/ 46721 w 46721"/>
                  <a:gd name="connsiteY3" fmla="*/ 3337 h 333722"/>
                  <a:gd name="connsiteX4" fmla="*/ 0 w 46721"/>
                  <a:gd name="connsiteY4" fmla="*/ 0 h 333722"/>
                  <a:gd name="connsiteX0" fmla="*/ 0 w 46721"/>
                  <a:gd name="connsiteY0" fmla="*/ 0 h 347072"/>
                  <a:gd name="connsiteX1" fmla="*/ 0 w 46721"/>
                  <a:gd name="connsiteY1" fmla="*/ 347072 h 347072"/>
                  <a:gd name="connsiteX2" fmla="*/ 43384 w 46721"/>
                  <a:gd name="connsiteY2" fmla="*/ 333722 h 347072"/>
                  <a:gd name="connsiteX3" fmla="*/ 46721 w 46721"/>
                  <a:gd name="connsiteY3" fmla="*/ 3337 h 347072"/>
                  <a:gd name="connsiteX4" fmla="*/ 0 w 46721"/>
                  <a:gd name="connsiteY4" fmla="*/ 0 h 347072"/>
                  <a:gd name="connsiteX0" fmla="*/ 0 w 46721"/>
                  <a:gd name="connsiteY0" fmla="*/ 0 h 360421"/>
                  <a:gd name="connsiteX1" fmla="*/ 0 w 46721"/>
                  <a:gd name="connsiteY1" fmla="*/ 360421 h 360421"/>
                  <a:gd name="connsiteX2" fmla="*/ 43384 w 46721"/>
                  <a:gd name="connsiteY2" fmla="*/ 347071 h 360421"/>
                  <a:gd name="connsiteX3" fmla="*/ 46721 w 46721"/>
                  <a:gd name="connsiteY3" fmla="*/ 16686 h 360421"/>
                  <a:gd name="connsiteX4" fmla="*/ 0 w 46721"/>
                  <a:gd name="connsiteY4" fmla="*/ 0 h 3604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6721" h="360421">
                    <a:moveTo>
                      <a:pt x="0" y="0"/>
                    </a:moveTo>
                    <a:lnTo>
                      <a:pt x="0" y="360421"/>
                    </a:lnTo>
                    <a:lnTo>
                      <a:pt x="43384" y="347071"/>
                    </a:lnTo>
                    <a:cubicBezTo>
                      <a:pt x="44496" y="236943"/>
                      <a:pt x="45609" y="126814"/>
                      <a:pt x="46721" y="16686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 w="19050" cap="flat">
                <a:solidFill>
                  <a:schemeClr val="tx1">
                    <a:lumMod val="95000"/>
                    <a:lumOff val="5000"/>
                  </a:schemeClr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  <a:spcBef>
                    <a:spcPts val="900"/>
                  </a:spcBef>
                </a:pPr>
                <a:endParaRPr lang="en-US" sz="1400" dirty="0" err="1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67" name="Freeform: Shape 66">
                <a:extLst>
                  <a:ext uri="{FF2B5EF4-FFF2-40B4-BE49-F238E27FC236}">
                    <a16:creationId xmlns="" xmlns:a16="http://schemas.microsoft.com/office/drawing/2014/main" id="{2564E129-DD82-41F3-88D3-1BDC0B13B558}"/>
                  </a:ext>
                </a:extLst>
              </p:cNvPr>
              <p:cNvSpPr/>
              <p:nvPr/>
            </p:nvSpPr>
            <p:spPr>
              <a:xfrm>
                <a:off x="6407484" y="2583733"/>
                <a:ext cx="45719" cy="295845"/>
              </a:xfrm>
              <a:custGeom>
                <a:avLst/>
                <a:gdLst>
                  <a:gd name="connsiteX0" fmla="*/ 13349 w 56733"/>
                  <a:gd name="connsiteY0" fmla="*/ 0 h 357083"/>
                  <a:gd name="connsiteX1" fmla="*/ 0 w 56733"/>
                  <a:gd name="connsiteY1" fmla="*/ 357083 h 357083"/>
                  <a:gd name="connsiteX2" fmla="*/ 56733 w 56733"/>
                  <a:gd name="connsiteY2" fmla="*/ 333722 h 357083"/>
                  <a:gd name="connsiteX3" fmla="*/ 13349 w 56733"/>
                  <a:gd name="connsiteY3" fmla="*/ 0 h 357083"/>
                  <a:gd name="connsiteX0" fmla="*/ 13349 w 56733"/>
                  <a:gd name="connsiteY0" fmla="*/ 0 h 357083"/>
                  <a:gd name="connsiteX1" fmla="*/ 0 w 56733"/>
                  <a:gd name="connsiteY1" fmla="*/ 357083 h 357083"/>
                  <a:gd name="connsiteX2" fmla="*/ 56733 w 56733"/>
                  <a:gd name="connsiteY2" fmla="*/ 333722 h 357083"/>
                  <a:gd name="connsiteX3" fmla="*/ 33373 w 56733"/>
                  <a:gd name="connsiteY3" fmla="*/ 126814 h 357083"/>
                  <a:gd name="connsiteX4" fmla="*/ 13349 w 56733"/>
                  <a:gd name="connsiteY4" fmla="*/ 0 h 357083"/>
                  <a:gd name="connsiteX0" fmla="*/ 13349 w 60070"/>
                  <a:gd name="connsiteY0" fmla="*/ 0 h 357083"/>
                  <a:gd name="connsiteX1" fmla="*/ 0 w 60070"/>
                  <a:gd name="connsiteY1" fmla="*/ 357083 h 357083"/>
                  <a:gd name="connsiteX2" fmla="*/ 56733 w 60070"/>
                  <a:gd name="connsiteY2" fmla="*/ 333722 h 357083"/>
                  <a:gd name="connsiteX3" fmla="*/ 60070 w 60070"/>
                  <a:gd name="connsiteY3" fmla="*/ 3337 h 357083"/>
                  <a:gd name="connsiteX4" fmla="*/ 13349 w 60070"/>
                  <a:gd name="connsiteY4" fmla="*/ 0 h 357083"/>
                  <a:gd name="connsiteX0" fmla="*/ 0 w 46721"/>
                  <a:gd name="connsiteY0" fmla="*/ 0 h 333722"/>
                  <a:gd name="connsiteX1" fmla="*/ 0 w 46721"/>
                  <a:gd name="connsiteY1" fmla="*/ 320374 h 333722"/>
                  <a:gd name="connsiteX2" fmla="*/ 43384 w 46721"/>
                  <a:gd name="connsiteY2" fmla="*/ 333722 h 333722"/>
                  <a:gd name="connsiteX3" fmla="*/ 46721 w 46721"/>
                  <a:gd name="connsiteY3" fmla="*/ 3337 h 333722"/>
                  <a:gd name="connsiteX4" fmla="*/ 0 w 46721"/>
                  <a:gd name="connsiteY4" fmla="*/ 0 h 333722"/>
                  <a:gd name="connsiteX0" fmla="*/ 0 w 46721"/>
                  <a:gd name="connsiteY0" fmla="*/ 0 h 347072"/>
                  <a:gd name="connsiteX1" fmla="*/ 0 w 46721"/>
                  <a:gd name="connsiteY1" fmla="*/ 347072 h 347072"/>
                  <a:gd name="connsiteX2" fmla="*/ 43384 w 46721"/>
                  <a:gd name="connsiteY2" fmla="*/ 333722 h 347072"/>
                  <a:gd name="connsiteX3" fmla="*/ 46721 w 46721"/>
                  <a:gd name="connsiteY3" fmla="*/ 3337 h 347072"/>
                  <a:gd name="connsiteX4" fmla="*/ 0 w 46721"/>
                  <a:gd name="connsiteY4" fmla="*/ 0 h 347072"/>
                  <a:gd name="connsiteX0" fmla="*/ 0 w 46721"/>
                  <a:gd name="connsiteY0" fmla="*/ 0 h 360421"/>
                  <a:gd name="connsiteX1" fmla="*/ 0 w 46721"/>
                  <a:gd name="connsiteY1" fmla="*/ 360421 h 360421"/>
                  <a:gd name="connsiteX2" fmla="*/ 43384 w 46721"/>
                  <a:gd name="connsiteY2" fmla="*/ 347071 h 360421"/>
                  <a:gd name="connsiteX3" fmla="*/ 46721 w 46721"/>
                  <a:gd name="connsiteY3" fmla="*/ 16686 h 360421"/>
                  <a:gd name="connsiteX4" fmla="*/ 0 w 46721"/>
                  <a:gd name="connsiteY4" fmla="*/ 0 h 3604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6721" h="360421">
                    <a:moveTo>
                      <a:pt x="0" y="0"/>
                    </a:moveTo>
                    <a:lnTo>
                      <a:pt x="0" y="360421"/>
                    </a:lnTo>
                    <a:lnTo>
                      <a:pt x="43384" y="347071"/>
                    </a:lnTo>
                    <a:cubicBezTo>
                      <a:pt x="44496" y="236943"/>
                      <a:pt x="45609" y="126814"/>
                      <a:pt x="46721" y="16686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 w="19050" cap="flat">
                <a:solidFill>
                  <a:schemeClr val="tx1">
                    <a:lumMod val="95000"/>
                    <a:lumOff val="5000"/>
                  </a:schemeClr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  <a:spcBef>
                    <a:spcPts val="900"/>
                  </a:spcBef>
                </a:pPr>
                <a:endParaRPr lang="en-US" sz="1400" dirty="0" err="1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68" name="Rectangle 136">
                <a:extLst>
                  <a:ext uri="{FF2B5EF4-FFF2-40B4-BE49-F238E27FC236}">
                    <a16:creationId xmlns="" xmlns:a16="http://schemas.microsoft.com/office/drawing/2014/main" id="{81037A35-ADAA-4B37-B0C6-701D4E173354}"/>
                  </a:ext>
                </a:extLst>
              </p:cNvPr>
              <p:cNvSpPr/>
              <p:nvPr/>
            </p:nvSpPr>
            <p:spPr>
              <a:xfrm>
                <a:off x="6248095" y="2487599"/>
                <a:ext cx="252501" cy="140326"/>
              </a:xfrm>
              <a:custGeom>
                <a:avLst/>
                <a:gdLst>
                  <a:gd name="connsiteX0" fmla="*/ 0 w 120414"/>
                  <a:gd name="connsiteY0" fmla="*/ 0 h 1327111"/>
                  <a:gd name="connsiteX1" fmla="*/ 120414 w 120414"/>
                  <a:gd name="connsiteY1" fmla="*/ 0 h 1327111"/>
                  <a:gd name="connsiteX2" fmla="*/ 120414 w 120414"/>
                  <a:gd name="connsiteY2" fmla="*/ 1327111 h 1327111"/>
                  <a:gd name="connsiteX3" fmla="*/ 0 w 120414"/>
                  <a:gd name="connsiteY3" fmla="*/ 1327111 h 1327111"/>
                  <a:gd name="connsiteX4" fmla="*/ 0 w 120414"/>
                  <a:gd name="connsiteY4" fmla="*/ 0 h 1327111"/>
                  <a:gd name="connsiteX0" fmla="*/ 0 w 183674"/>
                  <a:gd name="connsiteY0" fmla="*/ 0 h 1327111"/>
                  <a:gd name="connsiteX1" fmla="*/ 183674 w 183674"/>
                  <a:gd name="connsiteY1" fmla="*/ 109268 h 1327111"/>
                  <a:gd name="connsiteX2" fmla="*/ 120414 w 183674"/>
                  <a:gd name="connsiteY2" fmla="*/ 1327111 h 1327111"/>
                  <a:gd name="connsiteX3" fmla="*/ 0 w 183674"/>
                  <a:gd name="connsiteY3" fmla="*/ 1327111 h 1327111"/>
                  <a:gd name="connsiteX4" fmla="*/ 0 w 183674"/>
                  <a:gd name="connsiteY4" fmla="*/ 0 h 1327111"/>
                  <a:gd name="connsiteX0" fmla="*/ 0 w 200927"/>
                  <a:gd name="connsiteY0" fmla="*/ 0 h 1327111"/>
                  <a:gd name="connsiteX1" fmla="*/ 183674 w 200927"/>
                  <a:gd name="connsiteY1" fmla="*/ 109268 h 1327111"/>
                  <a:gd name="connsiteX2" fmla="*/ 200927 w 200927"/>
                  <a:gd name="connsiteY2" fmla="*/ 1206341 h 1327111"/>
                  <a:gd name="connsiteX3" fmla="*/ 0 w 200927"/>
                  <a:gd name="connsiteY3" fmla="*/ 1327111 h 1327111"/>
                  <a:gd name="connsiteX4" fmla="*/ 0 w 200927"/>
                  <a:gd name="connsiteY4" fmla="*/ 0 h 1327111"/>
                  <a:gd name="connsiteX0" fmla="*/ 0 w 183674"/>
                  <a:gd name="connsiteY0" fmla="*/ 0 h 1327111"/>
                  <a:gd name="connsiteX1" fmla="*/ 183674 w 183674"/>
                  <a:gd name="connsiteY1" fmla="*/ 109268 h 1327111"/>
                  <a:gd name="connsiteX2" fmla="*/ 177924 w 183674"/>
                  <a:gd name="connsiteY2" fmla="*/ 1235095 h 1327111"/>
                  <a:gd name="connsiteX3" fmla="*/ 0 w 183674"/>
                  <a:gd name="connsiteY3" fmla="*/ 1327111 h 1327111"/>
                  <a:gd name="connsiteX4" fmla="*/ 0 w 183674"/>
                  <a:gd name="connsiteY4" fmla="*/ 0 h 1327111"/>
                  <a:gd name="connsiteX0" fmla="*/ 0 w 184227"/>
                  <a:gd name="connsiteY0" fmla="*/ 0 h 1327111"/>
                  <a:gd name="connsiteX1" fmla="*/ 183674 w 184227"/>
                  <a:gd name="connsiteY1" fmla="*/ 109268 h 1327111"/>
                  <a:gd name="connsiteX2" fmla="*/ 183674 w 184227"/>
                  <a:gd name="connsiteY2" fmla="*/ 1206341 h 1327111"/>
                  <a:gd name="connsiteX3" fmla="*/ 0 w 184227"/>
                  <a:gd name="connsiteY3" fmla="*/ 1327111 h 1327111"/>
                  <a:gd name="connsiteX4" fmla="*/ 0 w 184227"/>
                  <a:gd name="connsiteY4" fmla="*/ 0 h 1327111"/>
                  <a:gd name="connsiteX0" fmla="*/ 0 w 195342"/>
                  <a:gd name="connsiteY0" fmla="*/ 0 h 1327111"/>
                  <a:gd name="connsiteX1" fmla="*/ 183674 w 195342"/>
                  <a:gd name="connsiteY1" fmla="*/ 109268 h 1327111"/>
                  <a:gd name="connsiteX2" fmla="*/ 195176 w 195342"/>
                  <a:gd name="connsiteY2" fmla="*/ 1171835 h 1327111"/>
                  <a:gd name="connsiteX3" fmla="*/ 0 w 195342"/>
                  <a:gd name="connsiteY3" fmla="*/ 1327111 h 1327111"/>
                  <a:gd name="connsiteX4" fmla="*/ 0 w 195342"/>
                  <a:gd name="connsiteY4" fmla="*/ 0 h 1327111"/>
                  <a:gd name="connsiteX0" fmla="*/ 0 w 183674"/>
                  <a:gd name="connsiteY0" fmla="*/ 0 h 1327111"/>
                  <a:gd name="connsiteX1" fmla="*/ 183674 w 183674"/>
                  <a:gd name="connsiteY1" fmla="*/ 109268 h 1327111"/>
                  <a:gd name="connsiteX2" fmla="*/ 177924 w 183674"/>
                  <a:gd name="connsiteY2" fmla="*/ 1166084 h 1327111"/>
                  <a:gd name="connsiteX3" fmla="*/ 0 w 183674"/>
                  <a:gd name="connsiteY3" fmla="*/ 1327111 h 1327111"/>
                  <a:gd name="connsiteX4" fmla="*/ 0 w 183674"/>
                  <a:gd name="connsiteY4" fmla="*/ 0 h 1327111"/>
                  <a:gd name="connsiteX0" fmla="*/ 0 w 183674"/>
                  <a:gd name="connsiteY0" fmla="*/ 0 h 1327111"/>
                  <a:gd name="connsiteX1" fmla="*/ 183674 w 183674"/>
                  <a:gd name="connsiteY1" fmla="*/ 109268 h 1327111"/>
                  <a:gd name="connsiteX2" fmla="*/ 177924 w 183674"/>
                  <a:gd name="connsiteY2" fmla="*/ 1166084 h 1327111"/>
                  <a:gd name="connsiteX3" fmla="*/ 0 w 183674"/>
                  <a:gd name="connsiteY3" fmla="*/ 1327111 h 1327111"/>
                  <a:gd name="connsiteX4" fmla="*/ 0 w 183674"/>
                  <a:gd name="connsiteY4" fmla="*/ 0 h 1327111"/>
                  <a:gd name="connsiteX0" fmla="*/ 0 w 183862"/>
                  <a:gd name="connsiteY0" fmla="*/ 0 h 1327111"/>
                  <a:gd name="connsiteX1" fmla="*/ 183674 w 183862"/>
                  <a:gd name="connsiteY1" fmla="*/ 109268 h 1327111"/>
                  <a:gd name="connsiteX2" fmla="*/ 183256 w 183862"/>
                  <a:gd name="connsiteY2" fmla="*/ 1155420 h 1327111"/>
                  <a:gd name="connsiteX3" fmla="*/ 0 w 183862"/>
                  <a:gd name="connsiteY3" fmla="*/ 1327111 h 1327111"/>
                  <a:gd name="connsiteX4" fmla="*/ 0 w 183862"/>
                  <a:gd name="connsiteY4" fmla="*/ 0 h 1327111"/>
                  <a:gd name="connsiteX0" fmla="*/ 0 w 183862"/>
                  <a:gd name="connsiteY0" fmla="*/ 0 h 1327111"/>
                  <a:gd name="connsiteX1" fmla="*/ 183674 w 183862"/>
                  <a:gd name="connsiteY1" fmla="*/ 109268 h 1327111"/>
                  <a:gd name="connsiteX2" fmla="*/ 183256 w 183862"/>
                  <a:gd name="connsiteY2" fmla="*/ 1155420 h 1327111"/>
                  <a:gd name="connsiteX3" fmla="*/ 0 w 183862"/>
                  <a:gd name="connsiteY3" fmla="*/ 1327111 h 1327111"/>
                  <a:gd name="connsiteX4" fmla="*/ 0 w 183862"/>
                  <a:gd name="connsiteY4" fmla="*/ 0 h 1327111"/>
                  <a:gd name="connsiteX0" fmla="*/ 0 w 186340"/>
                  <a:gd name="connsiteY0" fmla="*/ 0 h 1327111"/>
                  <a:gd name="connsiteX1" fmla="*/ 186340 w 186340"/>
                  <a:gd name="connsiteY1" fmla="*/ 109268 h 1327111"/>
                  <a:gd name="connsiteX2" fmla="*/ 183256 w 186340"/>
                  <a:gd name="connsiteY2" fmla="*/ 1155420 h 1327111"/>
                  <a:gd name="connsiteX3" fmla="*/ 0 w 186340"/>
                  <a:gd name="connsiteY3" fmla="*/ 1327111 h 1327111"/>
                  <a:gd name="connsiteX4" fmla="*/ 0 w 186340"/>
                  <a:gd name="connsiteY4" fmla="*/ 0 h 1327111"/>
                  <a:gd name="connsiteX0" fmla="*/ 0 w 183634"/>
                  <a:gd name="connsiteY0" fmla="*/ 0 h 1327111"/>
                  <a:gd name="connsiteX1" fmla="*/ 181008 w 183634"/>
                  <a:gd name="connsiteY1" fmla="*/ 109268 h 1327111"/>
                  <a:gd name="connsiteX2" fmla="*/ 183256 w 183634"/>
                  <a:gd name="connsiteY2" fmla="*/ 1155420 h 1327111"/>
                  <a:gd name="connsiteX3" fmla="*/ 0 w 183634"/>
                  <a:gd name="connsiteY3" fmla="*/ 1327111 h 1327111"/>
                  <a:gd name="connsiteX4" fmla="*/ 0 w 183634"/>
                  <a:gd name="connsiteY4" fmla="*/ 0 h 1327111"/>
                  <a:gd name="connsiteX0" fmla="*/ 0 w 183634"/>
                  <a:gd name="connsiteY0" fmla="*/ 0 h 1155422"/>
                  <a:gd name="connsiteX1" fmla="*/ 181008 w 183634"/>
                  <a:gd name="connsiteY1" fmla="*/ 109268 h 1155422"/>
                  <a:gd name="connsiteX2" fmla="*/ 183256 w 183634"/>
                  <a:gd name="connsiteY2" fmla="*/ 1155420 h 1155422"/>
                  <a:gd name="connsiteX3" fmla="*/ 5036 w 183634"/>
                  <a:gd name="connsiteY3" fmla="*/ 532601 h 1155422"/>
                  <a:gd name="connsiteX4" fmla="*/ 0 w 183634"/>
                  <a:gd name="connsiteY4" fmla="*/ 0 h 1155422"/>
                  <a:gd name="connsiteX0" fmla="*/ 0 w 183634"/>
                  <a:gd name="connsiteY0" fmla="*/ 0 h 1155422"/>
                  <a:gd name="connsiteX1" fmla="*/ 181008 w 183634"/>
                  <a:gd name="connsiteY1" fmla="*/ 665424 h 1155422"/>
                  <a:gd name="connsiteX2" fmla="*/ 183256 w 183634"/>
                  <a:gd name="connsiteY2" fmla="*/ 1155420 h 1155422"/>
                  <a:gd name="connsiteX3" fmla="*/ 5036 w 183634"/>
                  <a:gd name="connsiteY3" fmla="*/ 532601 h 1155422"/>
                  <a:gd name="connsiteX4" fmla="*/ 0 w 183634"/>
                  <a:gd name="connsiteY4" fmla="*/ 0 h 1155422"/>
                  <a:gd name="connsiteX0" fmla="*/ 0 w 183634"/>
                  <a:gd name="connsiteY0" fmla="*/ 0 h 1155422"/>
                  <a:gd name="connsiteX1" fmla="*/ 181008 w 183634"/>
                  <a:gd name="connsiteY1" fmla="*/ 665424 h 1155422"/>
                  <a:gd name="connsiteX2" fmla="*/ 183256 w 183634"/>
                  <a:gd name="connsiteY2" fmla="*/ 1155420 h 1155422"/>
                  <a:gd name="connsiteX3" fmla="*/ 2518 w 183634"/>
                  <a:gd name="connsiteY3" fmla="*/ 333962 h 1155422"/>
                  <a:gd name="connsiteX4" fmla="*/ 0 w 183634"/>
                  <a:gd name="connsiteY4" fmla="*/ 0 h 1155422"/>
                  <a:gd name="connsiteX0" fmla="*/ 0 w 183634"/>
                  <a:gd name="connsiteY0" fmla="*/ 0 h 1155422"/>
                  <a:gd name="connsiteX1" fmla="*/ 181008 w 183634"/>
                  <a:gd name="connsiteY1" fmla="*/ 784594 h 1155422"/>
                  <a:gd name="connsiteX2" fmla="*/ 183256 w 183634"/>
                  <a:gd name="connsiteY2" fmla="*/ 1155420 h 1155422"/>
                  <a:gd name="connsiteX3" fmla="*/ 2518 w 183634"/>
                  <a:gd name="connsiteY3" fmla="*/ 333962 h 1155422"/>
                  <a:gd name="connsiteX4" fmla="*/ 0 w 183634"/>
                  <a:gd name="connsiteY4" fmla="*/ 0 h 1155422"/>
                  <a:gd name="connsiteX0" fmla="*/ 0 w 185885"/>
                  <a:gd name="connsiteY0" fmla="*/ 0 h 1155422"/>
                  <a:gd name="connsiteX1" fmla="*/ 185885 w 185885"/>
                  <a:gd name="connsiteY1" fmla="*/ 903763 h 1155422"/>
                  <a:gd name="connsiteX2" fmla="*/ 183256 w 185885"/>
                  <a:gd name="connsiteY2" fmla="*/ 1155420 h 1155422"/>
                  <a:gd name="connsiteX3" fmla="*/ 2518 w 185885"/>
                  <a:gd name="connsiteY3" fmla="*/ 333962 h 1155422"/>
                  <a:gd name="connsiteX4" fmla="*/ 0 w 185885"/>
                  <a:gd name="connsiteY4" fmla="*/ 0 h 1155422"/>
                  <a:gd name="connsiteX0" fmla="*/ 0 w 183832"/>
                  <a:gd name="connsiteY0" fmla="*/ 0 h 1155422"/>
                  <a:gd name="connsiteX1" fmla="*/ 183446 w 183832"/>
                  <a:gd name="connsiteY1" fmla="*/ 983221 h 1155422"/>
                  <a:gd name="connsiteX2" fmla="*/ 183256 w 183832"/>
                  <a:gd name="connsiteY2" fmla="*/ 1155420 h 1155422"/>
                  <a:gd name="connsiteX3" fmla="*/ 2518 w 183832"/>
                  <a:gd name="connsiteY3" fmla="*/ 333962 h 1155422"/>
                  <a:gd name="connsiteX4" fmla="*/ 0 w 183832"/>
                  <a:gd name="connsiteY4" fmla="*/ 0 h 11554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3832" h="1155422">
                    <a:moveTo>
                      <a:pt x="0" y="0"/>
                    </a:moveTo>
                    <a:lnTo>
                      <a:pt x="183446" y="983221"/>
                    </a:lnTo>
                    <a:cubicBezTo>
                      <a:pt x="181529" y="1358497"/>
                      <a:pt x="185173" y="780144"/>
                      <a:pt x="183256" y="1155420"/>
                    </a:cubicBezTo>
                    <a:lnTo>
                      <a:pt x="2518" y="333962"/>
                    </a:lnTo>
                    <a:cubicBezTo>
                      <a:pt x="839" y="156428"/>
                      <a:pt x="1679" y="177534"/>
                      <a:pt x="0" y="0"/>
                    </a:cubicBezTo>
                    <a:close/>
                  </a:path>
                </a:pathLst>
              </a:custGeom>
              <a:grpFill/>
              <a:ln w="19050" cap="flat">
                <a:solidFill>
                  <a:schemeClr val="tx1">
                    <a:lumMod val="95000"/>
                    <a:lumOff val="5000"/>
                  </a:schemeClr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  <a:spcBef>
                    <a:spcPts val="900"/>
                  </a:spcBef>
                </a:pPr>
                <a:endParaRPr lang="en-US" sz="1400" dirty="0" err="1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</p:grpSp>
        <p:sp>
          <p:nvSpPr>
            <p:cNvPr id="33" name="Rectangle 136">
              <a:extLst>
                <a:ext uri="{FF2B5EF4-FFF2-40B4-BE49-F238E27FC236}">
                  <a16:creationId xmlns="" xmlns:a16="http://schemas.microsoft.com/office/drawing/2014/main" id="{8C82AB46-926E-4456-990D-2277710C7F5F}"/>
                </a:ext>
              </a:extLst>
            </p:cNvPr>
            <p:cNvSpPr/>
            <p:nvPr/>
          </p:nvSpPr>
          <p:spPr>
            <a:xfrm>
              <a:off x="6072429" y="2069274"/>
              <a:ext cx="183634" cy="1287718"/>
            </a:xfrm>
            <a:custGeom>
              <a:avLst/>
              <a:gdLst>
                <a:gd name="connsiteX0" fmla="*/ 0 w 120414"/>
                <a:gd name="connsiteY0" fmla="*/ 0 h 1327111"/>
                <a:gd name="connsiteX1" fmla="*/ 120414 w 120414"/>
                <a:gd name="connsiteY1" fmla="*/ 0 h 1327111"/>
                <a:gd name="connsiteX2" fmla="*/ 120414 w 120414"/>
                <a:gd name="connsiteY2" fmla="*/ 1327111 h 1327111"/>
                <a:gd name="connsiteX3" fmla="*/ 0 w 120414"/>
                <a:gd name="connsiteY3" fmla="*/ 1327111 h 1327111"/>
                <a:gd name="connsiteX4" fmla="*/ 0 w 120414"/>
                <a:gd name="connsiteY4" fmla="*/ 0 h 1327111"/>
                <a:gd name="connsiteX0" fmla="*/ 0 w 183674"/>
                <a:gd name="connsiteY0" fmla="*/ 0 h 1327111"/>
                <a:gd name="connsiteX1" fmla="*/ 183674 w 183674"/>
                <a:gd name="connsiteY1" fmla="*/ 109268 h 1327111"/>
                <a:gd name="connsiteX2" fmla="*/ 120414 w 183674"/>
                <a:gd name="connsiteY2" fmla="*/ 1327111 h 1327111"/>
                <a:gd name="connsiteX3" fmla="*/ 0 w 183674"/>
                <a:gd name="connsiteY3" fmla="*/ 1327111 h 1327111"/>
                <a:gd name="connsiteX4" fmla="*/ 0 w 183674"/>
                <a:gd name="connsiteY4" fmla="*/ 0 h 1327111"/>
                <a:gd name="connsiteX0" fmla="*/ 0 w 200927"/>
                <a:gd name="connsiteY0" fmla="*/ 0 h 1327111"/>
                <a:gd name="connsiteX1" fmla="*/ 183674 w 200927"/>
                <a:gd name="connsiteY1" fmla="*/ 109268 h 1327111"/>
                <a:gd name="connsiteX2" fmla="*/ 200927 w 200927"/>
                <a:gd name="connsiteY2" fmla="*/ 1206341 h 1327111"/>
                <a:gd name="connsiteX3" fmla="*/ 0 w 200927"/>
                <a:gd name="connsiteY3" fmla="*/ 1327111 h 1327111"/>
                <a:gd name="connsiteX4" fmla="*/ 0 w 200927"/>
                <a:gd name="connsiteY4" fmla="*/ 0 h 1327111"/>
                <a:gd name="connsiteX0" fmla="*/ 0 w 183674"/>
                <a:gd name="connsiteY0" fmla="*/ 0 h 1327111"/>
                <a:gd name="connsiteX1" fmla="*/ 183674 w 183674"/>
                <a:gd name="connsiteY1" fmla="*/ 109268 h 1327111"/>
                <a:gd name="connsiteX2" fmla="*/ 177924 w 183674"/>
                <a:gd name="connsiteY2" fmla="*/ 1235095 h 1327111"/>
                <a:gd name="connsiteX3" fmla="*/ 0 w 183674"/>
                <a:gd name="connsiteY3" fmla="*/ 1327111 h 1327111"/>
                <a:gd name="connsiteX4" fmla="*/ 0 w 183674"/>
                <a:gd name="connsiteY4" fmla="*/ 0 h 1327111"/>
                <a:gd name="connsiteX0" fmla="*/ 0 w 184227"/>
                <a:gd name="connsiteY0" fmla="*/ 0 h 1327111"/>
                <a:gd name="connsiteX1" fmla="*/ 183674 w 184227"/>
                <a:gd name="connsiteY1" fmla="*/ 109268 h 1327111"/>
                <a:gd name="connsiteX2" fmla="*/ 183674 w 184227"/>
                <a:gd name="connsiteY2" fmla="*/ 1206341 h 1327111"/>
                <a:gd name="connsiteX3" fmla="*/ 0 w 184227"/>
                <a:gd name="connsiteY3" fmla="*/ 1327111 h 1327111"/>
                <a:gd name="connsiteX4" fmla="*/ 0 w 184227"/>
                <a:gd name="connsiteY4" fmla="*/ 0 h 1327111"/>
                <a:gd name="connsiteX0" fmla="*/ 0 w 195342"/>
                <a:gd name="connsiteY0" fmla="*/ 0 h 1327111"/>
                <a:gd name="connsiteX1" fmla="*/ 183674 w 195342"/>
                <a:gd name="connsiteY1" fmla="*/ 109268 h 1327111"/>
                <a:gd name="connsiteX2" fmla="*/ 195176 w 195342"/>
                <a:gd name="connsiteY2" fmla="*/ 1171835 h 1327111"/>
                <a:gd name="connsiteX3" fmla="*/ 0 w 195342"/>
                <a:gd name="connsiteY3" fmla="*/ 1327111 h 1327111"/>
                <a:gd name="connsiteX4" fmla="*/ 0 w 195342"/>
                <a:gd name="connsiteY4" fmla="*/ 0 h 1327111"/>
                <a:gd name="connsiteX0" fmla="*/ 0 w 183674"/>
                <a:gd name="connsiteY0" fmla="*/ 0 h 1327111"/>
                <a:gd name="connsiteX1" fmla="*/ 183674 w 183674"/>
                <a:gd name="connsiteY1" fmla="*/ 109268 h 1327111"/>
                <a:gd name="connsiteX2" fmla="*/ 177924 w 183674"/>
                <a:gd name="connsiteY2" fmla="*/ 1166084 h 1327111"/>
                <a:gd name="connsiteX3" fmla="*/ 0 w 183674"/>
                <a:gd name="connsiteY3" fmla="*/ 1327111 h 1327111"/>
                <a:gd name="connsiteX4" fmla="*/ 0 w 183674"/>
                <a:gd name="connsiteY4" fmla="*/ 0 h 1327111"/>
                <a:gd name="connsiteX0" fmla="*/ 0 w 183674"/>
                <a:gd name="connsiteY0" fmla="*/ 0 h 1327111"/>
                <a:gd name="connsiteX1" fmla="*/ 183674 w 183674"/>
                <a:gd name="connsiteY1" fmla="*/ 109268 h 1327111"/>
                <a:gd name="connsiteX2" fmla="*/ 177924 w 183674"/>
                <a:gd name="connsiteY2" fmla="*/ 1166084 h 1327111"/>
                <a:gd name="connsiteX3" fmla="*/ 0 w 183674"/>
                <a:gd name="connsiteY3" fmla="*/ 1327111 h 1327111"/>
                <a:gd name="connsiteX4" fmla="*/ 0 w 183674"/>
                <a:gd name="connsiteY4" fmla="*/ 0 h 1327111"/>
                <a:gd name="connsiteX0" fmla="*/ 0 w 183862"/>
                <a:gd name="connsiteY0" fmla="*/ 0 h 1327111"/>
                <a:gd name="connsiteX1" fmla="*/ 183674 w 183862"/>
                <a:gd name="connsiteY1" fmla="*/ 109268 h 1327111"/>
                <a:gd name="connsiteX2" fmla="*/ 183256 w 183862"/>
                <a:gd name="connsiteY2" fmla="*/ 1155420 h 1327111"/>
                <a:gd name="connsiteX3" fmla="*/ 0 w 183862"/>
                <a:gd name="connsiteY3" fmla="*/ 1327111 h 1327111"/>
                <a:gd name="connsiteX4" fmla="*/ 0 w 183862"/>
                <a:gd name="connsiteY4" fmla="*/ 0 h 1327111"/>
                <a:gd name="connsiteX0" fmla="*/ 0 w 183862"/>
                <a:gd name="connsiteY0" fmla="*/ 0 h 1327111"/>
                <a:gd name="connsiteX1" fmla="*/ 183674 w 183862"/>
                <a:gd name="connsiteY1" fmla="*/ 109268 h 1327111"/>
                <a:gd name="connsiteX2" fmla="*/ 183256 w 183862"/>
                <a:gd name="connsiteY2" fmla="*/ 1155420 h 1327111"/>
                <a:gd name="connsiteX3" fmla="*/ 0 w 183862"/>
                <a:gd name="connsiteY3" fmla="*/ 1327111 h 1327111"/>
                <a:gd name="connsiteX4" fmla="*/ 0 w 183862"/>
                <a:gd name="connsiteY4" fmla="*/ 0 h 1327111"/>
                <a:gd name="connsiteX0" fmla="*/ 0 w 186340"/>
                <a:gd name="connsiteY0" fmla="*/ 0 h 1327111"/>
                <a:gd name="connsiteX1" fmla="*/ 186340 w 186340"/>
                <a:gd name="connsiteY1" fmla="*/ 109268 h 1327111"/>
                <a:gd name="connsiteX2" fmla="*/ 183256 w 186340"/>
                <a:gd name="connsiteY2" fmla="*/ 1155420 h 1327111"/>
                <a:gd name="connsiteX3" fmla="*/ 0 w 186340"/>
                <a:gd name="connsiteY3" fmla="*/ 1327111 h 1327111"/>
                <a:gd name="connsiteX4" fmla="*/ 0 w 186340"/>
                <a:gd name="connsiteY4" fmla="*/ 0 h 1327111"/>
                <a:gd name="connsiteX0" fmla="*/ 0 w 183634"/>
                <a:gd name="connsiteY0" fmla="*/ 0 h 1327111"/>
                <a:gd name="connsiteX1" fmla="*/ 181008 w 183634"/>
                <a:gd name="connsiteY1" fmla="*/ 109268 h 1327111"/>
                <a:gd name="connsiteX2" fmla="*/ 183256 w 183634"/>
                <a:gd name="connsiteY2" fmla="*/ 1155420 h 1327111"/>
                <a:gd name="connsiteX3" fmla="*/ 0 w 183634"/>
                <a:gd name="connsiteY3" fmla="*/ 1327111 h 1327111"/>
                <a:gd name="connsiteX4" fmla="*/ 0 w 183634"/>
                <a:gd name="connsiteY4" fmla="*/ 0 h 13271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3634" h="1327111">
                  <a:moveTo>
                    <a:pt x="0" y="0"/>
                  </a:moveTo>
                  <a:lnTo>
                    <a:pt x="181008" y="109268"/>
                  </a:lnTo>
                  <a:cubicBezTo>
                    <a:pt x="179091" y="484544"/>
                    <a:pt x="185173" y="780144"/>
                    <a:pt x="183256" y="1155420"/>
                  </a:cubicBezTo>
                  <a:lnTo>
                    <a:pt x="0" y="1327111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9050" cap="flat">
              <a:solidFill>
                <a:schemeClr val="tx1">
                  <a:lumMod val="95000"/>
                  <a:lumOff val="5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900"/>
                </a:spcBef>
              </a:pPr>
              <a:endParaRPr lang="en-US" sz="1400" dirty="0" err="1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grpSp>
          <p:nvGrpSpPr>
            <p:cNvPr id="34" name="Group 33">
              <a:extLst>
                <a:ext uri="{FF2B5EF4-FFF2-40B4-BE49-F238E27FC236}">
                  <a16:creationId xmlns="" xmlns:a16="http://schemas.microsoft.com/office/drawing/2014/main" id="{80F2915E-C8EB-4250-9677-D997F58BC12D}"/>
                </a:ext>
              </a:extLst>
            </p:cNvPr>
            <p:cNvGrpSpPr/>
            <p:nvPr/>
          </p:nvGrpSpPr>
          <p:grpSpPr>
            <a:xfrm>
              <a:off x="6336382" y="2789006"/>
              <a:ext cx="299016" cy="165876"/>
              <a:chOff x="6336382" y="2789006"/>
              <a:chExt cx="299016" cy="165876"/>
            </a:xfrm>
            <a:grpFill/>
          </p:grpSpPr>
          <p:sp>
            <p:nvSpPr>
              <p:cNvPr id="58" name="Rectangle 57">
                <a:extLst>
                  <a:ext uri="{FF2B5EF4-FFF2-40B4-BE49-F238E27FC236}">
                    <a16:creationId xmlns="" xmlns:a16="http://schemas.microsoft.com/office/drawing/2014/main" id="{AA524693-507E-48A7-AE1A-1CCE6A54902B}"/>
                  </a:ext>
                </a:extLst>
              </p:cNvPr>
              <p:cNvSpPr/>
              <p:nvPr/>
            </p:nvSpPr>
            <p:spPr>
              <a:xfrm rot="10800000">
                <a:off x="6367418" y="2909163"/>
                <a:ext cx="36000" cy="45719"/>
              </a:xfrm>
              <a:prstGeom prst="rect">
                <a:avLst/>
              </a:prstGeom>
              <a:grpFill/>
              <a:ln w="19050" cap="flat">
                <a:solidFill>
                  <a:schemeClr val="tx1">
                    <a:lumMod val="95000"/>
                    <a:lumOff val="5000"/>
                  </a:schemeClr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  <a:spcBef>
                    <a:spcPts val="900"/>
                  </a:spcBef>
                </a:pPr>
                <a:endParaRPr lang="en-US" sz="1400" dirty="0" err="1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59" name="Rectangle 58">
                <a:extLst>
                  <a:ext uri="{FF2B5EF4-FFF2-40B4-BE49-F238E27FC236}">
                    <a16:creationId xmlns="" xmlns:a16="http://schemas.microsoft.com/office/drawing/2014/main" id="{9DEF82B4-5EB7-4C3D-8BFE-63EB982A4D18}"/>
                  </a:ext>
                </a:extLst>
              </p:cNvPr>
              <p:cNvSpPr/>
              <p:nvPr/>
            </p:nvSpPr>
            <p:spPr>
              <a:xfrm rot="10800000">
                <a:off x="6572166" y="2909163"/>
                <a:ext cx="36000" cy="45719"/>
              </a:xfrm>
              <a:prstGeom prst="rect">
                <a:avLst/>
              </a:prstGeom>
              <a:grpFill/>
              <a:ln w="19050" cap="flat">
                <a:solidFill>
                  <a:schemeClr val="tx1">
                    <a:lumMod val="95000"/>
                    <a:lumOff val="5000"/>
                  </a:schemeClr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  <a:spcBef>
                    <a:spcPts val="900"/>
                  </a:spcBef>
                </a:pPr>
                <a:endParaRPr lang="en-US" sz="1400" dirty="0" err="1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60" name="Rectangle 59">
                <a:extLst>
                  <a:ext uri="{FF2B5EF4-FFF2-40B4-BE49-F238E27FC236}">
                    <a16:creationId xmlns="" xmlns:a16="http://schemas.microsoft.com/office/drawing/2014/main" id="{BED826EC-8375-4660-83DC-4D7FFA7E22F8}"/>
                  </a:ext>
                </a:extLst>
              </p:cNvPr>
              <p:cNvSpPr/>
              <p:nvPr/>
            </p:nvSpPr>
            <p:spPr>
              <a:xfrm rot="13500000">
                <a:off x="6337340" y="2844030"/>
                <a:ext cx="108000" cy="18000"/>
              </a:xfrm>
              <a:prstGeom prst="rect">
                <a:avLst/>
              </a:prstGeom>
              <a:grpFill/>
              <a:ln w="19050" cap="flat">
                <a:solidFill>
                  <a:schemeClr val="tx1">
                    <a:lumMod val="95000"/>
                    <a:lumOff val="5000"/>
                  </a:schemeClr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  <a:spcBef>
                    <a:spcPts val="900"/>
                  </a:spcBef>
                </a:pPr>
                <a:endParaRPr lang="en-US" sz="1400" dirty="0" err="1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61" name="Rectangle 60">
                <a:extLst>
                  <a:ext uri="{FF2B5EF4-FFF2-40B4-BE49-F238E27FC236}">
                    <a16:creationId xmlns="" xmlns:a16="http://schemas.microsoft.com/office/drawing/2014/main" id="{B10E7692-1BA1-4C5D-8F2A-12729A42544B}"/>
                  </a:ext>
                </a:extLst>
              </p:cNvPr>
              <p:cNvSpPr/>
              <p:nvPr/>
            </p:nvSpPr>
            <p:spPr>
              <a:xfrm rot="10800000">
                <a:off x="6337149" y="2889105"/>
                <a:ext cx="295583" cy="18000"/>
              </a:xfrm>
              <a:prstGeom prst="rect">
                <a:avLst/>
              </a:prstGeom>
              <a:grpFill/>
              <a:ln w="19050" cap="flat">
                <a:solidFill>
                  <a:schemeClr val="tx1">
                    <a:lumMod val="95000"/>
                    <a:lumOff val="5000"/>
                  </a:schemeClr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  <a:spcBef>
                    <a:spcPts val="900"/>
                  </a:spcBef>
                </a:pPr>
                <a:endParaRPr lang="en-US" sz="1400" dirty="0" err="1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62" name="Freeform: Shape 61">
                <a:extLst>
                  <a:ext uri="{FF2B5EF4-FFF2-40B4-BE49-F238E27FC236}">
                    <a16:creationId xmlns="" xmlns:a16="http://schemas.microsoft.com/office/drawing/2014/main" id="{49D496DB-9B7A-45FA-A46A-C69863AB6D0A}"/>
                  </a:ext>
                </a:extLst>
              </p:cNvPr>
              <p:cNvSpPr/>
              <p:nvPr/>
            </p:nvSpPr>
            <p:spPr>
              <a:xfrm>
                <a:off x="6360812" y="2789006"/>
                <a:ext cx="274586" cy="74645"/>
              </a:xfrm>
              <a:custGeom>
                <a:avLst/>
                <a:gdLst>
                  <a:gd name="connsiteX0" fmla="*/ 0 w 277252"/>
                  <a:gd name="connsiteY0" fmla="*/ 13330 h 74645"/>
                  <a:gd name="connsiteX1" fmla="*/ 85308 w 277252"/>
                  <a:gd name="connsiteY1" fmla="*/ 0 h 74645"/>
                  <a:gd name="connsiteX2" fmla="*/ 141292 w 277252"/>
                  <a:gd name="connsiteY2" fmla="*/ 74645 h 74645"/>
                  <a:gd name="connsiteX3" fmla="*/ 277252 w 277252"/>
                  <a:gd name="connsiteY3" fmla="*/ 74645 h 74645"/>
                  <a:gd name="connsiteX0" fmla="*/ 0 w 277252"/>
                  <a:gd name="connsiteY0" fmla="*/ 21327 h 82642"/>
                  <a:gd name="connsiteX1" fmla="*/ 85308 w 277252"/>
                  <a:gd name="connsiteY1" fmla="*/ 0 h 82642"/>
                  <a:gd name="connsiteX2" fmla="*/ 141292 w 277252"/>
                  <a:gd name="connsiteY2" fmla="*/ 82642 h 82642"/>
                  <a:gd name="connsiteX3" fmla="*/ 277252 w 277252"/>
                  <a:gd name="connsiteY3" fmla="*/ 82642 h 82642"/>
                  <a:gd name="connsiteX0" fmla="*/ 0 w 277252"/>
                  <a:gd name="connsiteY0" fmla="*/ 21327 h 82642"/>
                  <a:gd name="connsiteX1" fmla="*/ 85308 w 277252"/>
                  <a:gd name="connsiteY1" fmla="*/ 0 h 82642"/>
                  <a:gd name="connsiteX2" fmla="*/ 141292 w 277252"/>
                  <a:gd name="connsiteY2" fmla="*/ 82642 h 82642"/>
                  <a:gd name="connsiteX3" fmla="*/ 277252 w 277252"/>
                  <a:gd name="connsiteY3" fmla="*/ 82642 h 82642"/>
                  <a:gd name="connsiteX0" fmla="*/ 0 w 277252"/>
                  <a:gd name="connsiteY0" fmla="*/ 10664 h 71979"/>
                  <a:gd name="connsiteX1" fmla="*/ 93305 w 277252"/>
                  <a:gd name="connsiteY1" fmla="*/ 0 h 71979"/>
                  <a:gd name="connsiteX2" fmla="*/ 141292 w 277252"/>
                  <a:gd name="connsiteY2" fmla="*/ 71979 h 71979"/>
                  <a:gd name="connsiteX3" fmla="*/ 277252 w 277252"/>
                  <a:gd name="connsiteY3" fmla="*/ 71979 h 71979"/>
                  <a:gd name="connsiteX0" fmla="*/ 0 w 277252"/>
                  <a:gd name="connsiteY0" fmla="*/ 10664 h 71979"/>
                  <a:gd name="connsiteX1" fmla="*/ 87973 w 277252"/>
                  <a:gd name="connsiteY1" fmla="*/ 0 h 71979"/>
                  <a:gd name="connsiteX2" fmla="*/ 141292 w 277252"/>
                  <a:gd name="connsiteY2" fmla="*/ 71979 h 71979"/>
                  <a:gd name="connsiteX3" fmla="*/ 277252 w 277252"/>
                  <a:gd name="connsiteY3" fmla="*/ 71979 h 71979"/>
                  <a:gd name="connsiteX0" fmla="*/ 0 w 277252"/>
                  <a:gd name="connsiteY0" fmla="*/ 23994 h 85309"/>
                  <a:gd name="connsiteX1" fmla="*/ 74644 w 277252"/>
                  <a:gd name="connsiteY1" fmla="*/ 0 h 85309"/>
                  <a:gd name="connsiteX2" fmla="*/ 141292 w 277252"/>
                  <a:gd name="connsiteY2" fmla="*/ 85309 h 85309"/>
                  <a:gd name="connsiteX3" fmla="*/ 277252 w 277252"/>
                  <a:gd name="connsiteY3" fmla="*/ 85309 h 85309"/>
                  <a:gd name="connsiteX0" fmla="*/ 0 w 277252"/>
                  <a:gd name="connsiteY0" fmla="*/ 13330 h 74645"/>
                  <a:gd name="connsiteX1" fmla="*/ 71978 w 277252"/>
                  <a:gd name="connsiteY1" fmla="*/ 0 h 74645"/>
                  <a:gd name="connsiteX2" fmla="*/ 141292 w 277252"/>
                  <a:gd name="connsiteY2" fmla="*/ 74645 h 74645"/>
                  <a:gd name="connsiteX3" fmla="*/ 277252 w 277252"/>
                  <a:gd name="connsiteY3" fmla="*/ 74645 h 74645"/>
                  <a:gd name="connsiteX0" fmla="*/ 0 w 274586"/>
                  <a:gd name="connsiteY0" fmla="*/ 18662 h 74645"/>
                  <a:gd name="connsiteX1" fmla="*/ 69312 w 274586"/>
                  <a:gd name="connsiteY1" fmla="*/ 0 h 74645"/>
                  <a:gd name="connsiteX2" fmla="*/ 138626 w 274586"/>
                  <a:gd name="connsiteY2" fmla="*/ 74645 h 74645"/>
                  <a:gd name="connsiteX3" fmla="*/ 274586 w 274586"/>
                  <a:gd name="connsiteY3" fmla="*/ 74645 h 746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74586" h="74645">
                    <a:moveTo>
                      <a:pt x="0" y="18662"/>
                    </a:moveTo>
                    <a:lnTo>
                      <a:pt x="69312" y="0"/>
                    </a:lnTo>
                    <a:lnTo>
                      <a:pt x="138626" y="74645"/>
                    </a:lnTo>
                    <a:lnTo>
                      <a:pt x="274586" y="74645"/>
                    </a:lnTo>
                  </a:path>
                </a:pathLst>
              </a:custGeom>
              <a:grpFill/>
              <a:ln w="19050" cap="flat">
                <a:solidFill>
                  <a:schemeClr val="tx1">
                    <a:lumMod val="95000"/>
                    <a:lumOff val="5000"/>
                  </a:schemeClr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rgbClr val="000000"/>
                  </a:solidFill>
                </a:endParaRPr>
              </a:p>
            </p:txBody>
          </p:sp>
          <p:cxnSp>
            <p:nvCxnSpPr>
              <p:cNvPr id="63" name="Straight Connector 62">
                <a:extLst>
                  <a:ext uri="{FF2B5EF4-FFF2-40B4-BE49-F238E27FC236}">
                    <a16:creationId xmlns="" xmlns:a16="http://schemas.microsoft.com/office/drawing/2014/main" id="{F18C2792-1DA5-4B0E-87CD-8BCED7107E20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6336382" y="2864107"/>
                <a:ext cx="56085" cy="22111"/>
              </a:xfrm>
              <a:prstGeom prst="line">
                <a:avLst/>
              </a:prstGeom>
              <a:grpFill/>
              <a:ln w="19050" cap="flat">
                <a:solidFill>
                  <a:schemeClr val="tx1">
                    <a:lumMod val="95000"/>
                    <a:lumOff val="5000"/>
                  </a:schemeClr>
                </a:solidFill>
                <a:miter lim="800000"/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64" name="Freeform: Shape 63">
                <a:extLst>
                  <a:ext uri="{FF2B5EF4-FFF2-40B4-BE49-F238E27FC236}">
                    <a16:creationId xmlns="" xmlns:a16="http://schemas.microsoft.com/office/drawing/2014/main" id="{6B036019-5D56-4A20-836A-4EBAC89295F3}"/>
                  </a:ext>
                </a:extLst>
              </p:cNvPr>
              <p:cNvSpPr/>
              <p:nvPr/>
            </p:nvSpPr>
            <p:spPr>
              <a:xfrm>
                <a:off x="6358328" y="2790711"/>
                <a:ext cx="139908" cy="94938"/>
              </a:xfrm>
              <a:custGeom>
                <a:avLst/>
                <a:gdLst>
                  <a:gd name="connsiteX0" fmla="*/ 0 w 139908"/>
                  <a:gd name="connsiteY0" fmla="*/ 14990 h 94938"/>
                  <a:gd name="connsiteX1" fmla="*/ 82446 w 139908"/>
                  <a:gd name="connsiteY1" fmla="*/ 94938 h 94938"/>
                  <a:gd name="connsiteX2" fmla="*/ 139908 w 139908"/>
                  <a:gd name="connsiteY2" fmla="*/ 69954 h 94938"/>
                  <a:gd name="connsiteX3" fmla="*/ 69954 w 139908"/>
                  <a:gd name="connsiteY3" fmla="*/ 0 h 94938"/>
                  <a:gd name="connsiteX4" fmla="*/ 0 w 139908"/>
                  <a:gd name="connsiteY4" fmla="*/ 14990 h 949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9908" h="94938">
                    <a:moveTo>
                      <a:pt x="0" y="14990"/>
                    </a:moveTo>
                    <a:lnTo>
                      <a:pt x="82446" y="94938"/>
                    </a:lnTo>
                    <a:lnTo>
                      <a:pt x="139908" y="69954"/>
                    </a:lnTo>
                    <a:lnTo>
                      <a:pt x="69954" y="0"/>
                    </a:lnTo>
                    <a:lnTo>
                      <a:pt x="0" y="14990"/>
                    </a:lnTo>
                    <a:close/>
                  </a:path>
                </a:pathLst>
              </a:custGeom>
              <a:grpFill/>
              <a:ln w="19050" cap="flat">
                <a:solidFill>
                  <a:schemeClr val="tx1">
                    <a:lumMod val="95000"/>
                    <a:lumOff val="5000"/>
                  </a:schemeClr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  <a:spcBef>
                    <a:spcPts val="900"/>
                  </a:spcBef>
                </a:pPr>
                <a:endParaRPr lang="en-US" sz="1400" dirty="0" err="1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</p:grpSp>
        <p:sp>
          <p:nvSpPr>
            <p:cNvPr id="35" name="Freeform: Shape 34">
              <a:extLst>
                <a:ext uri="{FF2B5EF4-FFF2-40B4-BE49-F238E27FC236}">
                  <a16:creationId xmlns="" xmlns:a16="http://schemas.microsoft.com/office/drawing/2014/main" id="{2AAE01ED-73DB-4CF8-8226-4A709FD52D70}"/>
                </a:ext>
              </a:extLst>
            </p:cNvPr>
            <p:cNvSpPr/>
            <p:nvPr/>
          </p:nvSpPr>
          <p:spPr>
            <a:xfrm>
              <a:off x="7591567" y="2707985"/>
              <a:ext cx="1293125" cy="259308"/>
            </a:xfrm>
            <a:custGeom>
              <a:avLst/>
              <a:gdLst>
                <a:gd name="connsiteX0" fmla="*/ 0 w 1115705"/>
                <a:gd name="connsiteY0" fmla="*/ 0 h 174009"/>
                <a:gd name="connsiteX1" fmla="*/ 61415 w 1115705"/>
                <a:gd name="connsiteY1" fmla="*/ 23883 h 174009"/>
                <a:gd name="connsiteX2" fmla="*/ 116006 w 1115705"/>
                <a:gd name="connsiteY2" fmla="*/ 20471 h 174009"/>
                <a:gd name="connsiteX3" fmla="*/ 170597 w 1115705"/>
                <a:gd name="connsiteY3" fmla="*/ 6824 h 174009"/>
                <a:gd name="connsiteX4" fmla="*/ 242248 w 1115705"/>
                <a:gd name="connsiteY4" fmla="*/ 68239 h 174009"/>
                <a:gd name="connsiteX5" fmla="*/ 313899 w 1115705"/>
                <a:gd name="connsiteY5" fmla="*/ 64827 h 174009"/>
                <a:gd name="connsiteX6" fmla="*/ 440140 w 1115705"/>
                <a:gd name="connsiteY6" fmla="*/ 64827 h 174009"/>
                <a:gd name="connsiteX7" fmla="*/ 457200 w 1115705"/>
                <a:gd name="connsiteY7" fmla="*/ 122830 h 174009"/>
                <a:gd name="connsiteX8" fmla="*/ 624385 w 1115705"/>
                <a:gd name="connsiteY8" fmla="*/ 133065 h 174009"/>
                <a:gd name="connsiteX9" fmla="*/ 699448 w 1115705"/>
                <a:gd name="connsiteY9" fmla="*/ 95534 h 174009"/>
                <a:gd name="connsiteX10" fmla="*/ 801806 w 1115705"/>
                <a:gd name="connsiteY10" fmla="*/ 112594 h 174009"/>
                <a:gd name="connsiteX11" fmla="*/ 887105 w 1115705"/>
                <a:gd name="connsiteY11" fmla="*/ 174009 h 174009"/>
                <a:gd name="connsiteX12" fmla="*/ 941696 w 1115705"/>
                <a:gd name="connsiteY12" fmla="*/ 122830 h 174009"/>
                <a:gd name="connsiteX13" fmla="*/ 1030406 w 1115705"/>
                <a:gd name="connsiteY13" fmla="*/ 58003 h 174009"/>
                <a:gd name="connsiteX14" fmla="*/ 1115705 w 1115705"/>
                <a:gd name="connsiteY14" fmla="*/ 44355 h 174009"/>
                <a:gd name="connsiteX0" fmla="*/ 0 w 1115705"/>
                <a:gd name="connsiteY0" fmla="*/ 0 h 174009"/>
                <a:gd name="connsiteX1" fmla="*/ 61415 w 1115705"/>
                <a:gd name="connsiteY1" fmla="*/ 23883 h 174009"/>
                <a:gd name="connsiteX2" fmla="*/ 116006 w 1115705"/>
                <a:gd name="connsiteY2" fmla="*/ 20471 h 174009"/>
                <a:gd name="connsiteX3" fmla="*/ 170597 w 1115705"/>
                <a:gd name="connsiteY3" fmla="*/ 6824 h 174009"/>
                <a:gd name="connsiteX4" fmla="*/ 242248 w 1115705"/>
                <a:gd name="connsiteY4" fmla="*/ 68239 h 174009"/>
                <a:gd name="connsiteX5" fmla="*/ 313899 w 1115705"/>
                <a:gd name="connsiteY5" fmla="*/ 64827 h 174009"/>
                <a:gd name="connsiteX6" fmla="*/ 440140 w 1115705"/>
                <a:gd name="connsiteY6" fmla="*/ 64827 h 174009"/>
                <a:gd name="connsiteX7" fmla="*/ 457200 w 1115705"/>
                <a:gd name="connsiteY7" fmla="*/ 122830 h 174009"/>
                <a:gd name="connsiteX8" fmla="*/ 624385 w 1115705"/>
                <a:gd name="connsiteY8" fmla="*/ 133065 h 174009"/>
                <a:gd name="connsiteX9" fmla="*/ 699448 w 1115705"/>
                <a:gd name="connsiteY9" fmla="*/ 95534 h 174009"/>
                <a:gd name="connsiteX10" fmla="*/ 801806 w 1115705"/>
                <a:gd name="connsiteY10" fmla="*/ 112594 h 174009"/>
                <a:gd name="connsiteX11" fmla="*/ 887105 w 1115705"/>
                <a:gd name="connsiteY11" fmla="*/ 174009 h 174009"/>
                <a:gd name="connsiteX12" fmla="*/ 941696 w 1115705"/>
                <a:gd name="connsiteY12" fmla="*/ 122830 h 174009"/>
                <a:gd name="connsiteX13" fmla="*/ 989463 w 1115705"/>
                <a:gd name="connsiteY13" fmla="*/ 78474 h 174009"/>
                <a:gd name="connsiteX14" fmla="*/ 1030406 w 1115705"/>
                <a:gd name="connsiteY14" fmla="*/ 58003 h 174009"/>
                <a:gd name="connsiteX15" fmla="*/ 1115705 w 1115705"/>
                <a:gd name="connsiteY15" fmla="*/ 44355 h 174009"/>
                <a:gd name="connsiteX0" fmla="*/ 0 w 1115705"/>
                <a:gd name="connsiteY0" fmla="*/ 0 h 174009"/>
                <a:gd name="connsiteX1" fmla="*/ 61415 w 1115705"/>
                <a:gd name="connsiteY1" fmla="*/ 23883 h 174009"/>
                <a:gd name="connsiteX2" fmla="*/ 116006 w 1115705"/>
                <a:gd name="connsiteY2" fmla="*/ 20471 h 174009"/>
                <a:gd name="connsiteX3" fmla="*/ 170597 w 1115705"/>
                <a:gd name="connsiteY3" fmla="*/ 6824 h 174009"/>
                <a:gd name="connsiteX4" fmla="*/ 242248 w 1115705"/>
                <a:gd name="connsiteY4" fmla="*/ 68239 h 174009"/>
                <a:gd name="connsiteX5" fmla="*/ 313899 w 1115705"/>
                <a:gd name="connsiteY5" fmla="*/ 64827 h 174009"/>
                <a:gd name="connsiteX6" fmla="*/ 440140 w 1115705"/>
                <a:gd name="connsiteY6" fmla="*/ 64827 h 174009"/>
                <a:gd name="connsiteX7" fmla="*/ 457200 w 1115705"/>
                <a:gd name="connsiteY7" fmla="*/ 122830 h 174009"/>
                <a:gd name="connsiteX8" fmla="*/ 624385 w 1115705"/>
                <a:gd name="connsiteY8" fmla="*/ 133065 h 174009"/>
                <a:gd name="connsiteX9" fmla="*/ 699448 w 1115705"/>
                <a:gd name="connsiteY9" fmla="*/ 95534 h 174009"/>
                <a:gd name="connsiteX10" fmla="*/ 801806 w 1115705"/>
                <a:gd name="connsiteY10" fmla="*/ 112594 h 174009"/>
                <a:gd name="connsiteX11" fmla="*/ 887105 w 1115705"/>
                <a:gd name="connsiteY11" fmla="*/ 174009 h 174009"/>
                <a:gd name="connsiteX12" fmla="*/ 941696 w 1115705"/>
                <a:gd name="connsiteY12" fmla="*/ 122830 h 174009"/>
                <a:gd name="connsiteX13" fmla="*/ 996287 w 1115705"/>
                <a:gd name="connsiteY13" fmla="*/ 98946 h 174009"/>
                <a:gd name="connsiteX14" fmla="*/ 1030406 w 1115705"/>
                <a:gd name="connsiteY14" fmla="*/ 58003 h 174009"/>
                <a:gd name="connsiteX15" fmla="*/ 1115705 w 1115705"/>
                <a:gd name="connsiteY15" fmla="*/ 44355 h 174009"/>
                <a:gd name="connsiteX0" fmla="*/ 0 w 1115705"/>
                <a:gd name="connsiteY0" fmla="*/ 0 h 174009"/>
                <a:gd name="connsiteX1" fmla="*/ 61415 w 1115705"/>
                <a:gd name="connsiteY1" fmla="*/ 23883 h 174009"/>
                <a:gd name="connsiteX2" fmla="*/ 116006 w 1115705"/>
                <a:gd name="connsiteY2" fmla="*/ 20471 h 174009"/>
                <a:gd name="connsiteX3" fmla="*/ 170597 w 1115705"/>
                <a:gd name="connsiteY3" fmla="*/ 6824 h 174009"/>
                <a:gd name="connsiteX4" fmla="*/ 242248 w 1115705"/>
                <a:gd name="connsiteY4" fmla="*/ 68239 h 174009"/>
                <a:gd name="connsiteX5" fmla="*/ 313899 w 1115705"/>
                <a:gd name="connsiteY5" fmla="*/ 64827 h 174009"/>
                <a:gd name="connsiteX6" fmla="*/ 440140 w 1115705"/>
                <a:gd name="connsiteY6" fmla="*/ 64827 h 174009"/>
                <a:gd name="connsiteX7" fmla="*/ 457200 w 1115705"/>
                <a:gd name="connsiteY7" fmla="*/ 122830 h 174009"/>
                <a:gd name="connsiteX8" fmla="*/ 552734 w 1115705"/>
                <a:gd name="connsiteY8" fmla="*/ 126242 h 174009"/>
                <a:gd name="connsiteX9" fmla="*/ 624385 w 1115705"/>
                <a:gd name="connsiteY9" fmla="*/ 133065 h 174009"/>
                <a:gd name="connsiteX10" fmla="*/ 699448 w 1115705"/>
                <a:gd name="connsiteY10" fmla="*/ 95534 h 174009"/>
                <a:gd name="connsiteX11" fmla="*/ 801806 w 1115705"/>
                <a:gd name="connsiteY11" fmla="*/ 112594 h 174009"/>
                <a:gd name="connsiteX12" fmla="*/ 887105 w 1115705"/>
                <a:gd name="connsiteY12" fmla="*/ 174009 h 174009"/>
                <a:gd name="connsiteX13" fmla="*/ 941696 w 1115705"/>
                <a:gd name="connsiteY13" fmla="*/ 122830 h 174009"/>
                <a:gd name="connsiteX14" fmla="*/ 996287 w 1115705"/>
                <a:gd name="connsiteY14" fmla="*/ 98946 h 174009"/>
                <a:gd name="connsiteX15" fmla="*/ 1030406 w 1115705"/>
                <a:gd name="connsiteY15" fmla="*/ 58003 h 174009"/>
                <a:gd name="connsiteX16" fmla="*/ 1115705 w 1115705"/>
                <a:gd name="connsiteY16" fmla="*/ 44355 h 174009"/>
                <a:gd name="connsiteX0" fmla="*/ 0 w 1115705"/>
                <a:gd name="connsiteY0" fmla="*/ 0 h 174009"/>
                <a:gd name="connsiteX1" fmla="*/ 61415 w 1115705"/>
                <a:gd name="connsiteY1" fmla="*/ 23883 h 174009"/>
                <a:gd name="connsiteX2" fmla="*/ 116006 w 1115705"/>
                <a:gd name="connsiteY2" fmla="*/ 20471 h 174009"/>
                <a:gd name="connsiteX3" fmla="*/ 170597 w 1115705"/>
                <a:gd name="connsiteY3" fmla="*/ 6824 h 174009"/>
                <a:gd name="connsiteX4" fmla="*/ 242248 w 1115705"/>
                <a:gd name="connsiteY4" fmla="*/ 68239 h 174009"/>
                <a:gd name="connsiteX5" fmla="*/ 313899 w 1115705"/>
                <a:gd name="connsiteY5" fmla="*/ 64827 h 174009"/>
                <a:gd name="connsiteX6" fmla="*/ 440140 w 1115705"/>
                <a:gd name="connsiteY6" fmla="*/ 64827 h 174009"/>
                <a:gd name="connsiteX7" fmla="*/ 457200 w 1115705"/>
                <a:gd name="connsiteY7" fmla="*/ 122830 h 174009"/>
                <a:gd name="connsiteX8" fmla="*/ 552734 w 1115705"/>
                <a:gd name="connsiteY8" fmla="*/ 102358 h 174009"/>
                <a:gd name="connsiteX9" fmla="*/ 624385 w 1115705"/>
                <a:gd name="connsiteY9" fmla="*/ 133065 h 174009"/>
                <a:gd name="connsiteX10" fmla="*/ 699448 w 1115705"/>
                <a:gd name="connsiteY10" fmla="*/ 95534 h 174009"/>
                <a:gd name="connsiteX11" fmla="*/ 801806 w 1115705"/>
                <a:gd name="connsiteY11" fmla="*/ 112594 h 174009"/>
                <a:gd name="connsiteX12" fmla="*/ 887105 w 1115705"/>
                <a:gd name="connsiteY12" fmla="*/ 174009 h 174009"/>
                <a:gd name="connsiteX13" fmla="*/ 941696 w 1115705"/>
                <a:gd name="connsiteY13" fmla="*/ 122830 h 174009"/>
                <a:gd name="connsiteX14" fmla="*/ 996287 w 1115705"/>
                <a:gd name="connsiteY14" fmla="*/ 98946 h 174009"/>
                <a:gd name="connsiteX15" fmla="*/ 1030406 w 1115705"/>
                <a:gd name="connsiteY15" fmla="*/ 58003 h 174009"/>
                <a:gd name="connsiteX16" fmla="*/ 1115705 w 1115705"/>
                <a:gd name="connsiteY16" fmla="*/ 44355 h 174009"/>
                <a:gd name="connsiteX0" fmla="*/ 0 w 1180531"/>
                <a:gd name="connsiteY0" fmla="*/ 54591 h 228600"/>
                <a:gd name="connsiteX1" fmla="*/ 61415 w 1180531"/>
                <a:gd name="connsiteY1" fmla="*/ 78474 h 228600"/>
                <a:gd name="connsiteX2" fmla="*/ 116006 w 1180531"/>
                <a:gd name="connsiteY2" fmla="*/ 75062 h 228600"/>
                <a:gd name="connsiteX3" fmla="*/ 170597 w 1180531"/>
                <a:gd name="connsiteY3" fmla="*/ 61415 h 228600"/>
                <a:gd name="connsiteX4" fmla="*/ 242248 w 1180531"/>
                <a:gd name="connsiteY4" fmla="*/ 122830 h 228600"/>
                <a:gd name="connsiteX5" fmla="*/ 313899 w 1180531"/>
                <a:gd name="connsiteY5" fmla="*/ 119418 h 228600"/>
                <a:gd name="connsiteX6" fmla="*/ 440140 w 1180531"/>
                <a:gd name="connsiteY6" fmla="*/ 119418 h 228600"/>
                <a:gd name="connsiteX7" fmla="*/ 457200 w 1180531"/>
                <a:gd name="connsiteY7" fmla="*/ 177421 h 228600"/>
                <a:gd name="connsiteX8" fmla="*/ 552734 w 1180531"/>
                <a:gd name="connsiteY8" fmla="*/ 156949 h 228600"/>
                <a:gd name="connsiteX9" fmla="*/ 624385 w 1180531"/>
                <a:gd name="connsiteY9" fmla="*/ 187656 h 228600"/>
                <a:gd name="connsiteX10" fmla="*/ 699448 w 1180531"/>
                <a:gd name="connsiteY10" fmla="*/ 150125 h 228600"/>
                <a:gd name="connsiteX11" fmla="*/ 801806 w 1180531"/>
                <a:gd name="connsiteY11" fmla="*/ 167185 h 228600"/>
                <a:gd name="connsiteX12" fmla="*/ 887105 w 1180531"/>
                <a:gd name="connsiteY12" fmla="*/ 228600 h 228600"/>
                <a:gd name="connsiteX13" fmla="*/ 941696 w 1180531"/>
                <a:gd name="connsiteY13" fmla="*/ 177421 h 228600"/>
                <a:gd name="connsiteX14" fmla="*/ 996287 w 1180531"/>
                <a:gd name="connsiteY14" fmla="*/ 153537 h 228600"/>
                <a:gd name="connsiteX15" fmla="*/ 1030406 w 1180531"/>
                <a:gd name="connsiteY15" fmla="*/ 112594 h 228600"/>
                <a:gd name="connsiteX16" fmla="*/ 1180531 w 1180531"/>
                <a:gd name="connsiteY16" fmla="*/ 0 h 228600"/>
                <a:gd name="connsiteX0" fmla="*/ 0 w 1293125"/>
                <a:gd name="connsiteY0" fmla="*/ 85299 h 259308"/>
                <a:gd name="connsiteX1" fmla="*/ 61415 w 1293125"/>
                <a:gd name="connsiteY1" fmla="*/ 109182 h 259308"/>
                <a:gd name="connsiteX2" fmla="*/ 116006 w 1293125"/>
                <a:gd name="connsiteY2" fmla="*/ 105770 h 259308"/>
                <a:gd name="connsiteX3" fmla="*/ 170597 w 1293125"/>
                <a:gd name="connsiteY3" fmla="*/ 92123 h 259308"/>
                <a:gd name="connsiteX4" fmla="*/ 242248 w 1293125"/>
                <a:gd name="connsiteY4" fmla="*/ 153538 h 259308"/>
                <a:gd name="connsiteX5" fmla="*/ 313899 w 1293125"/>
                <a:gd name="connsiteY5" fmla="*/ 150126 h 259308"/>
                <a:gd name="connsiteX6" fmla="*/ 440140 w 1293125"/>
                <a:gd name="connsiteY6" fmla="*/ 150126 h 259308"/>
                <a:gd name="connsiteX7" fmla="*/ 457200 w 1293125"/>
                <a:gd name="connsiteY7" fmla="*/ 208129 h 259308"/>
                <a:gd name="connsiteX8" fmla="*/ 552734 w 1293125"/>
                <a:gd name="connsiteY8" fmla="*/ 187657 h 259308"/>
                <a:gd name="connsiteX9" fmla="*/ 624385 w 1293125"/>
                <a:gd name="connsiteY9" fmla="*/ 218364 h 259308"/>
                <a:gd name="connsiteX10" fmla="*/ 699448 w 1293125"/>
                <a:gd name="connsiteY10" fmla="*/ 180833 h 259308"/>
                <a:gd name="connsiteX11" fmla="*/ 801806 w 1293125"/>
                <a:gd name="connsiteY11" fmla="*/ 197893 h 259308"/>
                <a:gd name="connsiteX12" fmla="*/ 887105 w 1293125"/>
                <a:gd name="connsiteY12" fmla="*/ 259308 h 259308"/>
                <a:gd name="connsiteX13" fmla="*/ 941696 w 1293125"/>
                <a:gd name="connsiteY13" fmla="*/ 208129 h 259308"/>
                <a:gd name="connsiteX14" fmla="*/ 996287 w 1293125"/>
                <a:gd name="connsiteY14" fmla="*/ 184245 h 259308"/>
                <a:gd name="connsiteX15" fmla="*/ 1030406 w 1293125"/>
                <a:gd name="connsiteY15" fmla="*/ 143302 h 259308"/>
                <a:gd name="connsiteX16" fmla="*/ 1293125 w 1293125"/>
                <a:gd name="connsiteY16" fmla="*/ 0 h 259308"/>
                <a:gd name="connsiteX0" fmla="*/ 0 w 1293125"/>
                <a:gd name="connsiteY0" fmla="*/ 85299 h 259308"/>
                <a:gd name="connsiteX1" fmla="*/ 61415 w 1293125"/>
                <a:gd name="connsiteY1" fmla="*/ 109182 h 259308"/>
                <a:gd name="connsiteX2" fmla="*/ 116006 w 1293125"/>
                <a:gd name="connsiteY2" fmla="*/ 105770 h 259308"/>
                <a:gd name="connsiteX3" fmla="*/ 170597 w 1293125"/>
                <a:gd name="connsiteY3" fmla="*/ 92123 h 259308"/>
                <a:gd name="connsiteX4" fmla="*/ 242248 w 1293125"/>
                <a:gd name="connsiteY4" fmla="*/ 153538 h 259308"/>
                <a:gd name="connsiteX5" fmla="*/ 313899 w 1293125"/>
                <a:gd name="connsiteY5" fmla="*/ 150126 h 259308"/>
                <a:gd name="connsiteX6" fmla="*/ 440140 w 1293125"/>
                <a:gd name="connsiteY6" fmla="*/ 150126 h 259308"/>
                <a:gd name="connsiteX7" fmla="*/ 457200 w 1293125"/>
                <a:gd name="connsiteY7" fmla="*/ 208129 h 259308"/>
                <a:gd name="connsiteX8" fmla="*/ 552734 w 1293125"/>
                <a:gd name="connsiteY8" fmla="*/ 187657 h 259308"/>
                <a:gd name="connsiteX9" fmla="*/ 624385 w 1293125"/>
                <a:gd name="connsiteY9" fmla="*/ 218364 h 259308"/>
                <a:gd name="connsiteX10" fmla="*/ 699448 w 1293125"/>
                <a:gd name="connsiteY10" fmla="*/ 180833 h 259308"/>
                <a:gd name="connsiteX11" fmla="*/ 801806 w 1293125"/>
                <a:gd name="connsiteY11" fmla="*/ 197893 h 259308"/>
                <a:gd name="connsiteX12" fmla="*/ 887105 w 1293125"/>
                <a:gd name="connsiteY12" fmla="*/ 259308 h 259308"/>
                <a:gd name="connsiteX13" fmla="*/ 941696 w 1293125"/>
                <a:gd name="connsiteY13" fmla="*/ 208129 h 259308"/>
                <a:gd name="connsiteX14" fmla="*/ 996287 w 1293125"/>
                <a:gd name="connsiteY14" fmla="*/ 184245 h 259308"/>
                <a:gd name="connsiteX15" fmla="*/ 1030406 w 1293125"/>
                <a:gd name="connsiteY15" fmla="*/ 143302 h 259308"/>
                <a:gd name="connsiteX16" fmla="*/ 1166884 w 1293125"/>
                <a:gd name="connsiteY16" fmla="*/ 68239 h 259308"/>
                <a:gd name="connsiteX17" fmla="*/ 1293125 w 1293125"/>
                <a:gd name="connsiteY17" fmla="*/ 0 h 259308"/>
                <a:gd name="connsiteX0" fmla="*/ 0 w 1293125"/>
                <a:gd name="connsiteY0" fmla="*/ 85299 h 259308"/>
                <a:gd name="connsiteX1" fmla="*/ 61415 w 1293125"/>
                <a:gd name="connsiteY1" fmla="*/ 109182 h 259308"/>
                <a:gd name="connsiteX2" fmla="*/ 116006 w 1293125"/>
                <a:gd name="connsiteY2" fmla="*/ 105770 h 259308"/>
                <a:gd name="connsiteX3" fmla="*/ 170597 w 1293125"/>
                <a:gd name="connsiteY3" fmla="*/ 92123 h 259308"/>
                <a:gd name="connsiteX4" fmla="*/ 242248 w 1293125"/>
                <a:gd name="connsiteY4" fmla="*/ 153538 h 259308"/>
                <a:gd name="connsiteX5" fmla="*/ 313899 w 1293125"/>
                <a:gd name="connsiteY5" fmla="*/ 150126 h 259308"/>
                <a:gd name="connsiteX6" fmla="*/ 440140 w 1293125"/>
                <a:gd name="connsiteY6" fmla="*/ 150126 h 259308"/>
                <a:gd name="connsiteX7" fmla="*/ 457200 w 1293125"/>
                <a:gd name="connsiteY7" fmla="*/ 208129 h 259308"/>
                <a:gd name="connsiteX8" fmla="*/ 552734 w 1293125"/>
                <a:gd name="connsiteY8" fmla="*/ 187657 h 259308"/>
                <a:gd name="connsiteX9" fmla="*/ 624385 w 1293125"/>
                <a:gd name="connsiteY9" fmla="*/ 218364 h 259308"/>
                <a:gd name="connsiteX10" fmla="*/ 699448 w 1293125"/>
                <a:gd name="connsiteY10" fmla="*/ 180833 h 259308"/>
                <a:gd name="connsiteX11" fmla="*/ 801806 w 1293125"/>
                <a:gd name="connsiteY11" fmla="*/ 197893 h 259308"/>
                <a:gd name="connsiteX12" fmla="*/ 887105 w 1293125"/>
                <a:gd name="connsiteY12" fmla="*/ 259308 h 259308"/>
                <a:gd name="connsiteX13" fmla="*/ 941696 w 1293125"/>
                <a:gd name="connsiteY13" fmla="*/ 208129 h 259308"/>
                <a:gd name="connsiteX14" fmla="*/ 996287 w 1293125"/>
                <a:gd name="connsiteY14" fmla="*/ 184245 h 259308"/>
                <a:gd name="connsiteX15" fmla="*/ 1030406 w 1293125"/>
                <a:gd name="connsiteY15" fmla="*/ 143302 h 259308"/>
                <a:gd name="connsiteX16" fmla="*/ 1166884 w 1293125"/>
                <a:gd name="connsiteY16" fmla="*/ 0 h 259308"/>
                <a:gd name="connsiteX17" fmla="*/ 1293125 w 1293125"/>
                <a:gd name="connsiteY17" fmla="*/ 0 h 259308"/>
                <a:gd name="connsiteX0" fmla="*/ 0 w 1293125"/>
                <a:gd name="connsiteY0" fmla="*/ 85299 h 259308"/>
                <a:gd name="connsiteX1" fmla="*/ 61415 w 1293125"/>
                <a:gd name="connsiteY1" fmla="*/ 109182 h 259308"/>
                <a:gd name="connsiteX2" fmla="*/ 116006 w 1293125"/>
                <a:gd name="connsiteY2" fmla="*/ 105770 h 259308"/>
                <a:gd name="connsiteX3" fmla="*/ 170597 w 1293125"/>
                <a:gd name="connsiteY3" fmla="*/ 92123 h 259308"/>
                <a:gd name="connsiteX4" fmla="*/ 242248 w 1293125"/>
                <a:gd name="connsiteY4" fmla="*/ 153538 h 259308"/>
                <a:gd name="connsiteX5" fmla="*/ 313899 w 1293125"/>
                <a:gd name="connsiteY5" fmla="*/ 150126 h 259308"/>
                <a:gd name="connsiteX6" fmla="*/ 440140 w 1293125"/>
                <a:gd name="connsiteY6" fmla="*/ 150126 h 259308"/>
                <a:gd name="connsiteX7" fmla="*/ 457200 w 1293125"/>
                <a:gd name="connsiteY7" fmla="*/ 208129 h 259308"/>
                <a:gd name="connsiteX8" fmla="*/ 552734 w 1293125"/>
                <a:gd name="connsiteY8" fmla="*/ 187657 h 259308"/>
                <a:gd name="connsiteX9" fmla="*/ 624385 w 1293125"/>
                <a:gd name="connsiteY9" fmla="*/ 218364 h 259308"/>
                <a:gd name="connsiteX10" fmla="*/ 699448 w 1293125"/>
                <a:gd name="connsiteY10" fmla="*/ 180833 h 259308"/>
                <a:gd name="connsiteX11" fmla="*/ 801806 w 1293125"/>
                <a:gd name="connsiteY11" fmla="*/ 197893 h 259308"/>
                <a:gd name="connsiteX12" fmla="*/ 887105 w 1293125"/>
                <a:gd name="connsiteY12" fmla="*/ 259308 h 259308"/>
                <a:gd name="connsiteX13" fmla="*/ 941696 w 1293125"/>
                <a:gd name="connsiteY13" fmla="*/ 208129 h 259308"/>
                <a:gd name="connsiteX14" fmla="*/ 996287 w 1293125"/>
                <a:gd name="connsiteY14" fmla="*/ 184245 h 259308"/>
                <a:gd name="connsiteX15" fmla="*/ 1030406 w 1293125"/>
                <a:gd name="connsiteY15" fmla="*/ 143302 h 259308"/>
                <a:gd name="connsiteX16" fmla="*/ 1166884 w 1293125"/>
                <a:gd name="connsiteY16" fmla="*/ 0 h 259308"/>
                <a:gd name="connsiteX17" fmla="*/ 1231711 w 1293125"/>
                <a:gd name="connsiteY17" fmla="*/ 0 h 259308"/>
                <a:gd name="connsiteX18" fmla="*/ 1293125 w 1293125"/>
                <a:gd name="connsiteY18" fmla="*/ 0 h 259308"/>
                <a:gd name="connsiteX0" fmla="*/ 0 w 1293125"/>
                <a:gd name="connsiteY0" fmla="*/ 85299 h 259308"/>
                <a:gd name="connsiteX1" fmla="*/ 61415 w 1293125"/>
                <a:gd name="connsiteY1" fmla="*/ 109182 h 259308"/>
                <a:gd name="connsiteX2" fmla="*/ 116006 w 1293125"/>
                <a:gd name="connsiteY2" fmla="*/ 105770 h 259308"/>
                <a:gd name="connsiteX3" fmla="*/ 170597 w 1293125"/>
                <a:gd name="connsiteY3" fmla="*/ 92123 h 259308"/>
                <a:gd name="connsiteX4" fmla="*/ 242248 w 1293125"/>
                <a:gd name="connsiteY4" fmla="*/ 153538 h 259308"/>
                <a:gd name="connsiteX5" fmla="*/ 313899 w 1293125"/>
                <a:gd name="connsiteY5" fmla="*/ 150126 h 259308"/>
                <a:gd name="connsiteX6" fmla="*/ 440140 w 1293125"/>
                <a:gd name="connsiteY6" fmla="*/ 150126 h 259308"/>
                <a:gd name="connsiteX7" fmla="*/ 457200 w 1293125"/>
                <a:gd name="connsiteY7" fmla="*/ 208129 h 259308"/>
                <a:gd name="connsiteX8" fmla="*/ 552734 w 1293125"/>
                <a:gd name="connsiteY8" fmla="*/ 187657 h 259308"/>
                <a:gd name="connsiteX9" fmla="*/ 624385 w 1293125"/>
                <a:gd name="connsiteY9" fmla="*/ 218364 h 259308"/>
                <a:gd name="connsiteX10" fmla="*/ 699448 w 1293125"/>
                <a:gd name="connsiteY10" fmla="*/ 180833 h 259308"/>
                <a:gd name="connsiteX11" fmla="*/ 801806 w 1293125"/>
                <a:gd name="connsiteY11" fmla="*/ 197893 h 259308"/>
                <a:gd name="connsiteX12" fmla="*/ 887105 w 1293125"/>
                <a:gd name="connsiteY12" fmla="*/ 259308 h 259308"/>
                <a:gd name="connsiteX13" fmla="*/ 941696 w 1293125"/>
                <a:gd name="connsiteY13" fmla="*/ 208129 h 259308"/>
                <a:gd name="connsiteX14" fmla="*/ 996287 w 1293125"/>
                <a:gd name="connsiteY14" fmla="*/ 184245 h 259308"/>
                <a:gd name="connsiteX15" fmla="*/ 1030406 w 1293125"/>
                <a:gd name="connsiteY15" fmla="*/ 143302 h 259308"/>
                <a:gd name="connsiteX16" fmla="*/ 1166884 w 1293125"/>
                <a:gd name="connsiteY16" fmla="*/ 0 h 259308"/>
                <a:gd name="connsiteX17" fmla="*/ 1235123 w 1293125"/>
                <a:gd name="connsiteY17" fmla="*/ 37532 h 259308"/>
                <a:gd name="connsiteX18" fmla="*/ 1293125 w 1293125"/>
                <a:gd name="connsiteY18" fmla="*/ 0 h 259308"/>
                <a:gd name="connsiteX0" fmla="*/ 0 w 1293125"/>
                <a:gd name="connsiteY0" fmla="*/ 85299 h 259308"/>
                <a:gd name="connsiteX1" fmla="*/ 61415 w 1293125"/>
                <a:gd name="connsiteY1" fmla="*/ 109182 h 259308"/>
                <a:gd name="connsiteX2" fmla="*/ 116006 w 1293125"/>
                <a:gd name="connsiteY2" fmla="*/ 105770 h 259308"/>
                <a:gd name="connsiteX3" fmla="*/ 170597 w 1293125"/>
                <a:gd name="connsiteY3" fmla="*/ 92123 h 259308"/>
                <a:gd name="connsiteX4" fmla="*/ 242248 w 1293125"/>
                <a:gd name="connsiteY4" fmla="*/ 153538 h 259308"/>
                <a:gd name="connsiteX5" fmla="*/ 313899 w 1293125"/>
                <a:gd name="connsiteY5" fmla="*/ 150126 h 259308"/>
                <a:gd name="connsiteX6" fmla="*/ 440140 w 1293125"/>
                <a:gd name="connsiteY6" fmla="*/ 150126 h 259308"/>
                <a:gd name="connsiteX7" fmla="*/ 457200 w 1293125"/>
                <a:gd name="connsiteY7" fmla="*/ 208129 h 259308"/>
                <a:gd name="connsiteX8" fmla="*/ 552734 w 1293125"/>
                <a:gd name="connsiteY8" fmla="*/ 187657 h 259308"/>
                <a:gd name="connsiteX9" fmla="*/ 624385 w 1293125"/>
                <a:gd name="connsiteY9" fmla="*/ 218364 h 259308"/>
                <a:gd name="connsiteX10" fmla="*/ 699448 w 1293125"/>
                <a:gd name="connsiteY10" fmla="*/ 180833 h 259308"/>
                <a:gd name="connsiteX11" fmla="*/ 801806 w 1293125"/>
                <a:gd name="connsiteY11" fmla="*/ 197893 h 259308"/>
                <a:gd name="connsiteX12" fmla="*/ 887105 w 1293125"/>
                <a:gd name="connsiteY12" fmla="*/ 259308 h 259308"/>
                <a:gd name="connsiteX13" fmla="*/ 941696 w 1293125"/>
                <a:gd name="connsiteY13" fmla="*/ 208129 h 259308"/>
                <a:gd name="connsiteX14" fmla="*/ 996287 w 1293125"/>
                <a:gd name="connsiteY14" fmla="*/ 184245 h 259308"/>
                <a:gd name="connsiteX15" fmla="*/ 1030406 w 1293125"/>
                <a:gd name="connsiteY15" fmla="*/ 143302 h 259308"/>
                <a:gd name="connsiteX16" fmla="*/ 1102057 w 1293125"/>
                <a:gd name="connsiteY16" fmla="*/ 61415 h 259308"/>
                <a:gd name="connsiteX17" fmla="*/ 1166884 w 1293125"/>
                <a:gd name="connsiteY17" fmla="*/ 0 h 259308"/>
                <a:gd name="connsiteX18" fmla="*/ 1235123 w 1293125"/>
                <a:gd name="connsiteY18" fmla="*/ 37532 h 259308"/>
                <a:gd name="connsiteX19" fmla="*/ 1293125 w 1293125"/>
                <a:gd name="connsiteY19" fmla="*/ 0 h 259308"/>
                <a:gd name="connsiteX0" fmla="*/ 0 w 1293125"/>
                <a:gd name="connsiteY0" fmla="*/ 85299 h 259308"/>
                <a:gd name="connsiteX1" fmla="*/ 61415 w 1293125"/>
                <a:gd name="connsiteY1" fmla="*/ 109182 h 259308"/>
                <a:gd name="connsiteX2" fmla="*/ 116006 w 1293125"/>
                <a:gd name="connsiteY2" fmla="*/ 105770 h 259308"/>
                <a:gd name="connsiteX3" fmla="*/ 170597 w 1293125"/>
                <a:gd name="connsiteY3" fmla="*/ 92123 h 259308"/>
                <a:gd name="connsiteX4" fmla="*/ 242248 w 1293125"/>
                <a:gd name="connsiteY4" fmla="*/ 153538 h 259308"/>
                <a:gd name="connsiteX5" fmla="*/ 313899 w 1293125"/>
                <a:gd name="connsiteY5" fmla="*/ 150126 h 259308"/>
                <a:gd name="connsiteX6" fmla="*/ 440140 w 1293125"/>
                <a:gd name="connsiteY6" fmla="*/ 150126 h 259308"/>
                <a:gd name="connsiteX7" fmla="*/ 457200 w 1293125"/>
                <a:gd name="connsiteY7" fmla="*/ 208129 h 259308"/>
                <a:gd name="connsiteX8" fmla="*/ 552734 w 1293125"/>
                <a:gd name="connsiteY8" fmla="*/ 187657 h 259308"/>
                <a:gd name="connsiteX9" fmla="*/ 624385 w 1293125"/>
                <a:gd name="connsiteY9" fmla="*/ 218364 h 259308"/>
                <a:gd name="connsiteX10" fmla="*/ 699448 w 1293125"/>
                <a:gd name="connsiteY10" fmla="*/ 180833 h 259308"/>
                <a:gd name="connsiteX11" fmla="*/ 801806 w 1293125"/>
                <a:gd name="connsiteY11" fmla="*/ 197893 h 259308"/>
                <a:gd name="connsiteX12" fmla="*/ 887105 w 1293125"/>
                <a:gd name="connsiteY12" fmla="*/ 259308 h 259308"/>
                <a:gd name="connsiteX13" fmla="*/ 941696 w 1293125"/>
                <a:gd name="connsiteY13" fmla="*/ 208129 h 259308"/>
                <a:gd name="connsiteX14" fmla="*/ 996287 w 1293125"/>
                <a:gd name="connsiteY14" fmla="*/ 184245 h 259308"/>
                <a:gd name="connsiteX15" fmla="*/ 1030406 w 1293125"/>
                <a:gd name="connsiteY15" fmla="*/ 143302 h 259308"/>
                <a:gd name="connsiteX16" fmla="*/ 1074761 w 1293125"/>
                <a:gd name="connsiteY16" fmla="*/ 47768 h 259308"/>
                <a:gd name="connsiteX17" fmla="*/ 1166884 w 1293125"/>
                <a:gd name="connsiteY17" fmla="*/ 0 h 259308"/>
                <a:gd name="connsiteX18" fmla="*/ 1235123 w 1293125"/>
                <a:gd name="connsiteY18" fmla="*/ 37532 h 259308"/>
                <a:gd name="connsiteX19" fmla="*/ 1293125 w 1293125"/>
                <a:gd name="connsiteY19" fmla="*/ 0 h 2593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93125" h="259308">
                  <a:moveTo>
                    <a:pt x="0" y="85299"/>
                  </a:moveTo>
                  <a:lnTo>
                    <a:pt x="61415" y="109182"/>
                  </a:lnTo>
                  <a:lnTo>
                    <a:pt x="116006" y="105770"/>
                  </a:lnTo>
                  <a:lnTo>
                    <a:pt x="170597" y="92123"/>
                  </a:lnTo>
                  <a:lnTo>
                    <a:pt x="242248" y="153538"/>
                  </a:lnTo>
                  <a:lnTo>
                    <a:pt x="313899" y="150126"/>
                  </a:lnTo>
                  <a:lnTo>
                    <a:pt x="440140" y="150126"/>
                  </a:lnTo>
                  <a:lnTo>
                    <a:pt x="457200" y="208129"/>
                  </a:lnTo>
                  <a:lnTo>
                    <a:pt x="552734" y="187657"/>
                  </a:lnTo>
                  <a:lnTo>
                    <a:pt x="624385" y="218364"/>
                  </a:lnTo>
                  <a:lnTo>
                    <a:pt x="699448" y="180833"/>
                  </a:lnTo>
                  <a:lnTo>
                    <a:pt x="801806" y="197893"/>
                  </a:lnTo>
                  <a:lnTo>
                    <a:pt x="887105" y="259308"/>
                  </a:lnTo>
                  <a:lnTo>
                    <a:pt x="941696" y="208129"/>
                  </a:lnTo>
                  <a:lnTo>
                    <a:pt x="996287" y="184245"/>
                  </a:lnTo>
                  <a:lnTo>
                    <a:pt x="1030406" y="143302"/>
                  </a:lnTo>
                  <a:lnTo>
                    <a:pt x="1074761" y="47768"/>
                  </a:lnTo>
                  <a:lnTo>
                    <a:pt x="1166884" y="0"/>
                  </a:lnTo>
                  <a:lnTo>
                    <a:pt x="1235123" y="37532"/>
                  </a:lnTo>
                  <a:lnTo>
                    <a:pt x="1293125" y="0"/>
                  </a:lnTo>
                </a:path>
              </a:pathLst>
            </a:custGeom>
            <a:grpFill/>
            <a:ln w="19050" cap="flat">
              <a:solidFill>
                <a:schemeClr val="tx1">
                  <a:lumMod val="95000"/>
                  <a:lumOff val="5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="" xmlns:a16="http://schemas.microsoft.com/office/drawing/2014/main" id="{EB0432BD-A1AA-450B-817D-87CF9FC17B22}"/>
                </a:ext>
              </a:extLst>
            </p:cNvPr>
            <p:cNvSpPr/>
            <p:nvPr/>
          </p:nvSpPr>
          <p:spPr>
            <a:xfrm>
              <a:off x="8568444" y="2895642"/>
              <a:ext cx="319660" cy="457200"/>
            </a:xfrm>
            <a:custGeom>
              <a:avLst/>
              <a:gdLst>
                <a:gd name="connsiteX0" fmla="*/ 528850 w 528850"/>
                <a:gd name="connsiteY0" fmla="*/ 13648 h 457200"/>
                <a:gd name="connsiteX1" fmla="*/ 464024 w 528850"/>
                <a:gd name="connsiteY1" fmla="*/ 0 h 457200"/>
                <a:gd name="connsiteX2" fmla="*/ 416256 w 528850"/>
                <a:gd name="connsiteY2" fmla="*/ 68239 h 457200"/>
                <a:gd name="connsiteX3" fmla="*/ 423080 w 528850"/>
                <a:gd name="connsiteY3" fmla="*/ 167185 h 457200"/>
                <a:gd name="connsiteX4" fmla="*/ 286603 w 528850"/>
                <a:gd name="connsiteY4" fmla="*/ 170597 h 457200"/>
                <a:gd name="connsiteX5" fmla="*/ 208128 w 528850"/>
                <a:gd name="connsiteY5" fmla="*/ 180833 h 457200"/>
                <a:gd name="connsiteX6" fmla="*/ 133065 w 528850"/>
                <a:gd name="connsiteY6" fmla="*/ 300251 h 457200"/>
                <a:gd name="connsiteX7" fmla="*/ 37531 w 528850"/>
                <a:gd name="connsiteY7" fmla="*/ 296839 h 457200"/>
                <a:gd name="connsiteX8" fmla="*/ 23883 w 528850"/>
                <a:gd name="connsiteY8" fmla="*/ 365078 h 457200"/>
                <a:gd name="connsiteX9" fmla="*/ 17059 w 528850"/>
                <a:gd name="connsiteY9" fmla="*/ 433316 h 457200"/>
                <a:gd name="connsiteX10" fmla="*/ 0 w 528850"/>
                <a:gd name="connsiteY10" fmla="*/ 45720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28850" h="457200">
                  <a:moveTo>
                    <a:pt x="528850" y="13648"/>
                  </a:moveTo>
                  <a:lnTo>
                    <a:pt x="464024" y="0"/>
                  </a:lnTo>
                  <a:lnTo>
                    <a:pt x="416256" y="68239"/>
                  </a:lnTo>
                  <a:lnTo>
                    <a:pt x="423080" y="167185"/>
                  </a:lnTo>
                  <a:lnTo>
                    <a:pt x="286603" y="170597"/>
                  </a:lnTo>
                  <a:lnTo>
                    <a:pt x="208128" y="180833"/>
                  </a:lnTo>
                  <a:lnTo>
                    <a:pt x="133065" y="300251"/>
                  </a:lnTo>
                  <a:lnTo>
                    <a:pt x="37531" y="296839"/>
                  </a:lnTo>
                  <a:lnTo>
                    <a:pt x="23883" y="365078"/>
                  </a:lnTo>
                  <a:lnTo>
                    <a:pt x="17059" y="433316"/>
                  </a:lnTo>
                  <a:lnTo>
                    <a:pt x="0" y="457200"/>
                  </a:lnTo>
                </a:path>
              </a:pathLst>
            </a:custGeom>
            <a:grpFill/>
            <a:ln w="19050" cap="flat">
              <a:solidFill>
                <a:schemeClr val="tx1">
                  <a:lumMod val="95000"/>
                  <a:lumOff val="5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000000"/>
                </a:solidFill>
              </a:endParaRPr>
            </a:p>
          </p:txBody>
        </p:sp>
        <p:grpSp>
          <p:nvGrpSpPr>
            <p:cNvPr id="37" name="Group 36">
              <a:extLst>
                <a:ext uri="{FF2B5EF4-FFF2-40B4-BE49-F238E27FC236}">
                  <a16:creationId xmlns="" xmlns:a16="http://schemas.microsoft.com/office/drawing/2014/main" id="{EED0C4A0-B38B-46B7-8773-6770F8930667}"/>
                </a:ext>
              </a:extLst>
            </p:cNvPr>
            <p:cNvGrpSpPr/>
            <p:nvPr/>
          </p:nvGrpSpPr>
          <p:grpSpPr>
            <a:xfrm>
              <a:off x="6948263" y="2821945"/>
              <a:ext cx="1256431" cy="514885"/>
              <a:chOff x="6948263" y="2669503"/>
              <a:chExt cx="1256431" cy="514885"/>
            </a:xfrm>
            <a:grpFill/>
          </p:grpSpPr>
          <p:sp>
            <p:nvSpPr>
              <p:cNvPr id="56" name="Freeform: Shape 55">
                <a:extLst>
                  <a:ext uri="{FF2B5EF4-FFF2-40B4-BE49-F238E27FC236}">
                    <a16:creationId xmlns="" xmlns:a16="http://schemas.microsoft.com/office/drawing/2014/main" id="{A6C81853-0C89-4312-B83C-9CA0D81E3777}"/>
                  </a:ext>
                </a:extLst>
              </p:cNvPr>
              <p:cNvSpPr/>
              <p:nvPr/>
            </p:nvSpPr>
            <p:spPr>
              <a:xfrm>
                <a:off x="6948264" y="2669503"/>
                <a:ext cx="1256430" cy="514885"/>
              </a:xfrm>
              <a:custGeom>
                <a:avLst/>
                <a:gdLst>
                  <a:gd name="connsiteX0" fmla="*/ 0 w 1348940"/>
                  <a:gd name="connsiteY0" fmla="*/ 0 h 549173"/>
                  <a:gd name="connsiteX1" fmla="*/ 189278 w 1348940"/>
                  <a:gd name="connsiteY1" fmla="*/ 7997 h 549173"/>
                  <a:gd name="connsiteX2" fmla="*/ 1348940 w 1348940"/>
                  <a:gd name="connsiteY2" fmla="*/ 549173 h 5491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348940" h="549173">
                    <a:moveTo>
                      <a:pt x="0" y="0"/>
                    </a:moveTo>
                    <a:lnTo>
                      <a:pt x="189278" y="7997"/>
                    </a:lnTo>
                    <a:lnTo>
                      <a:pt x="1348940" y="549173"/>
                    </a:lnTo>
                  </a:path>
                </a:pathLst>
              </a:custGeom>
              <a:grpFill/>
              <a:ln w="19050" cap="flat">
                <a:solidFill>
                  <a:schemeClr val="tx1">
                    <a:lumMod val="95000"/>
                    <a:lumOff val="5000"/>
                  </a:schemeClr>
                </a:solidFill>
                <a:prstDash val="dash"/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57" name="Freeform: Shape 56">
                <a:extLst>
                  <a:ext uri="{FF2B5EF4-FFF2-40B4-BE49-F238E27FC236}">
                    <a16:creationId xmlns="" xmlns:a16="http://schemas.microsoft.com/office/drawing/2014/main" id="{0AD9C5CB-F14D-4516-9D7C-B56E7FF53FBA}"/>
                  </a:ext>
                </a:extLst>
              </p:cNvPr>
              <p:cNvSpPr/>
              <p:nvPr/>
            </p:nvSpPr>
            <p:spPr>
              <a:xfrm>
                <a:off x="6948263" y="2687428"/>
                <a:ext cx="1187119" cy="483293"/>
              </a:xfrm>
              <a:custGeom>
                <a:avLst/>
                <a:gdLst>
                  <a:gd name="connsiteX0" fmla="*/ 0 w 1348940"/>
                  <a:gd name="connsiteY0" fmla="*/ 0 h 549173"/>
                  <a:gd name="connsiteX1" fmla="*/ 189278 w 1348940"/>
                  <a:gd name="connsiteY1" fmla="*/ 7997 h 549173"/>
                  <a:gd name="connsiteX2" fmla="*/ 1348940 w 1348940"/>
                  <a:gd name="connsiteY2" fmla="*/ 549173 h 5491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348940" h="549173">
                    <a:moveTo>
                      <a:pt x="0" y="0"/>
                    </a:moveTo>
                    <a:lnTo>
                      <a:pt x="189278" y="7997"/>
                    </a:lnTo>
                    <a:lnTo>
                      <a:pt x="1348940" y="549173"/>
                    </a:lnTo>
                  </a:path>
                </a:pathLst>
              </a:custGeom>
              <a:grpFill/>
              <a:ln w="19050" cap="flat">
                <a:solidFill>
                  <a:schemeClr val="tx1">
                    <a:lumMod val="95000"/>
                    <a:lumOff val="5000"/>
                  </a:schemeClr>
                </a:solidFill>
                <a:prstDash val="sysDash"/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38" name="Rectangle 37">
              <a:extLst>
                <a:ext uri="{FF2B5EF4-FFF2-40B4-BE49-F238E27FC236}">
                  <a16:creationId xmlns="" xmlns:a16="http://schemas.microsoft.com/office/drawing/2014/main" id="{3854C3AD-03EF-426F-9A21-198EB0C103B0}"/>
                </a:ext>
              </a:extLst>
            </p:cNvPr>
            <p:cNvSpPr/>
            <p:nvPr/>
          </p:nvSpPr>
          <p:spPr>
            <a:xfrm rot="10800000">
              <a:off x="6686142" y="3225174"/>
              <a:ext cx="50223" cy="63782"/>
            </a:xfrm>
            <a:prstGeom prst="rect">
              <a:avLst/>
            </a:prstGeom>
            <a:grpFill/>
            <a:ln w="19050" cap="flat">
              <a:solidFill>
                <a:schemeClr val="tx1">
                  <a:lumMod val="95000"/>
                  <a:lumOff val="5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900"/>
                </a:spcBef>
              </a:pPr>
              <a:endParaRPr lang="en-US" sz="1400" dirty="0" err="1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9" name="Rectangle 38">
              <a:extLst>
                <a:ext uri="{FF2B5EF4-FFF2-40B4-BE49-F238E27FC236}">
                  <a16:creationId xmlns="" xmlns:a16="http://schemas.microsoft.com/office/drawing/2014/main" id="{FF3763BE-585C-421A-B6B7-21A98D8A9371}"/>
                </a:ext>
              </a:extLst>
            </p:cNvPr>
            <p:cNvSpPr/>
            <p:nvPr/>
          </p:nvSpPr>
          <p:spPr>
            <a:xfrm rot="10800000">
              <a:off x="6971782" y="3225174"/>
              <a:ext cx="50223" cy="63782"/>
            </a:xfrm>
            <a:prstGeom prst="rect">
              <a:avLst/>
            </a:prstGeom>
            <a:grpFill/>
            <a:ln w="19050" cap="flat">
              <a:solidFill>
                <a:schemeClr val="tx1">
                  <a:lumMod val="95000"/>
                  <a:lumOff val="5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900"/>
                </a:spcBef>
              </a:pPr>
              <a:endParaRPr lang="en-US" sz="1400" dirty="0" err="1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="" xmlns:a16="http://schemas.microsoft.com/office/drawing/2014/main" id="{FFFCFDFB-2C97-45E1-B748-6D87AA03A928}"/>
                </a:ext>
              </a:extLst>
            </p:cNvPr>
            <p:cNvSpPr/>
            <p:nvPr/>
          </p:nvSpPr>
          <p:spPr>
            <a:xfrm>
              <a:off x="6650511" y="3147186"/>
              <a:ext cx="485732" cy="47871"/>
            </a:xfrm>
            <a:custGeom>
              <a:avLst/>
              <a:gdLst>
                <a:gd name="connsiteX0" fmla="*/ 75063 w 324135"/>
                <a:gd name="connsiteY0" fmla="*/ 0 h 37532"/>
                <a:gd name="connsiteX1" fmla="*/ 324135 w 324135"/>
                <a:gd name="connsiteY1" fmla="*/ 0 h 37532"/>
                <a:gd name="connsiteX2" fmla="*/ 262720 w 324135"/>
                <a:gd name="connsiteY2" fmla="*/ 37532 h 37532"/>
                <a:gd name="connsiteX3" fmla="*/ 0 w 324135"/>
                <a:gd name="connsiteY3" fmla="*/ 37532 h 37532"/>
                <a:gd name="connsiteX4" fmla="*/ 75063 w 324135"/>
                <a:gd name="connsiteY4" fmla="*/ 0 h 37532"/>
                <a:gd name="connsiteX0" fmla="*/ 75063 w 324135"/>
                <a:gd name="connsiteY0" fmla="*/ 0 h 37532"/>
                <a:gd name="connsiteX1" fmla="*/ 324135 w 324135"/>
                <a:gd name="connsiteY1" fmla="*/ 0 h 37532"/>
                <a:gd name="connsiteX2" fmla="*/ 262720 w 324135"/>
                <a:gd name="connsiteY2" fmla="*/ 37532 h 37532"/>
                <a:gd name="connsiteX3" fmla="*/ 0 w 324135"/>
                <a:gd name="connsiteY3" fmla="*/ 37532 h 37532"/>
                <a:gd name="connsiteX4" fmla="*/ 75063 w 324135"/>
                <a:gd name="connsiteY4" fmla="*/ 0 h 37532"/>
                <a:gd name="connsiteX0" fmla="*/ 75063 w 342286"/>
                <a:gd name="connsiteY0" fmla="*/ 0 h 37532"/>
                <a:gd name="connsiteX1" fmla="*/ 342286 w 342286"/>
                <a:gd name="connsiteY1" fmla="*/ 0 h 37532"/>
                <a:gd name="connsiteX2" fmla="*/ 262720 w 342286"/>
                <a:gd name="connsiteY2" fmla="*/ 37532 h 37532"/>
                <a:gd name="connsiteX3" fmla="*/ 0 w 342286"/>
                <a:gd name="connsiteY3" fmla="*/ 37532 h 37532"/>
                <a:gd name="connsiteX4" fmla="*/ 75063 w 342286"/>
                <a:gd name="connsiteY4" fmla="*/ 0 h 37532"/>
                <a:gd name="connsiteX0" fmla="*/ 75063 w 342286"/>
                <a:gd name="connsiteY0" fmla="*/ 0 h 37532"/>
                <a:gd name="connsiteX1" fmla="*/ 342286 w 342286"/>
                <a:gd name="connsiteY1" fmla="*/ 0 h 37532"/>
                <a:gd name="connsiteX2" fmla="*/ 286317 w 342286"/>
                <a:gd name="connsiteY2" fmla="*/ 37532 h 37532"/>
                <a:gd name="connsiteX3" fmla="*/ 0 w 342286"/>
                <a:gd name="connsiteY3" fmla="*/ 37532 h 37532"/>
                <a:gd name="connsiteX4" fmla="*/ 75063 w 342286"/>
                <a:gd name="connsiteY4" fmla="*/ 0 h 375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286" h="37532">
                  <a:moveTo>
                    <a:pt x="75063" y="0"/>
                  </a:moveTo>
                  <a:lnTo>
                    <a:pt x="342286" y="0"/>
                  </a:lnTo>
                  <a:lnTo>
                    <a:pt x="286317" y="37532"/>
                  </a:lnTo>
                  <a:lnTo>
                    <a:pt x="0" y="37532"/>
                  </a:lnTo>
                  <a:lnTo>
                    <a:pt x="75063" y="0"/>
                  </a:lnTo>
                  <a:close/>
                </a:path>
              </a:pathLst>
            </a:custGeom>
            <a:grpFill/>
            <a:ln w="19050" cap="flat">
              <a:solidFill>
                <a:schemeClr val="tx1">
                  <a:lumMod val="95000"/>
                  <a:lumOff val="5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900"/>
                </a:spcBef>
              </a:pPr>
              <a:endParaRPr lang="en-US" sz="1400" dirty="0" err="1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41" name="Rectangle 40">
              <a:extLst>
                <a:ext uri="{FF2B5EF4-FFF2-40B4-BE49-F238E27FC236}">
                  <a16:creationId xmlns="" xmlns:a16="http://schemas.microsoft.com/office/drawing/2014/main" id="{803746C5-4167-49E5-BC9A-E366F9A9987E}"/>
                </a:ext>
              </a:extLst>
            </p:cNvPr>
            <p:cNvSpPr/>
            <p:nvPr/>
          </p:nvSpPr>
          <p:spPr>
            <a:xfrm rot="13500000">
              <a:off x="6644180" y="3134308"/>
              <a:ext cx="150669" cy="25111"/>
            </a:xfrm>
            <a:prstGeom prst="rect">
              <a:avLst/>
            </a:prstGeom>
            <a:grpFill/>
            <a:ln w="19050" cap="flat">
              <a:solidFill>
                <a:schemeClr val="tx1">
                  <a:lumMod val="95000"/>
                  <a:lumOff val="5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900"/>
                </a:spcBef>
              </a:pPr>
              <a:endParaRPr lang="en-US" sz="1400" dirty="0" err="1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="" xmlns:a16="http://schemas.microsoft.com/office/drawing/2014/main" id="{38190C70-1301-4CE8-9E05-040E325957B1}"/>
                </a:ext>
              </a:extLst>
            </p:cNvPr>
            <p:cNvSpPr/>
            <p:nvPr/>
          </p:nvSpPr>
          <p:spPr>
            <a:xfrm>
              <a:off x="6673460" y="3062500"/>
              <a:ext cx="195183" cy="132446"/>
            </a:xfrm>
            <a:custGeom>
              <a:avLst/>
              <a:gdLst>
                <a:gd name="connsiteX0" fmla="*/ 0 w 139908"/>
                <a:gd name="connsiteY0" fmla="*/ 14990 h 94938"/>
                <a:gd name="connsiteX1" fmla="*/ 82446 w 139908"/>
                <a:gd name="connsiteY1" fmla="*/ 94938 h 94938"/>
                <a:gd name="connsiteX2" fmla="*/ 139908 w 139908"/>
                <a:gd name="connsiteY2" fmla="*/ 69954 h 94938"/>
                <a:gd name="connsiteX3" fmla="*/ 69954 w 139908"/>
                <a:gd name="connsiteY3" fmla="*/ 0 h 94938"/>
                <a:gd name="connsiteX4" fmla="*/ 0 w 139908"/>
                <a:gd name="connsiteY4" fmla="*/ 14990 h 949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9908" h="94938">
                  <a:moveTo>
                    <a:pt x="0" y="14990"/>
                  </a:moveTo>
                  <a:lnTo>
                    <a:pt x="82446" y="94938"/>
                  </a:lnTo>
                  <a:lnTo>
                    <a:pt x="139908" y="69954"/>
                  </a:lnTo>
                  <a:lnTo>
                    <a:pt x="69954" y="0"/>
                  </a:lnTo>
                  <a:lnTo>
                    <a:pt x="0" y="14990"/>
                  </a:lnTo>
                  <a:close/>
                </a:path>
              </a:pathLst>
            </a:custGeom>
            <a:grpFill/>
            <a:ln w="19050" cap="flat">
              <a:solidFill>
                <a:schemeClr val="tx1">
                  <a:lumMod val="95000"/>
                  <a:lumOff val="5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900"/>
                </a:spcBef>
              </a:pPr>
              <a:endParaRPr lang="en-US" sz="1400" dirty="0" err="1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43" name="Rectangle 42">
              <a:extLst>
                <a:ext uri="{FF2B5EF4-FFF2-40B4-BE49-F238E27FC236}">
                  <a16:creationId xmlns="" xmlns:a16="http://schemas.microsoft.com/office/drawing/2014/main" id="{26E8A930-597E-4FA5-8DC7-1B628A8619FF}"/>
                </a:ext>
              </a:extLst>
            </p:cNvPr>
            <p:cNvSpPr/>
            <p:nvPr/>
          </p:nvSpPr>
          <p:spPr>
            <a:xfrm rot="10800000">
              <a:off x="6643914" y="3197192"/>
              <a:ext cx="412362" cy="25111"/>
            </a:xfrm>
            <a:prstGeom prst="rect">
              <a:avLst/>
            </a:prstGeom>
            <a:grpFill/>
            <a:ln w="19050" cap="flat">
              <a:solidFill>
                <a:schemeClr val="tx1">
                  <a:lumMod val="95000"/>
                  <a:lumOff val="5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900"/>
                </a:spcBef>
              </a:pPr>
              <a:endParaRPr lang="en-US" sz="1400" dirty="0" err="1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="" xmlns:a16="http://schemas.microsoft.com/office/drawing/2014/main" id="{2DF35CE9-DAF3-4E91-A11D-0D0E087B539D}"/>
                </a:ext>
              </a:extLst>
            </p:cNvPr>
            <p:cNvSpPr/>
            <p:nvPr/>
          </p:nvSpPr>
          <p:spPr>
            <a:xfrm>
              <a:off x="7049894" y="3145493"/>
              <a:ext cx="87577" cy="74698"/>
            </a:xfrm>
            <a:custGeom>
              <a:avLst/>
              <a:gdLst>
                <a:gd name="connsiteX0" fmla="*/ 0 w 92728"/>
                <a:gd name="connsiteY0" fmla="*/ 85001 h 85001"/>
                <a:gd name="connsiteX1" fmla="*/ 92728 w 92728"/>
                <a:gd name="connsiteY1" fmla="*/ 33485 h 85001"/>
                <a:gd name="connsiteX2" fmla="*/ 92728 w 92728"/>
                <a:gd name="connsiteY2" fmla="*/ 0 h 85001"/>
                <a:gd name="connsiteX3" fmla="*/ 0 w 92728"/>
                <a:gd name="connsiteY3" fmla="*/ 85001 h 85001"/>
                <a:gd name="connsiteX0" fmla="*/ 0 w 92728"/>
                <a:gd name="connsiteY0" fmla="*/ 85001 h 85001"/>
                <a:gd name="connsiteX1" fmla="*/ 92728 w 92728"/>
                <a:gd name="connsiteY1" fmla="*/ 33485 h 85001"/>
                <a:gd name="connsiteX2" fmla="*/ 92728 w 92728"/>
                <a:gd name="connsiteY2" fmla="*/ 0 h 85001"/>
                <a:gd name="connsiteX3" fmla="*/ 56667 w 92728"/>
                <a:gd name="connsiteY3" fmla="*/ 28334 h 85001"/>
                <a:gd name="connsiteX4" fmla="*/ 0 w 92728"/>
                <a:gd name="connsiteY4" fmla="*/ 85001 h 85001"/>
                <a:gd name="connsiteX0" fmla="*/ 5152 w 97880"/>
                <a:gd name="connsiteY0" fmla="*/ 85001 h 85001"/>
                <a:gd name="connsiteX1" fmla="*/ 97880 w 97880"/>
                <a:gd name="connsiteY1" fmla="*/ 33485 h 85001"/>
                <a:gd name="connsiteX2" fmla="*/ 97880 w 97880"/>
                <a:gd name="connsiteY2" fmla="*/ 0 h 85001"/>
                <a:gd name="connsiteX3" fmla="*/ 0 w 97880"/>
                <a:gd name="connsiteY3" fmla="*/ 56668 h 85001"/>
                <a:gd name="connsiteX4" fmla="*/ 5152 w 97880"/>
                <a:gd name="connsiteY4" fmla="*/ 85001 h 85001"/>
                <a:gd name="connsiteX0" fmla="*/ 5152 w 97880"/>
                <a:gd name="connsiteY0" fmla="*/ 74698 h 74698"/>
                <a:gd name="connsiteX1" fmla="*/ 97880 w 97880"/>
                <a:gd name="connsiteY1" fmla="*/ 23182 h 74698"/>
                <a:gd name="connsiteX2" fmla="*/ 87577 w 97880"/>
                <a:gd name="connsiteY2" fmla="*/ 0 h 74698"/>
                <a:gd name="connsiteX3" fmla="*/ 0 w 97880"/>
                <a:gd name="connsiteY3" fmla="*/ 46365 h 74698"/>
                <a:gd name="connsiteX4" fmla="*/ 5152 w 97880"/>
                <a:gd name="connsiteY4" fmla="*/ 74698 h 74698"/>
                <a:gd name="connsiteX0" fmla="*/ 5152 w 87577"/>
                <a:gd name="connsiteY0" fmla="*/ 74698 h 74698"/>
                <a:gd name="connsiteX1" fmla="*/ 87577 w 87577"/>
                <a:gd name="connsiteY1" fmla="*/ 23182 h 74698"/>
                <a:gd name="connsiteX2" fmla="*/ 87577 w 87577"/>
                <a:gd name="connsiteY2" fmla="*/ 0 h 74698"/>
                <a:gd name="connsiteX3" fmla="*/ 0 w 87577"/>
                <a:gd name="connsiteY3" fmla="*/ 46365 h 74698"/>
                <a:gd name="connsiteX4" fmla="*/ 5152 w 87577"/>
                <a:gd name="connsiteY4" fmla="*/ 74698 h 746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7577" h="74698">
                  <a:moveTo>
                    <a:pt x="5152" y="74698"/>
                  </a:moveTo>
                  <a:lnTo>
                    <a:pt x="87577" y="23182"/>
                  </a:lnTo>
                  <a:lnTo>
                    <a:pt x="87577" y="0"/>
                  </a:lnTo>
                  <a:lnTo>
                    <a:pt x="0" y="46365"/>
                  </a:lnTo>
                  <a:lnTo>
                    <a:pt x="5152" y="74698"/>
                  </a:lnTo>
                  <a:close/>
                </a:path>
              </a:pathLst>
            </a:custGeom>
            <a:grpFill/>
            <a:ln w="19050" cap="flat">
              <a:solidFill>
                <a:schemeClr val="tx1">
                  <a:lumMod val="95000"/>
                  <a:lumOff val="5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900"/>
                </a:spcBef>
              </a:pPr>
              <a:endParaRPr lang="en-US" sz="1400" dirty="0" err="1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45" name="Partial Circle 44">
              <a:extLst>
                <a:ext uri="{FF2B5EF4-FFF2-40B4-BE49-F238E27FC236}">
                  <a16:creationId xmlns="" xmlns:a16="http://schemas.microsoft.com/office/drawing/2014/main" id="{BC49CDCC-0772-455D-94AD-49C61BFA8B13}"/>
                </a:ext>
              </a:extLst>
            </p:cNvPr>
            <p:cNvSpPr/>
            <p:nvPr/>
          </p:nvSpPr>
          <p:spPr>
            <a:xfrm>
              <a:off x="8572002" y="2671270"/>
              <a:ext cx="180020" cy="180020"/>
            </a:xfrm>
            <a:prstGeom prst="pie">
              <a:avLst>
                <a:gd name="adj1" fmla="val 6915356"/>
                <a:gd name="adj2" fmla="val 19654378"/>
              </a:avLst>
            </a:prstGeom>
            <a:grpFill/>
            <a:ln w="19050" cap="flat">
              <a:solidFill>
                <a:schemeClr val="tx1">
                  <a:lumMod val="95000"/>
                  <a:lumOff val="5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900"/>
                </a:spcBef>
              </a:pPr>
              <a:endParaRPr lang="en-US" sz="1400" dirty="0" err="1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cxnSp>
          <p:nvCxnSpPr>
            <p:cNvPr id="46" name="Straight Connector 45">
              <a:extLst>
                <a:ext uri="{FF2B5EF4-FFF2-40B4-BE49-F238E27FC236}">
                  <a16:creationId xmlns="" xmlns:a16="http://schemas.microsoft.com/office/drawing/2014/main" id="{99CEF3B2-3CCA-435D-B418-AE4D75E72C70}"/>
                </a:ext>
              </a:extLst>
            </p:cNvPr>
            <p:cNvCxnSpPr/>
            <p:nvPr/>
          </p:nvCxnSpPr>
          <p:spPr>
            <a:xfrm flipH="1" flipV="1">
              <a:off x="8530487" y="2634037"/>
              <a:ext cx="41515" cy="41515"/>
            </a:xfrm>
            <a:prstGeom prst="line">
              <a:avLst/>
            </a:prstGeom>
            <a:grpFill/>
            <a:ln w="19050" cap="flat">
              <a:solidFill>
                <a:schemeClr val="tx1">
                  <a:lumMod val="95000"/>
                  <a:lumOff val="5000"/>
                </a:schemeClr>
              </a:solidFill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Straight Connector 46">
              <a:extLst>
                <a:ext uri="{FF2B5EF4-FFF2-40B4-BE49-F238E27FC236}">
                  <a16:creationId xmlns="" xmlns:a16="http://schemas.microsoft.com/office/drawing/2014/main" id="{080AD732-A63B-49AF-A867-6FA52D0E1FC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662012" y="2579918"/>
              <a:ext cx="0" cy="55992"/>
            </a:xfrm>
            <a:prstGeom prst="line">
              <a:avLst/>
            </a:prstGeom>
            <a:grpFill/>
            <a:ln w="19050" cap="flat">
              <a:solidFill>
                <a:schemeClr val="tx1">
                  <a:lumMod val="95000"/>
                  <a:lumOff val="5000"/>
                </a:schemeClr>
              </a:solidFill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47">
              <a:extLst>
                <a:ext uri="{FF2B5EF4-FFF2-40B4-BE49-F238E27FC236}">
                  <a16:creationId xmlns="" xmlns:a16="http://schemas.microsoft.com/office/drawing/2014/main" id="{0B1DCB12-3481-4589-B0FC-06F6BD00FE1F}"/>
                </a:ext>
              </a:extLst>
            </p:cNvPr>
            <p:cNvCxnSpPr>
              <a:cxnSpLocks/>
            </p:cNvCxnSpPr>
            <p:nvPr/>
          </p:nvCxnSpPr>
          <p:spPr>
            <a:xfrm rot="16200000" flipV="1">
              <a:off x="8516424" y="2745016"/>
              <a:ext cx="0" cy="55992"/>
            </a:xfrm>
            <a:prstGeom prst="line">
              <a:avLst/>
            </a:prstGeom>
            <a:grpFill/>
            <a:ln w="19050" cap="flat">
              <a:solidFill>
                <a:schemeClr val="tx1">
                  <a:lumMod val="95000"/>
                  <a:lumOff val="5000"/>
                </a:schemeClr>
              </a:solidFill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Straight Connector 48">
              <a:extLst>
                <a:ext uri="{FF2B5EF4-FFF2-40B4-BE49-F238E27FC236}">
                  <a16:creationId xmlns="" xmlns:a16="http://schemas.microsoft.com/office/drawing/2014/main" id="{6A68D2EB-CCA5-4922-8450-FE36C719F3E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752022" y="2634037"/>
              <a:ext cx="41515" cy="41515"/>
            </a:xfrm>
            <a:prstGeom prst="line">
              <a:avLst/>
            </a:prstGeom>
            <a:grpFill/>
            <a:ln w="19050" cap="flat">
              <a:solidFill>
                <a:schemeClr val="tx1">
                  <a:lumMod val="95000"/>
                  <a:lumOff val="5000"/>
                </a:schemeClr>
              </a:solidFill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50" name="Group 49">
              <a:extLst>
                <a:ext uri="{FF2B5EF4-FFF2-40B4-BE49-F238E27FC236}">
                  <a16:creationId xmlns="" xmlns:a16="http://schemas.microsoft.com/office/drawing/2014/main" id="{A7167B0D-6042-41B6-9A61-B9AB1DF67EDA}"/>
                </a:ext>
              </a:extLst>
            </p:cNvPr>
            <p:cNvGrpSpPr/>
            <p:nvPr/>
          </p:nvGrpSpPr>
          <p:grpSpPr>
            <a:xfrm>
              <a:off x="8529704" y="2712216"/>
              <a:ext cx="27056" cy="131356"/>
              <a:chOff x="8529704" y="2559774"/>
              <a:chExt cx="27056" cy="131356"/>
            </a:xfrm>
            <a:grpFill/>
          </p:grpSpPr>
          <p:cxnSp>
            <p:nvCxnSpPr>
              <p:cNvPr id="54" name="Straight Connector 53">
                <a:extLst>
                  <a:ext uri="{FF2B5EF4-FFF2-40B4-BE49-F238E27FC236}">
                    <a16:creationId xmlns="" xmlns:a16="http://schemas.microsoft.com/office/drawing/2014/main" id="{7E3A5945-0386-44AB-8C7E-8EE6163E99D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529704" y="2559774"/>
                <a:ext cx="19940" cy="8056"/>
              </a:xfrm>
              <a:prstGeom prst="line">
                <a:avLst/>
              </a:prstGeom>
              <a:grpFill/>
              <a:ln w="19050" cap="flat">
                <a:solidFill>
                  <a:schemeClr val="tx1">
                    <a:lumMod val="95000"/>
                    <a:lumOff val="5000"/>
                  </a:schemeClr>
                </a:solidFill>
                <a:miter lim="800000"/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5" name="Straight Connector 54">
                <a:extLst>
                  <a:ext uri="{FF2B5EF4-FFF2-40B4-BE49-F238E27FC236}">
                    <a16:creationId xmlns="" xmlns:a16="http://schemas.microsoft.com/office/drawing/2014/main" id="{476F81A4-F745-4B30-AE92-FE426FCCD8F2}"/>
                  </a:ext>
                </a:extLst>
              </p:cNvPr>
              <p:cNvCxnSpPr>
                <a:cxnSpLocks/>
              </p:cNvCxnSpPr>
              <p:nvPr/>
            </p:nvCxnSpPr>
            <p:spPr>
              <a:xfrm rot="-420000" flipV="1">
                <a:off x="8536820" y="2683074"/>
                <a:ext cx="19940" cy="8056"/>
              </a:xfrm>
              <a:prstGeom prst="line">
                <a:avLst/>
              </a:prstGeom>
              <a:grpFill/>
              <a:ln w="19050" cap="flat">
                <a:solidFill>
                  <a:schemeClr val="tx1">
                    <a:lumMod val="95000"/>
                    <a:lumOff val="5000"/>
                  </a:schemeClr>
                </a:solidFill>
                <a:miter lim="800000"/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1" name="Group 50">
              <a:extLst>
                <a:ext uri="{FF2B5EF4-FFF2-40B4-BE49-F238E27FC236}">
                  <a16:creationId xmlns="" xmlns:a16="http://schemas.microsoft.com/office/drawing/2014/main" id="{F245CDCE-99EC-44C5-9617-1170375683DB}"/>
                </a:ext>
              </a:extLst>
            </p:cNvPr>
            <p:cNvGrpSpPr/>
            <p:nvPr/>
          </p:nvGrpSpPr>
          <p:grpSpPr>
            <a:xfrm rot="5642282">
              <a:off x="8648486" y="2577162"/>
              <a:ext cx="28800" cy="108000"/>
              <a:chOff x="8529704" y="2559774"/>
              <a:chExt cx="27056" cy="131356"/>
            </a:xfrm>
            <a:grpFill/>
          </p:grpSpPr>
          <p:cxnSp>
            <p:nvCxnSpPr>
              <p:cNvPr id="52" name="Straight Connector 51">
                <a:extLst>
                  <a:ext uri="{FF2B5EF4-FFF2-40B4-BE49-F238E27FC236}">
                    <a16:creationId xmlns="" xmlns:a16="http://schemas.microsoft.com/office/drawing/2014/main" id="{29AE7E95-582E-4C02-A575-B8ECF738070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529704" y="2559774"/>
                <a:ext cx="19940" cy="8056"/>
              </a:xfrm>
              <a:prstGeom prst="line">
                <a:avLst/>
              </a:prstGeom>
              <a:grpFill/>
              <a:ln w="19050" cap="flat">
                <a:solidFill>
                  <a:schemeClr val="tx1">
                    <a:lumMod val="95000"/>
                    <a:lumOff val="5000"/>
                  </a:schemeClr>
                </a:solidFill>
                <a:miter lim="800000"/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3" name="Straight Connector 52">
                <a:extLst>
                  <a:ext uri="{FF2B5EF4-FFF2-40B4-BE49-F238E27FC236}">
                    <a16:creationId xmlns="" xmlns:a16="http://schemas.microsoft.com/office/drawing/2014/main" id="{33D0FB2F-7FBD-4DD6-8AB9-3F7297FA1816}"/>
                  </a:ext>
                </a:extLst>
              </p:cNvPr>
              <p:cNvCxnSpPr>
                <a:cxnSpLocks/>
              </p:cNvCxnSpPr>
              <p:nvPr/>
            </p:nvCxnSpPr>
            <p:spPr>
              <a:xfrm rot="-420000" flipV="1">
                <a:off x="8536820" y="2683074"/>
                <a:ext cx="19940" cy="8056"/>
              </a:xfrm>
              <a:prstGeom prst="line">
                <a:avLst/>
              </a:prstGeom>
              <a:grpFill/>
              <a:ln w="19050" cap="flat">
                <a:solidFill>
                  <a:schemeClr val="tx1">
                    <a:lumMod val="95000"/>
                    <a:lumOff val="5000"/>
                  </a:schemeClr>
                </a:solidFill>
                <a:miter lim="800000"/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322748198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AA16B7AC-F676-4F67-8813-4F8F68AAD7D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846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="" xmlns:a16="http://schemas.microsoft.com/office/drawing/2014/main" id="{AA16B7AC-F676-4F67-8813-4F8F68AAD7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="" xmlns:a16="http://schemas.microsoft.com/office/drawing/2014/main" id="{260A3D96-399B-450E-B597-24C3AA9AE05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US" sz="240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7956AB31-F718-491D-AAC7-99EB166076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4507" y="493495"/>
            <a:ext cx="7604094" cy="338554"/>
          </a:xfrm>
        </p:spPr>
        <p:txBody>
          <a:bodyPr/>
          <a:lstStyle/>
          <a:p>
            <a:r>
              <a:rPr lang="en-US" b="1" dirty="0"/>
              <a:t>Framework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="" xmlns:a16="http://schemas.microsoft.com/office/drawing/2014/main" id="{0BBEB72A-2139-4645-915E-CEC28070B56D}"/>
              </a:ext>
            </a:extLst>
          </p:cNvPr>
          <p:cNvGrpSpPr/>
          <p:nvPr/>
        </p:nvGrpSpPr>
        <p:grpSpPr>
          <a:xfrm>
            <a:off x="7877395" y="1225848"/>
            <a:ext cx="937795" cy="385342"/>
            <a:chOff x="7877395" y="1225848"/>
            <a:chExt cx="937795" cy="385342"/>
          </a:xfrm>
        </p:grpSpPr>
        <p:sp>
          <p:nvSpPr>
            <p:cNvPr id="12" name="Isosceles Triangle 11">
              <a:extLst>
                <a:ext uri="{FF2B5EF4-FFF2-40B4-BE49-F238E27FC236}">
                  <a16:creationId xmlns="" xmlns:a16="http://schemas.microsoft.com/office/drawing/2014/main" id="{35B3CE62-F491-498C-8FB7-E66CFD69DB95}"/>
                </a:ext>
              </a:extLst>
            </p:cNvPr>
            <p:cNvSpPr>
              <a:spLocks noChangeAspect="1"/>
            </p:cNvSpPr>
            <p:nvPr/>
          </p:nvSpPr>
          <p:spPr bwMode="gray">
            <a:xfrm rot="9927096">
              <a:off x="8132907" y="1349645"/>
              <a:ext cx="73611" cy="63458"/>
            </a:xfrm>
            <a:prstGeom prst="triangle">
              <a:avLst/>
            </a:prstGeom>
            <a:solidFill>
              <a:schemeClr val="bg2"/>
            </a:solidFill>
            <a:ln w="9525">
              <a:solidFill>
                <a:srgbClr val="007F7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050" dirty="0">
                <a:solidFill>
                  <a:schemeClr val="tx1"/>
                </a:solidFill>
              </a:endParaRPr>
            </a:p>
          </p:txBody>
        </p:sp>
        <p:sp>
          <p:nvSpPr>
            <p:cNvPr id="13" name="Oval 12">
              <a:extLst>
                <a:ext uri="{FF2B5EF4-FFF2-40B4-BE49-F238E27FC236}">
                  <a16:creationId xmlns="" xmlns:a16="http://schemas.microsoft.com/office/drawing/2014/main" id="{D5057345-1014-4E3D-8249-CA3762D4EBD7}"/>
                </a:ext>
              </a:extLst>
            </p:cNvPr>
            <p:cNvSpPr/>
            <p:nvPr/>
          </p:nvSpPr>
          <p:spPr>
            <a:xfrm>
              <a:off x="8002635" y="1243852"/>
              <a:ext cx="50253" cy="50252"/>
            </a:xfrm>
            <a:prstGeom prst="ellipse">
              <a:avLst/>
            </a:prstGeom>
            <a:solidFill>
              <a:schemeClr val="bg2"/>
            </a:solidFill>
            <a:ln w="12700" cap="flat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 b="1" dirty="0">
                <a:solidFill>
                  <a:schemeClr val="bg1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14" name="Oval 13">
              <a:extLst>
                <a:ext uri="{FF2B5EF4-FFF2-40B4-BE49-F238E27FC236}">
                  <a16:creationId xmlns="" xmlns:a16="http://schemas.microsoft.com/office/drawing/2014/main" id="{63F9707F-DBB8-47E1-9D38-404826C77867}"/>
                </a:ext>
              </a:extLst>
            </p:cNvPr>
            <p:cNvSpPr/>
            <p:nvPr/>
          </p:nvSpPr>
          <p:spPr>
            <a:xfrm>
              <a:off x="8530035" y="1349312"/>
              <a:ext cx="212364" cy="212364"/>
            </a:xfrm>
            <a:prstGeom prst="ellipse">
              <a:avLst/>
            </a:prstGeom>
            <a:solidFill>
              <a:schemeClr val="accent5"/>
            </a:solidFill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ot="0" spcFirstLastPara="0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15" name="Arc 14">
              <a:extLst>
                <a:ext uri="{FF2B5EF4-FFF2-40B4-BE49-F238E27FC236}">
                  <a16:creationId xmlns="" xmlns:a16="http://schemas.microsoft.com/office/drawing/2014/main" id="{83A64A2A-0C53-4047-8B19-03F3FE3B04D9}"/>
                </a:ext>
              </a:extLst>
            </p:cNvPr>
            <p:cNvSpPr/>
            <p:nvPr/>
          </p:nvSpPr>
          <p:spPr bwMode="gray">
            <a:xfrm>
              <a:off x="8486575" y="1267966"/>
              <a:ext cx="283644" cy="247796"/>
            </a:xfrm>
            <a:prstGeom prst="arc">
              <a:avLst>
                <a:gd name="adj1" fmla="val 11178900"/>
                <a:gd name="adj2" fmla="val 21075396"/>
              </a:avLst>
            </a:prstGeom>
            <a:ln w="19050" cap="flat">
              <a:solidFill>
                <a:schemeClr val="accent5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100" dirty="0"/>
            </a:p>
          </p:txBody>
        </p:sp>
        <p:sp>
          <p:nvSpPr>
            <p:cNvPr id="16" name="Isosceles Triangle 15">
              <a:extLst>
                <a:ext uri="{FF2B5EF4-FFF2-40B4-BE49-F238E27FC236}">
                  <a16:creationId xmlns="" xmlns:a16="http://schemas.microsoft.com/office/drawing/2014/main" id="{AD34A29D-9581-4661-BAC6-DFB4DF1F5397}"/>
                </a:ext>
              </a:extLst>
            </p:cNvPr>
            <p:cNvSpPr>
              <a:spLocks noChangeAspect="1"/>
            </p:cNvSpPr>
            <p:nvPr/>
          </p:nvSpPr>
          <p:spPr bwMode="gray">
            <a:xfrm rot="9927096">
              <a:off x="8734789" y="1347929"/>
              <a:ext cx="73611" cy="63458"/>
            </a:xfrm>
            <a:prstGeom prst="triangle">
              <a:avLst/>
            </a:prstGeom>
            <a:solidFill>
              <a:schemeClr val="accent5"/>
            </a:solidFill>
            <a:ln w="952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050" dirty="0">
                <a:solidFill>
                  <a:schemeClr val="tx1"/>
                </a:solidFill>
              </a:endParaRPr>
            </a:p>
          </p:txBody>
        </p:sp>
        <p:sp>
          <p:nvSpPr>
            <p:cNvPr id="17" name="Oval 16">
              <a:extLst>
                <a:ext uri="{FF2B5EF4-FFF2-40B4-BE49-F238E27FC236}">
                  <a16:creationId xmlns="" xmlns:a16="http://schemas.microsoft.com/office/drawing/2014/main" id="{BFF74F25-EB5E-4527-8581-0E164F89C80F}"/>
                </a:ext>
              </a:extLst>
            </p:cNvPr>
            <p:cNvSpPr/>
            <p:nvPr/>
          </p:nvSpPr>
          <p:spPr>
            <a:xfrm>
              <a:off x="8611091" y="1243852"/>
              <a:ext cx="50253" cy="50252"/>
            </a:xfrm>
            <a:prstGeom prst="ellipse">
              <a:avLst/>
            </a:prstGeom>
            <a:solidFill>
              <a:schemeClr val="accent5"/>
            </a:solidFill>
            <a:ln w="12700" cap="flat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 b="1" dirty="0">
                <a:solidFill>
                  <a:schemeClr val="bg1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="" xmlns:a16="http://schemas.microsoft.com/office/drawing/2014/main" id="{00A129B6-615D-417E-A5FF-BF0A72E04226}"/>
                </a:ext>
              </a:extLst>
            </p:cNvPr>
            <p:cNvSpPr/>
            <p:nvPr/>
          </p:nvSpPr>
          <p:spPr>
            <a:xfrm>
              <a:off x="8486575" y="1225848"/>
              <a:ext cx="328615" cy="385342"/>
            </a:xfrm>
            <a:prstGeom prst="rect">
              <a:avLst/>
            </a:prstGeom>
            <a:solidFill>
              <a:schemeClr val="bg1">
                <a:alpha val="80000"/>
              </a:schemeClr>
            </a:solidFill>
            <a:ln w="6350" cap="flat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900"/>
                </a:spcBef>
              </a:pPr>
              <a:endParaRPr lang="en-US" sz="140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9" name="Oval 18">
              <a:extLst>
                <a:ext uri="{FF2B5EF4-FFF2-40B4-BE49-F238E27FC236}">
                  <a16:creationId xmlns="" xmlns:a16="http://schemas.microsoft.com/office/drawing/2014/main" id="{3E98A2CE-5146-4C5F-A545-6FDD7370DFB0}"/>
                </a:ext>
              </a:extLst>
            </p:cNvPr>
            <p:cNvSpPr/>
            <p:nvPr/>
          </p:nvSpPr>
          <p:spPr>
            <a:xfrm>
              <a:off x="7921579" y="1349312"/>
              <a:ext cx="212364" cy="212364"/>
            </a:xfrm>
            <a:prstGeom prst="ellipse">
              <a:avLst/>
            </a:prstGeom>
            <a:solidFill>
              <a:schemeClr val="bg2"/>
            </a:solidFill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ot="0" spcFirstLastPara="0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20" name="Arc 19">
              <a:extLst>
                <a:ext uri="{FF2B5EF4-FFF2-40B4-BE49-F238E27FC236}">
                  <a16:creationId xmlns="" xmlns:a16="http://schemas.microsoft.com/office/drawing/2014/main" id="{A0AB8420-2770-4899-AC43-A47624E481BC}"/>
                </a:ext>
              </a:extLst>
            </p:cNvPr>
            <p:cNvSpPr/>
            <p:nvPr/>
          </p:nvSpPr>
          <p:spPr bwMode="gray">
            <a:xfrm>
              <a:off x="7883769" y="1267966"/>
              <a:ext cx="283644" cy="247796"/>
            </a:xfrm>
            <a:prstGeom prst="arc">
              <a:avLst>
                <a:gd name="adj1" fmla="val 11178900"/>
                <a:gd name="adj2" fmla="val 21075396"/>
              </a:avLst>
            </a:prstGeom>
            <a:ln w="19050" cap="flat">
              <a:solidFill>
                <a:schemeClr val="bg2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100" dirty="0"/>
            </a:p>
          </p:txBody>
        </p:sp>
        <p:sp>
          <p:nvSpPr>
            <p:cNvPr id="21" name="Rectangle 20">
              <a:extLst>
                <a:ext uri="{FF2B5EF4-FFF2-40B4-BE49-F238E27FC236}">
                  <a16:creationId xmlns="" xmlns:a16="http://schemas.microsoft.com/office/drawing/2014/main" id="{33C5B095-13E5-455C-9204-B2BD9ABC7DCF}"/>
                </a:ext>
              </a:extLst>
            </p:cNvPr>
            <p:cNvSpPr/>
            <p:nvPr/>
          </p:nvSpPr>
          <p:spPr>
            <a:xfrm>
              <a:off x="7877395" y="1225848"/>
              <a:ext cx="328615" cy="385342"/>
            </a:xfrm>
            <a:prstGeom prst="rect">
              <a:avLst/>
            </a:prstGeom>
            <a:solidFill>
              <a:schemeClr val="bg1">
                <a:alpha val="80000"/>
              </a:schemeClr>
            </a:solidFill>
            <a:ln w="6350" cap="flat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900"/>
                </a:spcBef>
              </a:pPr>
              <a:endParaRPr lang="en-US" sz="140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2" name="Oval 21">
              <a:extLst>
                <a:ext uri="{FF2B5EF4-FFF2-40B4-BE49-F238E27FC236}">
                  <a16:creationId xmlns="" xmlns:a16="http://schemas.microsoft.com/office/drawing/2014/main" id="{22C1417D-C0DF-425F-B1EA-C0A7EC164858}"/>
                </a:ext>
              </a:extLst>
            </p:cNvPr>
            <p:cNvSpPr/>
            <p:nvPr/>
          </p:nvSpPr>
          <p:spPr>
            <a:xfrm>
              <a:off x="8225098" y="1244357"/>
              <a:ext cx="212364" cy="212364"/>
            </a:xfrm>
            <a:prstGeom prst="ellipse">
              <a:avLst/>
            </a:prstGeom>
            <a:solidFill>
              <a:schemeClr val="accent1"/>
            </a:solidFill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ot="0" spcFirstLastPara="0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23" name="Arc 22">
              <a:extLst>
                <a:ext uri="{FF2B5EF4-FFF2-40B4-BE49-F238E27FC236}">
                  <a16:creationId xmlns="" xmlns:a16="http://schemas.microsoft.com/office/drawing/2014/main" id="{6A0208D0-2202-4068-9629-F81575FE5B60}"/>
                </a:ext>
              </a:extLst>
            </p:cNvPr>
            <p:cNvSpPr/>
            <p:nvPr/>
          </p:nvSpPr>
          <p:spPr bwMode="gray">
            <a:xfrm flipV="1">
              <a:off x="8184095" y="1313981"/>
              <a:ext cx="283644" cy="247373"/>
            </a:xfrm>
            <a:prstGeom prst="arc">
              <a:avLst>
                <a:gd name="adj1" fmla="val 11178900"/>
                <a:gd name="adj2" fmla="val 21075396"/>
              </a:avLst>
            </a:prstGeom>
            <a:ln w="19050" cap="flat">
              <a:solidFill>
                <a:schemeClr val="accent1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100" dirty="0"/>
            </a:p>
          </p:txBody>
        </p:sp>
        <p:sp>
          <p:nvSpPr>
            <p:cNvPr id="24" name="Isosceles Triangle 23">
              <a:extLst>
                <a:ext uri="{FF2B5EF4-FFF2-40B4-BE49-F238E27FC236}">
                  <a16:creationId xmlns="" xmlns:a16="http://schemas.microsoft.com/office/drawing/2014/main" id="{401D8938-53A8-4EF6-9FC7-7B0105B2302E}"/>
                </a:ext>
              </a:extLst>
            </p:cNvPr>
            <p:cNvSpPr>
              <a:spLocks noChangeAspect="1"/>
            </p:cNvSpPr>
            <p:nvPr/>
          </p:nvSpPr>
          <p:spPr bwMode="gray">
            <a:xfrm rot="11672904" flipV="1">
              <a:off x="8432310" y="1418179"/>
              <a:ext cx="73611" cy="63349"/>
            </a:xfrm>
            <a:prstGeom prst="triangle">
              <a:avLst/>
            </a:prstGeom>
            <a:solidFill>
              <a:schemeClr val="accent1"/>
            </a:solidFill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050" dirty="0">
                <a:solidFill>
                  <a:schemeClr val="tx1"/>
                </a:solidFill>
              </a:endParaRPr>
            </a:p>
          </p:txBody>
        </p:sp>
        <p:sp>
          <p:nvSpPr>
            <p:cNvPr id="25" name="Oval 24">
              <a:extLst>
                <a:ext uri="{FF2B5EF4-FFF2-40B4-BE49-F238E27FC236}">
                  <a16:creationId xmlns="" xmlns:a16="http://schemas.microsoft.com/office/drawing/2014/main" id="{98170558-834B-4009-B86E-FFC6DBC68739}"/>
                </a:ext>
              </a:extLst>
            </p:cNvPr>
            <p:cNvSpPr/>
            <p:nvPr/>
          </p:nvSpPr>
          <p:spPr>
            <a:xfrm>
              <a:off x="8306154" y="1537095"/>
              <a:ext cx="50253" cy="50252"/>
            </a:xfrm>
            <a:prstGeom prst="ellipse">
              <a:avLst/>
            </a:prstGeom>
            <a:solidFill>
              <a:schemeClr val="accent1"/>
            </a:solidFill>
            <a:ln w="12700" cap="flat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 b="1" dirty="0">
                <a:solidFill>
                  <a:schemeClr val="bg1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</p:grpSp>
      <p:sp>
        <p:nvSpPr>
          <p:cNvPr id="26" name="Rectangle 25">
            <a:extLst>
              <a:ext uri="{FF2B5EF4-FFF2-40B4-BE49-F238E27FC236}">
                <a16:creationId xmlns="" xmlns:a16="http://schemas.microsoft.com/office/drawing/2014/main" id="{989D1721-CDCB-42F5-A444-57C8AA72ACBC}"/>
              </a:ext>
            </a:extLst>
          </p:cNvPr>
          <p:cNvSpPr/>
          <p:nvPr/>
        </p:nvSpPr>
        <p:spPr>
          <a:xfrm>
            <a:off x="244800" y="2057400"/>
            <a:ext cx="8648375" cy="4287838"/>
          </a:xfrm>
          <a:prstGeom prst="rect">
            <a:avLst/>
          </a:prstGeom>
          <a:noFill/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SzPct val="100000"/>
            </a:pPr>
            <a:r>
              <a:rPr lang="en-US" sz="1200" b="1" dirty="0" smtClean="0">
                <a:solidFill>
                  <a:schemeClr val="tx1"/>
                </a:solidFill>
                <a:cs typeface="Arial" pitchFamily="34" charset="0"/>
              </a:rPr>
              <a:t>Inferential Statistics - Hypothesis </a:t>
            </a:r>
            <a:r>
              <a:rPr lang="en-US" sz="1200" b="1" dirty="0">
                <a:solidFill>
                  <a:schemeClr val="tx1"/>
                </a:solidFill>
                <a:cs typeface="Arial" pitchFamily="34" charset="0"/>
              </a:rPr>
              <a:t>Testing</a:t>
            </a:r>
          </a:p>
          <a:p>
            <a:pPr marL="97212" indent="-97212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1200" b="1" dirty="0">
                <a:solidFill>
                  <a:schemeClr val="tx1"/>
                </a:solidFill>
                <a:latin typeface="+mj-lt"/>
                <a:cs typeface="Arial" pitchFamily="34" charset="0"/>
              </a:rPr>
              <a:t>H0</a:t>
            </a:r>
            <a:r>
              <a:rPr lang="en-US" sz="1200" dirty="0">
                <a:solidFill>
                  <a:schemeClr val="tx1"/>
                </a:solidFill>
                <a:latin typeface="+mj-lt"/>
                <a:cs typeface="Arial" pitchFamily="34" charset="0"/>
              </a:rPr>
              <a:t>: The Delay incurred at the Arrival is </a:t>
            </a:r>
            <a:r>
              <a:rPr lang="en-US" sz="12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a result of the </a:t>
            </a:r>
            <a:r>
              <a:rPr lang="en-US" sz="1200" dirty="0">
                <a:solidFill>
                  <a:schemeClr val="tx1"/>
                </a:solidFill>
                <a:latin typeface="+mj-lt"/>
                <a:cs typeface="Arial" pitchFamily="34" charset="0"/>
              </a:rPr>
              <a:t>Delay incurred at the </a:t>
            </a:r>
            <a:r>
              <a:rPr lang="en-US" sz="12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Departure (Difference is Zero)</a:t>
            </a:r>
            <a:endParaRPr lang="en-US" sz="1200" dirty="0">
              <a:solidFill>
                <a:schemeClr val="tx1"/>
              </a:solidFill>
              <a:latin typeface="+mj-lt"/>
              <a:cs typeface="Arial" pitchFamily="34" charset="0"/>
            </a:endParaRPr>
          </a:p>
          <a:p>
            <a:pPr marL="97212" indent="-97212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12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In other words, I want to determine whether the mean difference between Departure Delay and Arrival Delay is zero, in order to pinpoint the main </a:t>
            </a:r>
            <a:r>
              <a:rPr lang="en-US" sz="12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source of flight delays</a:t>
            </a:r>
            <a:endParaRPr lang="en-US" sz="12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="" xmlns:a16="http://schemas.microsoft.com/office/drawing/2014/main" id="{2832E03E-F765-40BC-B4B0-100CD3553C3E}"/>
              </a:ext>
            </a:extLst>
          </p:cNvPr>
          <p:cNvSpPr txBox="1"/>
          <p:nvPr/>
        </p:nvSpPr>
        <p:spPr>
          <a:xfrm>
            <a:off x="244474" y="1628140"/>
            <a:ext cx="6840220" cy="249299"/>
          </a:xfrm>
          <a:prstGeom prst="rect">
            <a:avLst/>
          </a:prstGeom>
          <a:noFill/>
          <a:ln w="6350" cap="flat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A5FFFF"/>
                </a:solidFill>
              </a14:hiddenFill>
            </a:ext>
          </a:extLst>
        </p:spPr>
        <p:txBody>
          <a:bodyPr vert="horz" wrap="square" lIns="365760" tIns="0" rIns="0" bIns="0" rtlCol="0" anchor="t" anchorCtr="0">
            <a:sp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2"/>
              </a:buClr>
            </a:pP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Data Exploration &amp; Analysis</a:t>
            </a:r>
          </a:p>
        </p:txBody>
      </p:sp>
      <p:sp>
        <p:nvSpPr>
          <p:cNvPr id="30" name="Oval 29">
            <a:extLst>
              <a:ext uri="{FF2B5EF4-FFF2-40B4-BE49-F238E27FC236}">
                <a16:creationId xmlns="" xmlns:a16="http://schemas.microsoft.com/office/drawing/2014/main" id="{DC48E21B-E7CF-4857-8EC3-34B8AB7CC034}"/>
              </a:ext>
            </a:extLst>
          </p:cNvPr>
          <p:cNvSpPr/>
          <p:nvPr/>
        </p:nvSpPr>
        <p:spPr>
          <a:xfrm>
            <a:off x="246380" y="1600200"/>
            <a:ext cx="279400" cy="279400"/>
          </a:xfrm>
          <a:prstGeom prst="ellipse">
            <a:avLst/>
          </a:prstGeom>
          <a:solidFill>
            <a:schemeClr val="accent1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1600" b="1" dirty="0">
                <a:solidFill>
                  <a:schemeClr val="bg1"/>
                </a:solidFill>
                <a:latin typeface="Arial" panose="020B0604020202020204" pitchFamily="34" charset="0"/>
                <a:cs typeface="Arial" pitchFamily="34" charset="0"/>
              </a:rPr>
              <a:t>3</a:t>
            </a:r>
          </a:p>
        </p:txBody>
      </p:sp>
      <p:pic>
        <p:nvPicPr>
          <p:cNvPr id="219" name="Picture 218" descr="img8.png">
            <a:extLst>
              <a:ext uri="{FF2B5EF4-FFF2-40B4-BE49-F238E27FC236}">
                <a16:creationId xmlns="" xmlns:a16="http://schemas.microsoft.com/office/drawing/2014/main" id="{071C3321-A84E-4530-BEF1-B2774F251031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1965" y="3633477"/>
            <a:ext cx="7787424" cy="26792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853926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AA16B7AC-F676-4F67-8813-4F8F68AAD7D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870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="" xmlns:a16="http://schemas.microsoft.com/office/drawing/2014/main" id="{AA16B7AC-F676-4F67-8813-4F8F68AAD7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="" xmlns:a16="http://schemas.microsoft.com/office/drawing/2014/main" id="{260A3D96-399B-450E-B597-24C3AA9AE05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US" sz="240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7956AB31-F718-491D-AAC7-99EB166076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4507" y="493495"/>
            <a:ext cx="7604094" cy="338554"/>
          </a:xfrm>
        </p:spPr>
        <p:txBody>
          <a:bodyPr/>
          <a:lstStyle/>
          <a:p>
            <a:r>
              <a:rPr lang="en-US" b="1" dirty="0" smtClean="0"/>
              <a:t>Framework</a:t>
            </a:r>
            <a:endParaRPr lang="en-US" b="1" dirty="0"/>
          </a:p>
        </p:txBody>
      </p:sp>
      <p:grpSp>
        <p:nvGrpSpPr>
          <p:cNvPr id="11" name="Group 10">
            <a:extLst>
              <a:ext uri="{FF2B5EF4-FFF2-40B4-BE49-F238E27FC236}">
                <a16:creationId xmlns="" xmlns:a16="http://schemas.microsoft.com/office/drawing/2014/main" id="{0BBEB72A-2139-4645-915E-CEC28070B56D}"/>
              </a:ext>
            </a:extLst>
          </p:cNvPr>
          <p:cNvGrpSpPr/>
          <p:nvPr/>
        </p:nvGrpSpPr>
        <p:grpSpPr>
          <a:xfrm>
            <a:off x="7877395" y="1225848"/>
            <a:ext cx="937795" cy="385342"/>
            <a:chOff x="7877395" y="1225848"/>
            <a:chExt cx="937795" cy="385342"/>
          </a:xfrm>
        </p:grpSpPr>
        <p:sp>
          <p:nvSpPr>
            <p:cNvPr id="12" name="Isosceles Triangle 11">
              <a:extLst>
                <a:ext uri="{FF2B5EF4-FFF2-40B4-BE49-F238E27FC236}">
                  <a16:creationId xmlns="" xmlns:a16="http://schemas.microsoft.com/office/drawing/2014/main" id="{35B3CE62-F491-498C-8FB7-E66CFD69DB95}"/>
                </a:ext>
              </a:extLst>
            </p:cNvPr>
            <p:cNvSpPr>
              <a:spLocks noChangeAspect="1"/>
            </p:cNvSpPr>
            <p:nvPr/>
          </p:nvSpPr>
          <p:spPr bwMode="gray">
            <a:xfrm rot="9927096">
              <a:off x="8132907" y="1349645"/>
              <a:ext cx="73611" cy="63458"/>
            </a:xfrm>
            <a:prstGeom prst="triangle">
              <a:avLst/>
            </a:prstGeom>
            <a:solidFill>
              <a:schemeClr val="bg2"/>
            </a:solidFill>
            <a:ln w="9525">
              <a:solidFill>
                <a:srgbClr val="007F7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050" dirty="0">
                <a:solidFill>
                  <a:schemeClr val="tx1"/>
                </a:solidFill>
              </a:endParaRPr>
            </a:p>
          </p:txBody>
        </p:sp>
        <p:sp>
          <p:nvSpPr>
            <p:cNvPr id="13" name="Oval 12">
              <a:extLst>
                <a:ext uri="{FF2B5EF4-FFF2-40B4-BE49-F238E27FC236}">
                  <a16:creationId xmlns="" xmlns:a16="http://schemas.microsoft.com/office/drawing/2014/main" id="{D5057345-1014-4E3D-8249-CA3762D4EBD7}"/>
                </a:ext>
              </a:extLst>
            </p:cNvPr>
            <p:cNvSpPr/>
            <p:nvPr/>
          </p:nvSpPr>
          <p:spPr>
            <a:xfrm>
              <a:off x="8002635" y="1243852"/>
              <a:ext cx="50253" cy="50252"/>
            </a:xfrm>
            <a:prstGeom prst="ellipse">
              <a:avLst/>
            </a:prstGeom>
            <a:solidFill>
              <a:schemeClr val="bg2"/>
            </a:solidFill>
            <a:ln w="12700" cap="flat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 b="1" dirty="0">
                <a:solidFill>
                  <a:schemeClr val="bg1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14" name="Oval 13">
              <a:extLst>
                <a:ext uri="{FF2B5EF4-FFF2-40B4-BE49-F238E27FC236}">
                  <a16:creationId xmlns="" xmlns:a16="http://schemas.microsoft.com/office/drawing/2014/main" id="{63F9707F-DBB8-47E1-9D38-404826C77867}"/>
                </a:ext>
              </a:extLst>
            </p:cNvPr>
            <p:cNvSpPr/>
            <p:nvPr/>
          </p:nvSpPr>
          <p:spPr>
            <a:xfrm>
              <a:off x="8530035" y="1349312"/>
              <a:ext cx="212364" cy="212364"/>
            </a:xfrm>
            <a:prstGeom prst="ellipse">
              <a:avLst/>
            </a:prstGeom>
            <a:solidFill>
              <a:schemeClr val="accent5"/>
            </a:solidFill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ot="0" spcFirstLastPara="0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15" name="Arc 14">
              <a:extLst>
                <a:ext uri="{FF2B5EF4-FFF2-40B4-BE49-F238E27FC236}">
                  <a16:creationId xmlns="" xmlns:a16="http://schemas.microsoft.com/office/drawing/2014/main" id="{83A64A2A-0C53-4047-8B19-03F3FE3B04D9}"/>
                </a:ext>
              </a:extLst>
            </p:cNvPr>
            <p:cNvSpPr/>
            <p:nvPr/>
          </p:nvSpPr>
          <p:spPr bwMode="gray">
            <a:xfrm>
              <a:off x="8486575" y="1267966"/>
              <a:ext cx="283644" cy="247796"/>
            </a:xfrm>
            <a:prstGeom prst="arc">
              <a:avLst>
                <a:gd name="adj1" fmla="val 11178900"/>
                <a:gd name="adj2" fmla="val 21075396"/>
              </a:avLst>
            </a:prstGeom>
            <a:ln w="19050" cap="flat">
              <a:solidFill>
                <a:schemeClr val="accent5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100" dirty="0"/>
            </a:p>
          </p:txBody>
        </p:sp>
        <p:sp>
          <p:nvSpPr>
            <p:cNvPr id="16" name="Isosceles Triangle 15">
              <a:extLst>
                <a:ext uri="{FF2B5EF4-FFF2-40B4-BE49-F238E27FC236}">
                  <a16:creationId xmlns="" xmlns:a16="http://schemas.microsoft.com/office/drawing/2014/main" id="{AD34A29D-9581-4661-BAC6-DFB4DF1F5397}"/>
                </a:ext>
              </a:extLst>
            </p:cNvPr>
            <p:cNvSpPr>
              <a:spLocks noChangeAspect="1"/>
            </p:cNvSpPr>
            <p:nvPr/>
          </p:nvSpPr>
          <p:spPr bwMode="gray">
            <a:xfrm rot="9927096">
              <a:off x="8734789" y="1347929"/>
              <a:ext cx="73611" cy="63458"/>
            </a:xfrm>
            <a:prstGeom prst="triangle">
              <a:avLst/>
            </a:prstGeom>
            <a:solidFill>
              <a:schemeClr val="accent5"/>
            </a:solidFill>
            <a:ln w="952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050" dirty="0">
                <a:solidFill>
                  <a:schemeClr val="tx1"/>
                </a:solidFill>
              </a:endParaRPr>
            </a:p>
          </p:txBody>
        </p:sp>
        <p:sp>
          <p:nvSpPr>
            <p:cNvPr id="17" name="Oval 16">
              <a:extLst>
                <a:ext uri="{FF2B5EF4-FFF2-40B4-BE49-F238E27FC236}">
                  <a16:creationId xmlns="" xmlns:a16="http://schemas.microsoft.com/office/drawing/2014/main" id="{BFF74F25-EB5E-4527-8581-0E164F89C80F}"/>
                </a:ext>
              </a:extLst>
            </p:cNvPr>
            <p:cNvSpPr/>
            <p:nvPr/>
          </p:nvSpPr>
          <p:spPr>
            <a:xfrm>
              <a:off x="8611091" y="1243852"/>
              <a:ext cx="50253" cy="50252"/>
            </a:xfrm>
            <a:prstGeom prst="ellipse">
              <a:avLst/>
            </a:prstGeom>
            <a:solidFill>
              <a:schemeClr val="accent5"/>
            </a:solidFill>
            <a:ln w="12700" cap="flat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 b="1" dirty="0">
                <a:solidFill>
                  <a:schemeClr val="bg1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="" xmlns:a16="http://schemas.microsoft.com/office/drawing/2014/main" id="{00A129B6-615D-417E-A5FF-BF0A72E04226}"/>
                </a:ext>
              </a:extLst>
            </p:cNvPr>
            <p:cNvSpPr/>
            <p:nvPr/>
          </p:nvSpPr>
          <p:spPr>
            <a:xfrm>
              <a:off x="8486575" y="1225848"/>
              <a:ext cx="328615" cy="385342"/>
            </a:xfrm>
            <a:prstGeom prst="rect">
              <a:avLst/>
            </a:prstGeom>
            <a:solidFill>
              <a:schemeClr val="bg1">
                <a:alpha val="80000"/>
              </a:schemeClr>
            </a:solidFill>
            <a:ln w="6350" cap="flat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900"/>
                </a:spcBef>
              </a:pPr>
              <a:endParaRPr lang="en-US" sz="140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9" name="Oval 18">
              <a:extLst>
                <a:ext uri="{FF2B5EF4-FFF2-40B4-BE49-F238E27FC236}">
                  <a16:creationId xmlns="" xmlns:a16="http://schemas.microsoft.com/office/drawing/2014/main" id="{3E98A2CE-5146-4C5F-A545-6FDD7370DFB0}"/>
                </a:ext>
              </a:extLst>
            </p:cNvPr>
            <p:cNvSpPr/>
            <p:nvPr/>
          </p:nvSpPr>
          <p:spPr>
            <a:xfrm>
              <a:off x="7921579" y="1349312"/>
              <a:ext cx="212364" cy="212364"/>
            </a:xfrm>
            <a:prstGeom prst="ellipse">
              <a:avLst/>
            </a:prstGeom>
            <a:solidFill>
              <a:schemeClr val="bg2"/>
            </a:solidFill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ot="0" spcFirstLastPara="0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20" name="Arc 19">
              <a:extLst>
                <a:ext uri="{FF2B5EF4-FFF2-40B4-BE49-F238E27FC236}">
                  <a16:creationId xmlns="" xmlns:a16="http://schemas.microsoft.com/office/drawing/2014/main" id="{A0AB8420-2770-4899-AC43-A47624E481BC}"/>
                </a:ext>
              </a:extLst>
            </p:cNvPr>
            <p:cNvSpPr/>
            <p:nvPr/>
          </p:nvSpPr>
          <p:spPr bwMode="gray">
            <a:xfrm>
              <a:off x="7883769" y="1267966"/>
              <a:ext cx="283644" cy="247796"/>
            </a:xfrm>
            <a:prstGeom prst="arc">
              <a:avLst>
                <a:gd name="adj1" fmla="val 11178900"/>
                <a:gd name="adj2" fmla="val 21075396"/>
              </a:avLst>
            </a:prstGeom>
            <a:ln w="19050" cap="flat">
              <a:solidFill>
                <a:schemeClr val="bg2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100" dirty="0"/>
            </a:p>
          </p:txBody>
        </p:sp>
        <p:sp>
          <p:nvSpPr>
            <p:cNvPr id="21" name="Rectangle 20">
              <a:extLst>
                <a:ext uri="{FF2B5EF4-FFF2-40B4-BE49-F238E27FC236}">
                  <a16:creationId xmlns="" xmlns:a16="http://schemas.microsoft.com/office/drawing/2014/main" id="{33C5B095-13E5-455C-9204-B2BD9ABC7DCF}"/>
                </a:ext>
              </a:extLst>
            </p:cNvPr>
            <p:cNvSpPr/>
            <p:nvPr/>
          </p:nvSpPr>
          <p:spPr>
            <a:xfrm>
              <a:off x="7877395" y="1225848"/>
              <a:ext cx="328615" cy="385342"/>
            </a:xfrm>
            <a:prstGeom prst="rect">
              <a:avLst/>
            </a:prstGeom>
            <a:solidFill>
              <a:schemeClr val="bg1">
                <a:alpha val="80000"/>
              </a:schemeClr>
            </a:solidFill>
            <a:ln w="6350" cap="flat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900"/>
                </a:spcBef>
              </a:pPr>
              <a:endParaRPr lang="en-US" sz="140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2" name="Oval 21">
              <a:extLst>
                <a:ext uri="{FF2B5EF4-FFF2-40B4-BE49-F238E27FC236}">
                  <a16:creationId xmlns="" xmlns:a16="http://schemas.microsoft.com/office/drawing/2014/main" id="{22C1417D-C0DF-425F-B1EA-C0A7EC164858}"/>
                </a:ext>
              </a:extLst>
            </p:cNvPr>
            <p:cNvSpPr/>
            <p:nvPr/>
          </p:nvSpPr>
          <p:spPr>
            <a:xfrm>
              <a:off x="8225098" y="1244357"/>
              <a:ext cx="212364" cy="212364"/>
            </a:xfrm>
            <a:prstGeom prst="ellipse">
              <a:avLst/>
            </a:prstGeom>
            <a:solidFill>
              <a:schemeClr val="accent1"/>
            </a:solidFill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ot="0" spcFirstLastPara="0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23" name="Arc 22">
              <a:extLst>
                <a:ext uri="{FF2B5EF4-FFF2-40B4-BE49-F238E27FC236}">
                  <a16:creationId xmlns="" xmlns:a16="http://schemas.microsoft.com/office/drawing/2014/main" id="{6A0208D0-2202-4068-9629-F81575FE5B60}"/>
                </a:ext>
              </a:extLst>
            </p:cNvPr>
            <p:cNvSpPr/>
            <p:nvPr/>
          </p:nvSpPr>
          <p:spPr bwMode="gray">
            <a:xfrm flipV="1">
              <a:off x="8184095" y="1313981"/>
              <a:ext cx="283644" cy="247373"/>
            </a:xfrm>
            <a:prstGeom prst="arc">
              <a:avLst>
                <a:gd name="adj1" fmla="val 11178900"/>
                <a:gd name="adj2" fmla="val 21075396"/>
              </a:avLst>
            </a:prstGeom>
            <a:ln w="19050" cap="flat">
              <a:solidFill>
                <a:schemeClr val="accent1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100" dirty="0"/>
            </a:p>
          </p:txBody>
        </p:sp>
        <p:sp>
          <p:nvSpPr>
            <p:cNvPr id="24" name="Isosceles Triangle 23">
              <a:extLst>
                <a:ext uri="{FF2B5EF4-FFF2-40B4-BE49-F238E27FC236}">
                  <a16:creationId xmlns="" xmlns:a16="http://schemas.microsoft.com/office/drawing/2014/main" id="{401D8938-53A8-4EF6-9FC7-7B0105B2302E}"/>
                </a:ext>
              </a:extLst>
            </p:cNvPr>
            <p:cNvSpPr>
              <a:spLocks noChangeAspect="1"/>
            </p:cNvSpPr>
            <p:nvPr/>
          </p:nvSpPr>
          <p:spPr bwMode="gray">
            <a:xfrm rot="11672904" flipV="1">
              <a:off x="8432310" y="1418179"/>
              <a:ext cx="73611" cy="63349"/>
            </a:xfrm>
            <a:prstGeom prst="triangle">
              <a:avLst/>
            </a:prstGeom>
            <a:solidFill>
              <a:schemeClr val="accent1"/>
            </a:solidFill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050" dirty="0">
                <a:solidFill>
                  <a:schemeClr val="tx1"/>
                </a:solidFill>
              </a:endParaRPr>
            </a:p>
          </p:txBody>
        </p:sp>
        <p:sp>
          <p:nvSpPr>
            <p:cNvPr id="25" name="Oval 24">
              <a:extLst>
                <a:ext uri="{FF2B5EF4-FFF2-40B4-BE49-F238E27FC236}">
                  <a16:creationId xmlns="" xmlns:a16="http://schemas.microsoft.com/office/drawing/2014/main" id="{98170558-834B-4009-B86E-FFC6DBC68739}"/>
                </a:ext>
              </a:extLst>
            </p:cNvPr>
            <p:cNvSpPr/>
            <p:nvPr/>
          </p:nvSpPr>
          <p:spPr>
            <a:xfrm>
              <a:off x="8306154" y="1537095"/>
              <a:ext cx="50253" cy="50252"/>
            </a:xfrm>
            <a:prstGeom prst="ellipse">
              <a:avLst/>
            </a:prstGeom>
            <a:solidFill>
              <a:schemeClr val="accent1"/>
            </a:solidFill>
            <a:ln w="12700" cap="flat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 b="1" dirty="0">
                <a:solidFill>
                  <a:schemeClr val="bg1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</p:grpSp>
      <p:sp>
        <p:nvSpPr>
          <p:cNvPr id="26" name="Rectangle 25">
            <a:extLst>
              <a:ext uri="{FF2B5EF4-FFF2-40B4-BE49-F238E27FC236}">
                <a16:creationId xmlns="" xmlns:a16="http://schemas.microsoft.com/office/drawing/2014/main" id="{989D1721-CDCB-42F5-A444-57C8AA72ACBC}"/>
              </a:ext>
            </a:extLst>
          </p:cNvPr>
          <p:cNvSpPr/>
          <p:nvPr/>
        </p:nvSpPr>
        <p:spPr>
          <a:xfrm>
            <a:off x="244800" y="2057400"/>
            <a:ext cx="8648375" cy="4287838"/>
          </a:xfrm>
          <a:prstGeom prst="rect">
            <a:avLst/>
          </a:prstGeom>
          <a:noFill/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SzPct val="100000"/>
            </a:pPr>
            <a:r>
              <a:rPr lang="en-US" sz="1200" b="1" dirty="0" smtClean="0">
                <a:solidFill>
                  <a:schemeClr val="tx1"/>
                </a:solidFill>
                <a:cs typeface="Arial" pitchFamily="34" charset="0"/>
              </a:rPr>
              <a:t>Inferential Statistics - Hypothesis </a:t>
            </a:r>
            <a:r>
              <a:rPr lang="en-US" sz="1200" b="1" dirty="0">
                <a:solidFill>
                  <a:schemeClr val="tx1"/>
                </a:solidFill>
                <a:cs typeface="Arial" pitchFamily="34" charset="0"/>
              </a:rPr>
              <a:t>Testing</a:t>
            </a:r>
          </a:p>
          <a:p>
            <a:pPr marL="97212" indent="-97212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12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Given that the two features, Departure Delay and Arrival Delay, do not follow a Gaussian Distribution, I had to go for </a:t>
            </a:r>
            <a:r>
              <a:rPr lang="en-US" sz="1200" dirty="0">
                <a:solidFill>
                  <a:schemeClr val="tx1"/>
                </a:solidFill>
                <a:latin typeface="+mj-lt"/>
                <a:cs typeface="Arial" pitchFamily="34" charset="0"/>
              </a:rPr>
              <a:t>non-parametric statistical </a:t>
            </a:r>
            <a:r>
              <a:rPr lang="en-US" sz="12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significance tests:</a:t>
            </a:r>
            <a:endParaRPr lang="en-US" sz="1200" dirty="0">
              <a:solidFill>
                <a:schemeClr val="tx1"/>
              </a:solidFill>
              <a:latin typeface="+mj-lt"/>
              <a:cs typeface="Arial" pitchFamily="34" charset="0"/>
            </a:endParaRPr>
          </a:p>
          <a:p>
            <a:pPr marL="97212" indent="-97212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1200" b="1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Wilcoxon Signed-Rank Test</a:t>
            </a:r>
          </a:p>
          <a:p>
            <a:pPr marL="232229" indent="-135017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–"/>
            </a:pPr>
            <a:r>
              <a:rPr lang="en-US" sz="12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Non</a:t>
            </a:r>
            <a:r>
              <a:rPr lang="en-US" sz="1200" dirty="0">
                <a:solidFill>
                  <a:schemeClr val="tx1"/>
                </a:solidFill>
                <a:latin typeface="+mj-lt"/>
                <a:cs typeface="Arial" pitchFamily="34" charset="0"/>
              </a:rPr>
              <a:t>-parametric version of the paired student t-</a:t>
            </a:r>
            <a:r>
              <a:rPr lang="en-US" sz="12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test</a:t>
            </a:r>
          </a:p>
          <a:p>
            <a:pPr marL="232229" indent="-135017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–"/>
            </a:pPr>
            <a:r>
              <a:rPr lang="en-US" sz="12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Assumes samples are dependent</a:t>
            </a:r>
            <a:endParaRPr lang="en-US" sz="1200" dirty="0">
              <a:solidFill>
                <a:schemeClr val="tx1"/>
              </a:solidFill>
              <a:latin typeface="+mj-lt"/>
              <a:cs typeface="Arial" pitchFamily="34" charset="0"/>
            </a:endParaRPr>
          </a:p>
          <a:p>
            <a:pPr marL="232229" indent="-135017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–"/>
            </a:pPr>
            <a:r>
              <a:rPr lang="en-US" sz="1200" dirty="0">
                <a:solidFill>
                  <a:schemeClr val="tx1"/>
                </a:solidFill>
                <a:latin typeface="+mj-lt"/>
                <a:cs typeface="Arial" pitchFamily="34" charset="0"/>
              </a:rPr>
              <a:t>P-value= 0.0008 -&gt; Reject Null Hypothesis -&gt; </a:t>
            </a:r>
            <a:r>
              <a:rPr lang="en-US" sz="1200" dirty="0">
                <a:solidFill>
                  <a:schemeClr val="tx1"/>
                </a:solidFill>
                <a:latin typeface="+mj-lt"/>
                <a:cs typeface="Arial" pitchFamily="34" charset="0"/>
              </a:rPr>
              <a:t>D</a:t>
            </a:r>
            <a:r>
              <a:rPr lang="en-US" sz="12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istribution </a:t>
            </a:r>
            <a:r>
              <a:rPr lang="en-US" sz="1200" dirty="0">
                <a:solidFill>
                  <a:schemeClr val="tx1"/>
                </a:solidFill>
                <a:latin typeface="+mj-lt"/>
                <a:cs typeface="Arial" pitchFamily="34" charset="0"/>
              </a:rPr>
              <a:t>are not equal</a:t>
            </a:r>
          </a:p>
          <a:p>
            <a:pPr marL="97212" indent="-97212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1200" b="1" dirty="0">
                <a:solidFill>
                  <a:schemeClr val="tx1"/>
                </a:solidFill>
                <a:latin typeface="+mj-lt"/>
                <a:cs typeface="Arial" pitchFamily="34" charset="0"/>
              </a:rPr>
              <a:t>Mann-Whitney U Test</a:t>
            </a:r>
          </a:p>
          <a:p>
            <a:pPr marL="232229" indent="-135017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–"/>
            </a:pPr>
            <a:r>
              <a:rPr lang="en-US" sz="12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Determines </a:t>
            </a:r>
            <a:r>
              <a:rPr lang="en-US" sz="1200" dirty="0">
                <a:solidFill>
                  <a:schemeClr val="tx1"/>
                </a:solidFill>
                <a:latin typeface="+mj-lt"/>
                <a:cs typeface="Arial" pitchFamily="34" charset="0"/>
              </a:rPr>
              <a:t>whether 2 independent samples were drawn from a population with the same </a:t>
            </a:r>
            <a:r>
              <a:rPr lang="en-US" sz="12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distribution</a:t>
            </a:r>
          </a:p>
          <a:p>
            <a:pPr marL="232229" indent="-135017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–"/>
            </a:pPr>
            <a:r>
              <a:rPr lang="en-US" sz="12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Check whether it is equally likely that any randomly selected observation from one sample will be greater or less than a sample in the other distribution</a:t>
            </a:r>
            <a:endParaRPr lang="en-US" sz="1200" dirty="0">
              <a:solidFill>
                <a:schemeClr val="tx1"/>
              </a:solidFill>
              <a:latin typeface="+mj-lt"/>
              <a:cs typeface="Arial" pitchFamily="34" charset="0"/>
            </a:endParaRPr>
          </a:p>
          <a:p>
            <a:pPr marL="232229" indent="-135017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–"/>
            </a:pPr>
            <a:r>
              <a:rPr lang="en-US" sz="12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P</a:t>
            </a:r>
            <a:r>
              <a:rPr lang="en-US" sz="1200" dirty="0">
                <a:solidFill>
                  <a:schemeClr val="tx1"/>
                </a:solidFill>
                <a:latin typeface="+mj-lt"/>
                <a:cs typeface="Arial" pitchFamily="34" charset="0"/>
              </a:rPr>
              <a:t>-value = 0.037 -&gt; Reject Null Hypothesis -&gt; </a:t>
            </a:r>
            <a:r>
              <a:rPr lang="en-US" sz="12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Distribution </a:t>
            </a:r>
            <a:r>
              <a:rPr lang="en-US" sz="1200" dirty="0">
                <a:solidFill>
                  <a:schemeClr val="tx1"/>
                </a:solidFill>
                <a:latin typeface="+mj-lt"/>
                <a:cs typeface="Arial" pitchFamily="34" charset="0"/>
              </a:rPr>
              <a:t>are not equal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="" xmlns:a16="http://schemas.microsoft.com/office/drawing/2014/main" id="{2832E03E-F765-40BC-B4B0-100CD3553C3E}"/>
              </a:ext>
            </a:extLst>
          </p:cNvPr>
          <p:cNvSpPr txBox="1"/>
          <p:nvPr/>
        </p:nvSpPr>
        <p:spPr>
          <a:xfrm>
            <a:off x="244474" y="1628140"/>
            <a:ext cx="6840220" cy="249299"/>
          </a:xfrm>
          <a:prstGeom prst="rect">
            <a:avLst/>
          </a:prstGeom>
          <a:noFill/>
          <a:ln w="6350" cap="flat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A5FFFF"/>
                </a:solidFill>
              </a14:hiddenFill>
            </a:ext>
          </a:extLst>
        </p:spPr>
        <p:txBody>
          <a:bodyPr vert="horz" wrap="square" lIns="365760" tIns="0" rIns="0" bIns="0" rtlCol="0" anchor="t" anchorCtr="0">
            <a:sp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2"/>
              </a:buClr>
            </a:pP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Data Exploration &amp; Analysis</a:t>
            </a:r>
          </a:p>
        </p:txBody>
      </p:sp>
      <p:sp>
        <p:nvSpPr>
          <p:cNvPr id="30" name="Oval 29">
            <a:extLst>
              <a:ext uri="{FF2B5EF4-FFF2-40B4-BE49-F238E27FC236}">
                <a16:creationId xmlns="" xmlns:a16="http://schemas.microsoft.com/office/drawing/2014/main" id="{DC48E21B-E7CF-4857-8EC3-34B8AB7CC034}"/>
              </a:ext>
            </a:extLst>
          </p:cNvPr>
          <p:cNvSpPr/>
          <p:nvPr/>
        </p:nvSpPr>
        <p:spPr>
          <a:xfrm>
            <a:off x="246380" y="1600200"/>
            <a:ext cx="279400" cy="279400"/>
          </a:xfrm>
          <a:prstGeom prst="ellipse">
            <a:avLst/>
          </a:prstGeom>
          <a:solidFill>
            <a:schemeClr val="accent1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1600" b="1" dirty="0">
                <a:solidFill>
                  <a:schemeClr val="bg1"/>
                </a:solidFill>
                <a:latin typeface="Arial" panose="020B0604020202020204" pitchFamily="34" charset="0"/>
                <a:cs typeface="Arial" pitchFamily="34" charset="0"/>
              </a:rPr>
              <a:t>3</a:t>
            </a:r>
          </a:p>
        </p:txBody>
      </p:sp>
      <p:sp>
        <p:nvSpPr>
          <p:cNvPr id="31" name="Google Shape;203;p26">
            <a:extLst>
              <a:ext uri="{FF2B5EF4-FFF2-40B4-BE49-F238E27FC236}">
                <a16:creationId xmlns="" xmlns:a16="http://schemas.microsoft.com/office/drawing/2014/main" id="{E3312A4C-A07D-4024-B277-593684D2CD8C}"/>
              </a:ext>
            </a:extLst>
          </p:cNvPr>
          <p:cNvSpPr/>
          <p:nvPr/>
        </p:nvSpPr>
        <p:spPr>
          <a:xfrm rot="10800000" flipH="1" flipV="1">
            <a:off x="7084695" y="5664482"/>
            <a:ext cx="2072956" cy="1328913"/>
          </a:xfrm>
          <a:custGeom>
            <a:avLst/>
            <a:gdLst/>
            <a:ahLst/>
            <a:cxnLst/>
            <a:rect l="l" t="t" r="r" b="b"/>
            <a:pathLst>
              <a:path w="88563" h="57373" extrusionOk="0">
                <a:moveTo>
                  <a:pt x="77406" y="1"/>
                </a:moveTo>
                <a:cubicBezTo>
                  <a:pt x="73923" y="1"/>
                  <a:pt x="70569" y="1636"/>
                  <a:pt x="68428" y="4533"/>
                </a:cubicBezTo>
                <a:cubicBezTo>
                  <a:pt x="66354" y="2849"/>
                  <a:pt x="63871" y="2037"/>
                  <a:pt x="61410" y="2037"/>
                </a:cubicBezTo>
                <a:cubicBezTo>
                  <a:pt x="57939" y="2037"/>
                  <a:pt x="54510" y="3652"/>
                  <a:pt x="52326" y="6713"/>
                </a:cubicBezTo>
                <a:cubicBezTo>
                  <a:pt x="50354" y="3053"/>
                  <a:pt x="46550" y="846"/>
                  <a:pt x="42494" y="846"/>
                </a:cubicBezTo>
                <a:cubicBezTo>
                  <a:pt x="41870" y="846"/>
                  <a:pt x="41240" y="898"/>
                  <a:pt x="40610" y="1005"/>
                </a:cubicBezTo>
                <a:cubicBezTo>
                  <a:pt x="35883" y="1822"/>
                  <a:pt x="32205" y="5555"/>
                  <a:pt x="31469" y="10296"/>
                </a:cubicBezTo>
                <a:cubicBezTo>
                  <a:pt x="29397" y="8536"/>
                  <a:pt x="26838" y="7653"/>
                  <a:pt x="24274" y="7653"/>
                </a:cubicBezTo>
                <a:cubicBezTo>
                  <a:pt x="21817" y="7653"/>
                  <a:pt x="19356" y="8464"/>
                  <a:pt x="17315" y="10091"/>
                </a:cubicBezTo>
                <a:cubicBezTo>
                  <a:pt x="13160" y="13415"/>
                  <a:pt x="11921" y="19218"/>
                  <a:pt x="14373" y="23945"/>
                </a:cubicBezTo>
                <a:cubicBezTo>
                  <a:pt x="10504" y="26302"/>
                  <a:pt x="8447" y="30770"/>
                  <a:pt x="9183" y="35252"/>
                </a:cubicBezTo>
                <a:cubicBezTo>
                  <a:pt x="3883" y="36206"/>
                  <a:pt x="28" y="40810"/>
                  <a:pt x="15" y="46205"/>
                </a:cubicBezTo>
                <a:cubicBezTo>
                  <a:pt x="1" y="51586"/>
                  <a:pt x="3829" y="56204"/>
                  <a:pt x="9128" y="57198"/>
                </a:cubicBezTo>
                <a:lnTo>
                  <a:pt x="9155" y="57198"/>
                </a:lnTo>
                <a:cubicBezTo>
                  <a:pt x="9817" y="57315"/>
                  <a:pt x="10485" y="57373"/>
                  <a:pt x="11154" y="57373"/>
                </a:cubicBezTo>
                <a:cubicBezTo>
                  <a:pt x="11739" y="57373"/>
                  <a:pt x="12323" y="57328"/>
                  <a:pt x="12902" y="57239"/>
                </a:cubicBezTo>
                <a:cubicBezTo>
                  <a:pt x="16726" y="57262"/>
                  <a:pt x="23112" y="57271"/>
                  <a:pt x="30601" y="57271"/>
                </a:cubicBezTo>
                <a:cubicBezTo>
                  <a:pt x="54137" y="57271"/>
                  <a:pt x="88562" y="57185"/>
                  <a:pt x="88562" y="57185"/>
                </a:cubicBezTo>
                <a:lnTo>
                  <a:pt x="88562" y="10377"/>
                </a:lnTo>
                <a:lnTo>
                  <a:pt x="88535" y="10377"/>
                </a:lnTo>
                <a:cubicBezTo>
                  <a:pt x="88208" y="5718"/>
                  <a:pt x="85007" y="1740"/>
                  <a:pt x="80525" y="446"/>
                </a:cubicBezTo>
                <a:cubicBezTo>
                  <a:pt x="79493" y="146"/>
                  <a:pt x="78444" y="1"/>
                  <a:pt x="77406" y="1"/>
                </a:cubicBezTo>
                <a:close/>
              </a:path>
            </a:pathLst>
          </a:custGeom>
          <a:solidFill>
            <a:schemeClr val="accent1"/>
          </a:solidFill>
          <a:ln w="9525" cap="flat" cmpd="sng">
            <a:noFill/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 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59334073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AA16B7AC-F676-4F67-8813-4F8F68AAD7D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894"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="" xmlns:a16="http://schemas.microsoft.com/office/drawing/2014/main" id="{AA16B7AC-F676-4F67-8813-4F8F68AAD7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="" xmlns:a16="http://schemas.microsoft.com/office/drawing/2014/main" id="{260A3D96-399B-450E-B597-24C3AA9AE05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US" sz="240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7956AB31-F718-491D-AAC7-99EB166076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4507" y="493495"/>
            <a:ext cx="7604094" cy="338554"/>
          </a:xfrm>
        </p:spPr>
        <p:txBody>
          <a:bodyPr/>
          <a:lstStyle/>
          <a:p>
            <a:r>
              <a:rPr lang="en-US" b="1" dirty="0"/>
              <a:t>Framework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="" xmlns:a16="http://schemas.microsoft.com/office/drawing/2014/main" id="{0BBEB72A-2139-4645-915E-CEC28070B56D}"/>
              </a:ext>
            </a:extLst>
          </p:cNvPr>
          <p:cNvGrpSpPr/>
          <p:nvPr/>
        </p:nvGrpSpPr>
        <p:grpSpPr>
          <a:xfrm>
            <a:off x="7877395" y="1225848"/>
            <a:ext cx="937795" cy="385342"/>
            <a:chOff x="7877395" y="1225848"/>
            <a:chExt cx="937795" cy="385342"/>
          </a:xfrm>
        </p:grpSpPr>
        <p:sp>
          <p:nvSpPr>
            <p:cNvPr id="12" name="Isosceles Triangle 11">
              <a:extLst>
                <a:ext uri="{FF2B5EF4-FFF2-40B4-BE49-F238E27FC236}">
                  <a16:creationId xmlns="" xmlns:a16="http://schemas.microsoft.com/office/drawing/2014/main" id="{35B3CE62-F491-498C-8FB7-E66CFD69DB95}"/>
                </a:ext>
              </a:extLst>
            </p:cNvPr>
            <p:cNvSpPr>
              <a:spLocks noChangeAspect="1"/>
            </p:cNvSpPr>
            <p:nvPr/>
          </p:nvSpPr>
          <p:spPr bwMode="gray">
            <a:xfrm rot="9927096">
              <a:off x="8132907" y="1349645"/>
              <a:ext cx="73611" cy="63458"/>
            </a:xfrm>
            <a:prstGeom prst="triangle">
              <a:avLst/>
            </a:prstGeom>
            <a:solidFill>
              <a:schemeClr val="bg2"/>
            </a:solidFill>
            <a:ln w="9525">
              <a:solidFill>
                <a:srgbClr val="007F7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050" dirty="0">
                <a:solidFill>
                  <a:schemeClr val="tx1"/>
                </a:solidFill>
              </a:endParaRPr>
            </a:p>
          </p:txBody>
        </p:sp>
        <p:sp>
          <p:nvSpPr>
            <p:cNvPr id="13" name="Oval 12">
              <a:extLst>
                <a:ext uri="{FF2B5EF4-FFF2-40B4-BE49-F238E27FC236}">
                  <a16:creationId xmlns="" xmlns:a16="http://schemas.microsoft.com/office/drawing/2014/main" id="{D5057345-1014-4E3D-8249-CA3762D4EBD7}"/>
                </a:ext>
              </a:extLst>
            </p:cNvPr>
            <p:cNvSpPr/>
            <p:nvPr/>
          </p:nvSpPr>
          <p:spPr>
            <a:xfrm>
              <a:off x="8002635" y="1243852"/>
              <a:ext cx="50253" cy="50252"/>
            </a:xfrm>
            <a:prstGeom prst="ellipse">
              <a:avLst/>
            </a:prstGeom>
            <a:solidFill>
              <a:schemeClr val="bg2"/>
            </a:solidFill>
            <a:ln w="12700" cap="flat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 b="1" dirty="0">
                <a:solidFill>
                  <a:schemeClr val="bg1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14" name="Oval 13">
              <a:extLst>
                <a:ext uri="{FF2B5EF4-FFF2-40B4-BE49-F238E27FC236}">
                  <a16:creationId xmlns="" xmlns:a16="http://schemas.microsoft.com/office/drawing/2014/main" id="{63F9707F-DBB8-47E1-9D38-404826C77867}"/>
                </a:ext>
              </a:extLst>
            </p:cNvPr>
            <p:cNvSpPr/>
            <p:nvPr/>
          </p:nvSpPr>
          <p:spPr>
            <a:xfrm>
              <a:off x="8530035" y="1349312"/>
              <a:ext cx="212364" cy="212364"/>
            </a:xfrm>
            <a:prstGeom prst="ellipse">
              <a:avLst/>
            </a:prstGeom>
            <a:solidFill>
              <a:schemeClr val="accent5"/>
            </a:solidFill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ot="0" spcFirstLastPara="0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15" name="Arc 14">
              <a:extLst>
                <a:ext uri="{FF2B5EF4-FFF2-40B4-BE49-F238E27FC236}">
                  <a16:creationId xmlns="" xmlns:a16="http://schemas.microsoft.com/office/drawing/2014/main" id="{83A64A2A-0C53-4047-8B19-03F3FE3B04D9}"/>
                </a:ext>
              </a:extLst>
            </p:cNvPr>
            <p:cNvSpPr/>
            <p:nvPr/>
          </p:nvSpPr>
          <p:spPr bwMode="gray">
            <a:xfrm>
              <a:off x="8486575" y="1267966"/>
              <a:ext cx="283644" cy="247796"/>
            </a:xfrm>
            <a:prstGeom prst="arc">
              <a:avLst>
                <a:gd name="adj1" fmla="val 11178900"/>
                <a:gd name="adj2" fmla="val 21075396"/>
              </a:avLst>
            </a:prstGeom>
            <a:ln w="19050" cap="flat">
              <a:solidFill>
                <a:schemeClr val="accent5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100" dirty="0"/>
            </a:p>
          </p:txBody>
        </p:sp>
        <p:sp>
          <p:nvSpPr>
            <p:cNvPr id="16" name="Isosceles Triangle 15">
              <a:extLst>
                <a:ext uri="{FF2B5EF4-FFF2-40B4-BE49-F238E27FC236}">
                  <a16:creationId xmlns="" xmlns:a16="http://schemas.microsoft.com/office/drawing/2014/main" id="{AD34A29D-9581-4661-BAC6-DFB4DF1F5397}"/>
                </a:ext>
              </a:extLst>
            </p:cNvPr>
            <p:cNvSpPr>
              <a:spLocks noChangeAspect="1"/>
            </p:cNvSpPr>
            <p:nvPr/>
          </p:nvSpPr>
          <p:spPr bwMode="gray">
            <a:xfrm rot="9927096">
              <a:off x="8734789" y="1347929"/>
              <a:ext cx="73611" cy="63458"/>
            </a:xfrm>
            <a:prstGeom prst="triangle">
              <a:avLst/>
            </a:prstGeom>
            <a:solidFill>
              <a:schemeClr val="accent5"/>
            </a:solidFill>
            <a:ln w="952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050" dirty="0">
                <a:solidFill>
                  <a:schemeClr val="tx1"/>
                </a:solidFill>
              </a:endParaRPr>
            </a:p>
          </p:txBody>
        </p:sp>
        <p:sp>
          <p:nvSpPr>
            <p:cNvPr id="17" name="Oval 16">
              <a:extLst>
                <a:ext uri="{FF2B5EF4-FFF2-40B4-BE49-F238E27FC236}">
                  <a16:creationId xmlns="" xmlns:a16="http://schemas.microsoft.com/office/drawing/2014/main" id="{BFF74F25-EB5E-4527-8581-0E164F89C80F}"/>
                </a:ext>
              </a:extLst>
            </p:cNvPr>
            <p:cNvSpPr/>
            <p:nvPr/>
          </p:nvSpPr>
          <p:spPr>
            <a:xfrm>
              <a:off x="8611091" y="1243852"/>
              <a:ext cx="50253" cy="50252"/>
            </a:xfrm>
            <a:prstGeom prst="ellipse">
              <a:avLst/>
            </a:prstGeom>
            <a:solidFill>
              <a:schemeClr val="accent5"/>
            </a:solidFill>
            <a:ln w="12700" cap="flat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 b="1" dirty="0">
                <a:solidFill>
                  <a:schemeClr val="bg1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="" xmlns:a16="http://schemas.microsoft.com/office/drawing/2014/main" id="{00A129B6-615D-417E-A5FF-BF0A72E04226}"/>
                </a:ext>
              </a:extLst>
            </p:cNvPr>
            <p:cNvSpPr/>
            <p:nvPr/>
          </p:nvSpPr>
          <p:spPr>
            <a:xfrm>
              <a:off x="8486575" y="1225848"/>
              <a:ext cx="328615" cy="385342"/>
            </a:xfrm>
            <a:prstGeom prst="rect">
              <a:avLst/>
            </a:prstGeom>
            <a:solidFill>
              <a:schemeClr val="bg1">
                <a:alpha val="80000"/>
              </a:schemeClr>
            </a:solidFill>
            <a:ln w="6350" cap="flat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900"/>
                </a:spcBef>
              </a:pPr>
              <a:endParaRPr lang="en-US" sz="140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9" name="Oval 18">
              <a:extLst>
                <a:ext uri="{FF2B5EF4-FFF2-40B4-BE49-F238E27FC236}">
                  <a16:creationId xmlns="" xmlns:a16="http://schemas.microsoft.com/office/drawing/2014/main" id="{3E98A2CE-5146-4C5F-A545-6FDD7370DFB0}"/>
                </a:ext>
              </a:extLst>
            </p:cNvPr>
            <p:cNvSpPr/>
            <p:nvPr/>
          </p:nvSpPr>
          <p:spPr>
            <a:xfrm>
              <a:off x="7921579" y="1349312"/>
              <a:ext cx="212364" cy="212364"/>
            </a:xfrm>
            <a:prstGeom prst="ellipse">
              <a:avLst/>
            </a:prstGeom>
            <a:solidFill>
              <a:schemeClr val="bg2"/>
            </a:solidFill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ot="0" spcFirstLastPara="0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20" name="Arc 19">
              <a:extLst>
                <a:ext uri="{FF2B5EF4-FFF2-40B4-BE49-F238E27FC236}">
                  <a16:creationId xmlns="" xmlns:a16="http://schemas.microsoft.com/office/drawing/2014/main" id="{A0AB8420-2770-4899-AC43-A47624E481BC}"/>
                </a:ext>
              </a:extLst>
            </p:cNvPr>
            <p:cNvSpPr/>
            <p:nvPr/>
          </p:nvSpPr>
          <p:spPr bwMode="gray">
            <a:xfrm>
              <a:off x="7883769" y="1267966"/>
              <a:ext cx="283644" cy="247796"/>
            </a:xfrm>
            <a:prstGeom prst="arc">
              <a:avLst>
                <a:gd name="adj1" fmla="val 11178900"/>
                <a:gd name="adj2" fmla="val 21075396"/>
              </a:avLst>
            </a:prstGeom>
            <a:ln w="19050" cap="flat">
              <a:solidFill>
                <a:schemeClr val="bg2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100" dirty="0"/>
            </a:p>
          </p:txBody>
        </p:sp>
        <p:sp>
          <p:nvSpPr>
            <p:cNvPr id="21" name="Rectangle 20">
              <a:extLst>
                <a:ext uri="{FF2B5EF4-FFF2-40B4-BE49-F238E27FC236}">
                  <a16:creationId xmlns="" xmlns:a16="http://schemas.microsoft.com/office/drawing/2014/main" id="{33C5B095-13E5-455C-9204-B2BD9ABC7DCF}"/>
                </a:ext>
              </a:extLst>
            </p:cNvPr>
            <p:cNvSpPr/>
            <p:nvPr/>
          </p:nvSpPr>
          <p:spPr>
            <a:xfrm>
              <a:off x="7877395" y="1225848"/>
              <a:ext cx="328615" cy="385342"/>
            </a:xfrm>
            <a:prstGeom prst="rect">
              <a:avLst/>
            </a:prstGeom>
            <a:solidFill>
              <a:schemeClr val="bg1">
                <a:alpha val="80000"/>
              </a:schemeClr>
            </a:solidFill>
            <a:ln w="6350" cap="flat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900"/>
                </a:spcBef>
              </a:pPr>
              <a:endParaRPr lang="en-US" sz="140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2" name="Oval 21">
              <a:extLst>
                <a:ext uri="{FF2B5EF4-FFF2-40B4-BE49-F238E27FC236}">
                  <a16:creationId xmlns="" xmlns:a16="http://schemas.microsoft.com/office/drawing/2014/main" id="{22C1417D-C0DF-425F-B1EA-C0A7EC164858}"/>
                </a:ext>
              </a:extLst>
            </p:cNvPr>
            <p:cNvSpPr/>
            <p:nvPr/>
          </p:nvSpPr>
          <p:spPr>
            <a:xfrm>
              <a:off x="8225098" y="1244357"/>
              <a:ext cx="212364" cy="212364"/>
            </a:xfrm>
            <a:prstGeom prst="ellipse">
              <a:avLst/>
            </a:prstGeom>
            <a:solidFill>
              <a:schemeClr val="accent1"/>
            </a:solidFill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ot="0" spcFirstLastPara="0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23" name="Arc 22">
              <a:extLst>
                <a:ext uri="{FF2B5EF4-FFF2-40B4-BE49-F238E27FC236}">
                  <a16:creationId xmlns="" xmlns:a16="http://schemas.microsoft.com/office/drawing/2014/main" id="{6A0208D0-2202-4068-9629-F81575FE5B60}"/>
                </a:ext>
              </a:extLst>
            </p:cNvPr>
            <p:cNvSpPr/>
            <p:nvPr/>
          </p:nvSpPr>
          <p:spPr bwMode="gray">
            <a:xfrm flipV="1">
              <a:off x="8184095" y="1313981"/>
              <a:ext cx="283644" cy="247373"/>
            </a:xfrm>
            <a:prstGeom prst="arc">
              <a:avLst>
                <a:gd name="adj1" fmla="val 11178900"/>
                <a:gd name="adj2" fmla="val 21075396"/>
              </a:avLst>
            </a:prstGeom>
            <a:ln w="19050" cap="flat">
              <a:solidFill>
                <a:schemeClr val="accent1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100" dirty="0"/>
            </a:p>
          </p:txBody>
        </p:sp>
        <p:sp>
          <p:nvSpPr>
            <p:cNvPr id="24" name="Isosceles Triangle 23">
              <a:extLst>
                <a:ext uri="{FF2B5EF4-FFF2-40B4-BE49-F238E27FC236}">
                  <a16:creationId xmlns="" xmlns:a16="http://schemas.microsoft.com/office/drawing/2014/main" id="{401D8938-53A8-4EF6-9FC7-7B0105B2302E}"/>
                </a:ext>
              </a:extLst>
            </p:cNvPr>
            <p:cNvSpPr>
              <a:spLocks noChangeAspect="1"/>
            </p:cNvSpPr>
            <p:nvPr/>
          </p:nvSpPr>
          <p:spPr bwMode="gray">
            <a:xfrm rot="11672904" flipV="1">
              <a:off x="8432310" y="1418179"/>
              <a:ext cx="73611" cy="63349"/>
            </a:xfrm>
            <a:prstGeom prst="triangle">
              <a:avLst/>
            </a:prstGeom>
            <a:solidFill>
              <a:schemeClr val="accent1"/>
            </a:solidFill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050" dirty="0">
                <a:solidFill>
                  <a:schemeClr val="tx1"/>
                </a:solidFill>
              </a:endParaRPr>
            </a:p>
          </p:txBody>
        </p:sp>
        <p:sp>
          <p:nvSpPr>
            <p:cNvPr id="25" name="Oval 24">
              <a:extLst>
                <a:ext uri="{FF2B5EF4-FFF2-40B4-BE49-F238E27FC236}">
                  <a16:creationId xmlns="" xmlns:a16="http://schemas.microsoft.com/office/drawing/2014/main" id="{98170558-834B-4009-B86E-FFC6DBC68739}"/>
                </a:ext>
              </a:extLst>
            </p:cNvPr>
            <p:cNvSpPr/>
            <p:nvPr/>
          </p:nvSpPr>
          <p:spPr>
            <a:xfrm>
              <a:off x="8306154" y="1537095"/>
              <a:ext cx="50253" cy="50252"/>
            </a:xfrm>
            <a:prstGeom prst="ellipse">
              <a:avLst/>
            </a:prstGeom>
            <a:solidFill>
              <a:schemeClr val="accent1"/>
            </a:solidFill>
            <a:ln w="12700" cap="flat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 b="1" dirty="0">
                <a:solidFill>
                  <a:schemeClr val="bg1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</p:grpSp>
      <p:sp>
        <p:nvSpPr>
          <p:cNvPr id="26" name="Rectangle 25">
            <a:extLst>
              <a:ext uri="{FF2B5EF4-FFF2-40B4-BE49-F238E27FC236}">
                <a16:creationId xmlns="" xmlns:a16="http://schemas.microsoft.com/office/drawing/2014/main" id="{989D1721-CDCB-42F5-A444-57C8AA72ACBC}"/>
              </a:ext>
            </a:extLst>
          </p:cNvPr>
          <p:cNvSpPr/>
          <p:nvPr/>
        </p:nvSpPr>
        <p:spPr>
          <a:xfrm>
            <a:off x="244800" y="2057400"/>
            <a:ext cx="8648375" cy="4684714"/>
          </a:xfrm>
          <a:prstGeom prst="rect">
            <a:avLst/>
          </a:prstGeom>
          <a:noFill/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97212" indent="-97212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1200" b="1" dirty="0">
                <a:solidFill>
                  <a:schemeClr val="tx1"/>
                </a:solidFill>
                <a:latin typeface="+mj-lt"/>
                <a:cs typeface="Arial" pitchFamily="34" charset="0"/>
              </a:rPr>
              <a:t>Feature Scaling </a:t>
            </a:r>
            <a:r>
              <a:rPr lang="en-US" sz="1200" dirty="0">
                <a:solidFill>
                  <a:schemeClr val="tx1"/>
                </a:solidFill>
                <a:latin typeface="+mj-lt"/>
                <a:cs typeface="Arial" pitchFamily="34" charset="0"/>
              </a:rPr>
              <a:t>for the numerical </a:t>
            </a:r>
            <a:r>
              <a:rPr lang="en-US" sz="12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columns: </a:t>
            </a:r>
          </a:p>
          <a:p>
            <a:pPr marL="554412" lvl="1" indent="-97212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12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Age</a:t>
            </a:r>
          </a:p>
          <a:p>
            <a:pPr marL="554412" lvl="1" indent="-97212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12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Flight Distance</a:t>
            </a:r>
          </a:p>
          <a:p>
            <a:pPr marL="554412" lvl="1" indent="-97212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12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Departure Delay</a:t>
            </a:r>
            <a:endParaRPr lang="en-US" sz="1200" dirty="0">
              <a:solidFill>
                <a:schemeClr val="tx1"/>
              </a:solidFill>
              <a:latin typeface="+mj-lt"/>
              <a:cs typeface="Arial" pitchFamily="34" charset="0"/>
            </a:endParaRPr>
          </a:p>
          <a:p>
            <a:pPr marL="554412" lvl="1" indent="-97212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12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Arrival Delay</a:t>
            </a:r>
            <a:endParaRPr lang="en-US" sz="1200" dirty="0">
              <a:solidFill>
                <a:schemeClr val="tx1"/>
              </a:solidFill>
              <a:latin typeface="+mj-lt"/>
              <a:cs typeface="Arial" pitchFamily="34" charset="0"/>
            </a:endParaRPr>
          </a:p>
          <a:p>
            <a:pPr marL="97212" indent="-97212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  <a:latin typeface="+mj-lt"/>
                <a:cs typeface="Arial" pitchFamily="34" charset="0"/>
              </a:rPr>
              <a:t>Creating 2 sub-data frames: </a:t>
            </a:r>
          </a:p>
          <a:p>
            <a:pPr marL="554412" lvl="1" indent="-97212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1200" b="1" dirty="0">
                <a:solidFill>
                  <a:schemeClr val="tx1"/>
                </a:solidFill>
                <a:latin typeface="+mj-lt"/>
                <a:cs typeface="Arial" pitchFamily="34" charset="0"/>
              </a:rPr>
              <a:t>Numcla</a:t>
            </a:r>
            <a:r>
              <a:rPr lang="en-US" sz="1200" dirty="0">
                <a:solidFill>
                  <a:schemeClr val="tx1"/>
                </a:solidFill>
                <a:latin typeface="+mj-lt"/>
                <a:cs typeface="Arial" pitchFamily="34" charset="0"/>
              </a:rPr>
              <a:t>: Numerical Based Classification Model </a:t>
            </a:r>
          </a:p>
          <a:p>
            <a:pPr marL="554412" lvl="1" indent="-97212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1200" b="1" dirty="0">
                <a:solidFill>
                  <a:schemeClr val="tx1"/>
                </a:solidFill>
                <a:latin typeface="+mj-lt"/>
                <a:cs typeface="Arial" pitchFamily="34" charset="0"/>
              </a:rPr>
              <a:t>Catcla</a:t>
            </a:r>
            <a:r>
              <a:rPr lang="en-US" sz="1200" dirty="0">
                <a:solidFill>
                  <a:schemeClr val="tx1"/>
                </a:solidFill>
                <a:latin typeface="+mj-lt"/>
                <a:cs typeface="Arial" pitchFamily="34" charset="0"/>
              </a:rPr>
              <a:t>: Categorical Based Classification Model</a:t>
            </a:r>
          </a:p>
          <a:p>
            <a:pPr marL="97212" indent="-97212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12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Assumptions Check :</a:t>
            </a:r>
          </a:p>
          <a:p>
            <a:pPr marL="554412" lvl="1" indent="-97212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12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Numcla</a:t>
            </a:r>
            <a:r>
              <a:rPr lang="en-US" sz="1200" b="1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: </a:t>
            </a:r>
            <a:r>
              <a:rPr lang="en-US" sz="1200" b="1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Multi</a:t>
            </a:r>
            <a:r>
              <a:rPr lang="en-US" sz="1200" b="1" dirty="0">
                <a:solidFill>
                  <a:schemeClr val="tx1"/>
                </a:solidFill>
                <a:latin typeface="+mj-lt"/>
                <a:cs typeface="Arial" pitchFamily="34" charset="0"/>
              </a:rPr>
              <a:t>-</a:t>
            </a:r>
            <a:r>
              <a:rPr lang="en-US" sz="1200" b="1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Collinearity </a:t>
            </a:r>
            <a:r>
              <a:rPr lang="en-US" sz="12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check for Regression Model</a:t>
            </a:r>
            <a:endParaRPr lang="en-US" sz="1200" dirty="0">
              <a:solidFill>
                <a:schemeClr val="tx1"/>
              </a:solidFill>
              <a:latin typeface="+mj-lt"/>
              <a:cs typeface="Arial" pitchFamily="34" charset="0"/>
            </a:endParaRPr>
          </a:p>
          <a:p>
            <a:pPr marL="554412" lvl="1" indent="-97212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  <a:latin typeface="+mj-lt"/>
                <a:cs typeface="Arial" pitchFamily="34" charset="0"/>
              </a:rPr>
              <a:t>D</a:t>
            </a:r>
            <a:r>
              <a:rPr lang="en-US" sz="12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rop features </a:t>
            </a:r>
            <a:r>
              <a:rPr lang="en-US" sz="1200" dirty="0">
                <a:solidFill>
                  <a:schemeClr val="tx1"/>
                </a:solidFill>
                <a:latin typeface="+mj-lt"/>
                <a:cs typeface="Arial" pitchFamily="34" charset="0"/>
              </a:rPr>
              <a:t>with </a:t>
            </a:r>
            <a:r>
              <a:rPr lang="en-US" sz="1200" b="1" dirty="0">
                <a:solidFill>
                  <a:schemeClr val="tx1"/>
                </a:solidFill>
                <a:latin typeface="+mj-lt"/>
                <a:cs typeface="Arial" pitchFamily="34" charset="0"/>
              </a:rPr>
              <a:t>Variance Inflation </a:t>
            </a:r>
            <a:r>
              <a:rPr lang="en-US" sz="1200" b="1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Factor </a:t>
            </a:r>
            <a:r>
              <a:rPr lang="en-US" sz="12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(</a:t>
            </a:r>
            <a:r>
              <a:rPr lang="en-US" sz="1200" b="1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VIF</a:t>
            </a:r>
            <a:r>
              <a:rPr lang="en-US" sz="12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)  </a:t>
            </a:r>
            <a:r>
              <a:rPr lang="en-US" sz="1200" dirty="0">
                <a:solidFill>
                  <a:schemeClr val="tx1"/>
                </a:solidFill>
                <a:latin typeface="+mj-lt"/>
                <a:cs typeface="Arial" pitchFamily="34" charset="0"/>
              </a:rPr>
              <a:t>&gt; </a:t>
            </a:r>
            <a:r>
              <a:rPr lang="en-US" sz="12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10</a:t>
            </a:r>
          </a:p>
          <a:p>
            <a:pPr marL="554412" lvl="1" indent="-97212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12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Dropped List</a:t>
            </a:r>
            <a:r>
              <a:rPr lang="en-US" sz="1200" dirty="0">
                <a:solidFill>
                  <a:schemeClr val="tx1"/>
                </a:solidFill>
                <a:latin typeface="+mj-lt"/>
                <a:cs typeface="Arial" pitchFamily="34" charset="0"/>
              </a:rPr>
              <a:t>: </a:t>
            </a:r>
            <a:endParaRPr lang="en-US" sz="1200" dirty="0">
              <a:solidFill>
                <a:schemeClr val="tx1"/>
              </a:solidFill>
              <a:latin typeface="+mj-lt"/>
              <a:cs typeface="Arial" pitchFamily="34" charset="0"/>
            </a:endParaRPr>
          </a:p>
          <a:p>
            <a:pPr marL="1011612" lvl="2" indent="-97212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12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Class Business		</a:t>
            </a:r>
            <a:r>
              <a:rPr lang="en-US" sz="1200" dirty="0">
                <a:solidFill>
                  <a:schemeClr val="tx1"/>
                </a:solidFill>
                <a:cs typeface="Arial" pitchFamily="34" charset="0"/>
              </a:rPr>
              <a:t>Arrival Delay</a:t>
            </a:r>
            <a:endParaRPr lang="en-US" sz="1200" dirty="0">
              <a:solidFill>
                <a:schemeClr val="tx1"/>
              </a:solidFill>
              <a:latin typeface="+mj-lt"/>
              <a:cs typeface="Arial" pitchFamily="34" charset="0"/>
            </a:endParaRPr>
          </a:p>
          <a:p>
            <a:pPr marL="1011612" lvl="2" indent="-97212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12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Inflight Entertainment		</a:t>
            </a:r>
            <a:r>
              <a:rPr lang="en-US" sz="1200" dirty="0">
                <a:solidFill>
                  <a:schemeClr val="tx1"/>
                </a:solidFill>
                <a:cs typeface="Arial" pitchFamily="34" charset="0"/>
              </a:rPr>
              <a:t>Baggage Handling</a:t>
            </a:r>
            <a:endParaRPr lang="en-US" sz="1200" dirty="0">
              <a:solidFill>
                <a:schemeClr val="tx1"/>
              </a:solidFill>
              <a:latin typeface="+mj-lt"/>
              <a:cs typeface="Arial" pitchFamily="34" charset="0"/>
            </a:endParaRPr>
          </a:p>
          <a:p>
            <a:pPr marL="1011612" lvl="2" indent="-97212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12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Inflight Service		</a:t>
            </a:r>
            <a:r>
              <a:rPr lang="en-US" sz="1200" dirty="0" smtClean="0">
                <a:solidFill>
                  <a:schemeClr val="tx1"/>
                </a:solidFill>
                <a:cs typeface="Arial" pitchFamily="34" charset="0"/>
              </a:rPr>
              <a:t>Cleanliness</a:t>
            </a:r>
            <a:endParaRPr lang="en-US" sz="1200" dirty="0">
              <a:solidFill>
                <a:schemeClr val="tx1"/>
              </a:solidFill>
              <a:latin typeface="+mj-lt"/>
              <a:cs typeface="Arial" pitchFamily="34" charset="0"/>
            </a:endParaRPr>
          </a:p>
          <a:p>
            <a:pPr marL="1011612" lvl="2" indent="-97212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12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Seat comfort		Online Boarding</a:t>
            </a:r>
          </a:p>
          <a:p>
            <a:pPr marL="1011612" lvl="2" indent="-97212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  <a:cs typeface="Arial" pitchFamily="34" charset="0"/>
              </a:rPr>
              <a:t>Ease of Online Booking</a:t>
            </a:r>
            <a:endParaRPr lang="en-US" sz="12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="" xmlns:a16="http://schemas.microsoft.com/office/drawing/2014/main" id="{2832E03E-F765-40BC-B4B0-100CD3553C3E}"/>
              </a:ext>
            </a:extLst>
          </p:cNvPr>
          <p:cNvSpPr txBox="1"/>
          <p:nvPr/>
        </p:nvSpPr>
        <p:spPr>
          <a:xfrm>
            <a:off x="244474" y="1628140"/>
            <a:ext cx="6840220" cy="249299"/>
          </a:xfrm>
          <a:prstGeom prst="rect">
            <a:avLst/>
          </a:prstGeom>
          <a:noFill/>
          <a:ln w="6350" cap="flat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A5FFFF"/>
                </a:solidFill>
              </a14:hiddenFill>
            </a:ext>
          </a:extLst>
        </p:spPr>
        <p:txBody>
          <a:bodyPr vert="horz" wrap="square" lIns="365760" tIns="0" rIns="0" bIns="0" rtlCol="0" anchor="t" anchorCtr="0">
            <a:sp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2"/>
              </a:buClr>
            </a:pP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Feature Engineering </a:t>
            </a:r>
          </a:p>
        </p:txBody>
      </p:sp>
      <p:sp>
        <p:nvSpPr>
          <p:cNvPr id="30" name="Oval 29">
            <a:extLst>
              <a:ext uri="{FF2B5EF4-FFF2-40B4-BE49-F238E27FC236}">
                <a16:creationId xmlns="" xmlns:a16="http://schemas.microsoft.com/office/drawing/2014/main" id="{DC48E21B-E7CF-4857-8EC3-34B8AB7CC034}"/>
              </a:ext>
            </a:extLst>
          </p:cNvPr>
          <p:cNvSpPr/>
          <p:nvPr/>
        </p:nvSpPr>
        <p:spPr>
          <a:xfrm>
            <a:off x="246380" y="1600200"/>
            <a:ext cx="279400" cy="279400"/>
          </a:xfrm>
          <a:prstGeom prst="ellipse">
            <a:avLst/>
          </a:prstGeom>
          <a:solidFill>
            <a:schemeClr val="accent1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1600" b="1" dirty="0">
                <a:solidFill>
                  <a:schemeClr val="bg1"/>
                </a:solidFill>
                <a:latin typeface="Arial" panose="020B0604020202020204" pitchFamily="34" charset="0"/>
                <a:cs typeface="Arial" pitchFamily="34" charset="0"/>
              </a:rPr>
              <a:t>4</a:t>
            </a:r>
          </a:p>
        </p:txBody>
      </p:sp>
      <p:sp>
        <p:nvSpPr>
          <p:cNvPr id="27" name="Google Shape;203;p26">
            <a:extLst>
              <a:ext uri="{FF2B5EF4-FFF2-40B4-BE49-F238E27FC236}">
                <a16:creationId xmlns="" xmlns:a16="http://schemas.microsoft.com/office/drawing/2014/main" id="{E3312A4C-A07D-4024-B277-593684D2CD8C}"/>
              </a:ext>
            </a:extLst>
          </p:cNvPr>
          <p:cNvSpPr/>
          <p:nvPr/>
        </p:nvSpPr>
        <p:spPr>
          <a:xfrm rot="10800000" flipH="1" flipV="1">
            <a:off x="7084695" y="5664482"/>
            <a:ext cx="2072956" cy="1328913"/>
          </a:xfrm>
          <a:custGeom>
            <a:avLst/>
            <a:gdLst/>
            <a:ahLst/>
            <a:cxnLst/>
            <a:rect l="l" t="t" r="r" b="b"/>
            <a:pathLst>
              <a:path w="88563" h="57373" extrusionOk="0">
                <a:moveTo>
                  <a:pt x="77406" y="1"/>
                </a:moveTo>
                <a:cubicBezTo>
                  <a:pt x="73923" y="1"/>
                  <a:pt x="70569" y="1636"/>
                  <a:pt x="68428" y="4533"/>
                </a:cubicBezTo>
                <a:cubicBezTo>
                  <a:pt x="66354" y="2849"/>
                  <a:pt x="63871" y="2037"/>
                  <a:pt x="61410" y="2037"/>
                </a:cubicBezTo>
                <a:cubicBezTo>
                  <a:pt x="57939" y="2037"/>
                  <a:pt x="54510" y="3652"/>
                  <a:pt x="52326" y="6713"/>
                </a:cubicBezTo>
                <a:cubicBezTo>
                  <a:pt x="50354" y="3053"/>
                  <a:pt x="46550" y="846"/>
                  <a:pt x="42494" y="846"/>
                </a:cubicBezTo>
                <a:cubicBezTo>
                  <a:pt x="41870" y="846"/>
                  <a:pt x="41240" y="898"/>
                  <a:pt x="40610" y="1005"/>
                </a:cubicBezTo>
                <a:cubicBezTo>
                  <a:pt x="35883" y="1822"/>
                  <a:pt x="32205" y="5555"/>
                  <a:pt x="31469" y="10296"/>
                </a:cubicBezTo>
                <a:cubicBezTo>
                  <a:pt x="29397" y="8536"/>
                  <a:pt x="26838" y="7653"/>
                  <a:pt x="24274" y="7653"/>
                </a:cubicBezTo>
                <a:cubicBezTo>
                  <a:pt x="21817" y="7653"/>
                  <a:pt x="19356" y="8464"/>
                  <a:pt x="17315" y="10091"/>
                </a:cubicBezTo>
                <a:cubicBezTo>
                  <a:pt x="13160" y="13415"/>
                  <a:pt x="11921" y="19218"/>
                  <a:pt x="14373" y="23945"/>
                </a:cubicBezTo>
                <a:cubicBezTo>
                  <a:pt x="10504" y="26302"/>
                  <a:pt x="8447" y="30770"/>
                  <a:pt x="9183" y="35252"/>
                </a:cubicBezTo>
                <a:cubicBezTo>
                  <a:pt x="3883" y="36206"/>
                  <a:pt x="28" y="40810"/>
                  <a:pt x="15" y="46205"/>
                </a:cubicBezTo>
                <a:cubicBezTo>
                  <a:pt x="1" y="51586"/>
                  <a:pt x="3829" y="56204"/>
                  <a:pt x="9128" y="57198"/>
                </a:cubicBezTo>
                <a:lnTo>
                  <a:pt x="9155" y="57198"/>
                </a:lnTo>
                <a:cubicBezTo>
                  <a:pt x="9817" y="57315"/>
                  <a:pt x="10485" y="57373"/>
                  <a:pt x="11154" y="57373"/>
                </a:cubicBezTo>
                <a:cubicBezTo>
                  <a:pt x="11739" y="57373"/>
                  <a:pt x="12323" y="57328"/>
                  <a:pt x="12902" y="57239"/>
                </a:cubicBezTo>
                <a:cubicBezTo>
                  <a:pt x="16726" y="57262"/>
                  <a:pt x="23112" y="57271"/>
                  <a:pt x="30601" y="57271"/>
                </a:cubicBezTo>
                <a:cubicBezTo>
                  <a:pt x="54137" y="57271"/>
                  <a:pt x="88562" y="57185"/>
                  <a:pt x="88562" y="57185"/>
                </a:cubicBezTo>
                <a:lnTo>
                  <a:pt x="88562" y="10377"/>
                </a:lnTo>
                <a:lnTo>
                  <a:pt x="88535" y="10377"/>
                </a:lnTo>
                <a:cubicBezTo>
                  <a:pt x="88208" y="5718"/>
                  <a:pt x="85007" y="1740"/>
                  <a:pt x="80525" y="446"/>
                </a:cubicBezTo>
                <a:cubicBezTo>
                  <a:pt x="79493" y="146"/>
                  <a:pt x="78444" y="1"/>
                  <a:pt x="77406" y="1"/>
                </a:cubicBezTo>
                <a:close/>
              </a:path>
            </a:pathLst>
          </a:custGeom>
          <a:solidFill>
            <a:schemeClr val="accent1"/>
          </a:solidFill>
          <a:ln w="9525" cap="flat" cmpd="sng">
            <a:noFill/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 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4609252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AA16B7AC-F676-4F67-8813-4F8F68AAD7D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918"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="" xmlns:a16="http://schemas.microsoft.com/office/drawing/2014/main" id="{AA16B7AC-F676-4F67-8813-4F8F68AAD7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="" xmlns:a16="http://schemas.microsoft.com/office/drawing/2014/main" id="{260A3D96-399B-450E-B597-24C3AA9AE05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US" sz="240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="" xmlns:a16="http://schemas.microsoft.com/office/drawing/2014/main" id="{48D13E25-DCE9-4BCE-806B-429683B77FA6}"/>
              </a:ext>
            </a:extLst>
          </p:cNvPr>
          <p:cNvSpPr txBox="1"/>
          <p:nvPr/>
        </p:nvSpPr>
        <p:spPr>
          <a:xfrm>
            <a:off x="244474" y="1301507"/>
            <a:ext cx="6840220" cy="249299"/>
          </a:xfrm>
          <a:prstGeom prst="rect">
            <a:avLst/>
          </a:prstGeom>
          <a:noFill/>
          <a:ln w="6350" cap="flat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A5FFFF"/>
                </a:solidFill>
              </a14:hiddenFill>
            </a:ext>
          </a:extLst>
        </p:spPr>
        <p:txBody>
          <a:bodyPr vert="horz" wrap="square" lIns="365760" tIns="0" rIns="0" bIns="0" rtlCol="0" anchor="t" anchorCtr="0">
            <a:sp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2"/>
              </a:buClr>
            </a:pP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Feature Engineering</a:t>
            </a:r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7956AB31-F718-491D-AAC7-99EB166076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4507" y="493495"/>
            <a:ext cx="7604094" cy="338554"/>
          </a:xfrm>
        </p:spPr>
        <p:txBody>
          <a:bodyPr/>
          <a:lstStyle/>
          <a:p>
            <a:r>
              <a:rPr lang="en-US" b="1" dirty="0"/>
              <a:t>Framework</a:t>
            </a:r>
          </a:p>
        </p:txBody>
      </p:sp>
      <p:sp>
        <p:nvSpPr>
          <p:cNvPr id="5" name="Oval 4">
            <a:extLst>
              <a:ext uri="{FF2B5EF4-FFF2-40B4-BE49-F238E27FC236}">
                <a16:creationId xmlns="" xmlns:a16="http://schemas.microsoft.com/office/drawing/2014/main" id="{3D60A96E-A8F3-4D57-873D-4053E79B24CA}"/>
              </a:ext>
            </a:extLst>
          </p:cNvPr>
          <p:cNvSpPr/>
          <p:nvPr/>
        </p:nvSpPr>
        <p:spPr>
          <a:xfrm>
            <a:off x="246380" y="1273567"/>
            <a:ext cx="279400" cy="279400"/>
          </a:xfrm>
          <a:prstGeom prst="ellipse">
            <a:avLst/>
          </a:prstGeom>
          <a:solidFill>
            <a:schemeClr val="accent1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1600" b="1" dirty="0">
                <a:solidFill>
                  <a:schemeClr val="bg1"/>
                </a:solidFill>
                <a:latin typeface="Arial" panose="020B0604020202020204" pitchFamily="34" charset="0"/>
                <a:cs typeface="Arial" pitchFamily="34" charset="0"/>
              </a:rPr>
              <a:t>4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="" xmlns:a16="http://schemas.microsoft.com/office/drawing/2014/main" id="{0BBEB72A-2139-4645-915E-CEC28070B56D}"/>
              </a:ext>
            </a:extLst>
          </p:cNvPr>
          <p:cNvGrpSpPr/>
          <p:nvPr/>
        </p:nvGrpSpPr>
        <p:grpSpPr>
          <a:xfrm>
            <a:off x="7877395" y="1225848"/>
            <a:ext cx="937795" cy="385342"/>
            <a:chOff x="7877395" y="1225848"/>
            <a:chExt cx="937795" cy="385342"/>
          </a:xfrm>
        </p:grpSpPr>
        <p:sp>
          <p:nvSpPr>
            <p:cNvPr id="12" name="Isosceles Triangle 11">
              <a:extLst>
                <a:ext uri="{FF2B5EF4-FFF2-40B4-BE49-F238E27FC236}">
                  <a16:creationId xmlns="" xmlns:a16="http://schemas.microsoft.com/office/drawing/2014/main" id="{35B3CE62-F491-498C-8FB7-E66CFD69DB95}"/>
                </a:ext>
              </a:extLst>
            </p:cNvPr>
            <p:cNvSpPr>
              <a:spLocks noChangeAspect="1"/>
            </p:cNvSpPr>
            <p:nvPr/>
          </p:nvSpPr>
          <p:spPr bwMode="gray">
            <a:xfrm rot="9927096">
              <a:off x="8132907" y="1349645"/>
              <a:ext cx="73611" cy="63458"/>
            </a:xfrm>
            <a:prstGeom prst="triangle">
              <a:avLst/>
            </a:prstGeom>
            <a:solidFill>
              <a:schemeClr val="bg2"/>
            </a:solidFill>
            <a:ln w="9525">
              <a:solidFill>
                <a:srgbClr val="007F7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050" dirty="0">
                <a:solidFill>
                  <a:schemeClr val="tx1"/>
                </a:solidFill>
              </a:endParaRPr>
            </a:p>
          </p:txBody>
        </p:sp>
        <p:sp>
          <p:nvSpPr>
            <p:cNvPr id="13" name="Oval 12">
              <a:extLst>
                <a:ext uri="{FF2B5EF4-FFF2-40B4-BE49-F238E27FC236}">
                  <a16:creationId xmlns="" xmlns:a16="http://schemas.microsoft.com/office/drawing/2014/main" id="{D5057345-1014-4E3D-8249-CA3762D4EBD7}"/>
                </a:ext>
              </a:extLst>
            </p:cNvPr>
            <p:cNvSpPr/>
            <p:nvPr/>
          </p:nvSpPr>
          <p:spPr>
            <a:xfrm>
              <a:off x="8002635" y="1243852"/>
              <a:ext cx="50253" cy="50252"/>
            </a:xfrm>
            <a:prstGeom prst="ellipse">
              <a:avLst/>
            </a:prstGeom>
            <a:solidFill>
              <a:schemeClr val="bg2"/>
            </a:solidFill>
            <a:ln w="12700" cap="flat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 b="1" dirty="0">
                <a:solidFill>
                  <a:schemeClr val="bg1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14" name="Oval 13">
              <a:extLst>
                <a:ext uri="{FF2B5EF4-FFF2-40B4-BE49-F238E27FC236}">
                  <a16:creationId xmlns="" xmlns:a16="http://schemas.microsoft.com/office/drawing/2014/main" id="{63F9707F-DBB8-47E1-9D38-404826C77867}"/>
                </a:ext>
              </a:extLst>
            </p:cNvPr>
            <p:cNvSpPr/>
            <p:nvPr/>
          </p:nvSpPr>
          <p:spPr>
            <a:xfrm>
              <a:off x="8530035" y="1349312"/>
              <a:ext cx="212364" cy="212364"/>
            </a:xfrm>
            <a:prstGeom prst="ellipse">
              <a:avLst/>
            </a:prstGeom>
            <a:solidFill>
              <a:schemeClr val="accent5"/>
            </a:solidFill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ot="0" spcFirstLastPara="0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15" name="Arc 14">
              <a:extLst>
                <a:ext uri="{FF2B5EF4-FFF2-40B4-BE49-F238E27FC236}">
                  <a16:creationId xmlns="" xmlns:a16="http://schemas.microsoft.com/office/drawing/2014/main" id="{83A64A2A-0C53-4047-8B19-03F3FE3B04D9}"/>
                </a:ext>
              </a:extLst>
            </p:cNvPr>
            <p:cNvSpPr/>
            <p:nvPr/>
          </p:nvSpPr>
          <p:spPr bwMode="gray">
            <a:xfrm>
              <a:off x="8486575" y="1267966"/>
              <a:ext cx="283644" cy="247796"/>
            </a:xfrm>
            <a:prstGeom prst="arc">
              <a:avLst>
                <a:gd name="adj1" fmla="val 11178900"/>
                <a:gd name="adj2" fmla="val 21075396"/>
              </a:avLst>
            </a:prstGeom>
            <a:ln w="19050" cap="flat">
              <a:solidFill>
                <a:schemeClr val="accent5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100" dirty="0"/>
            </a:p>
          </p:txBody>
        </p:sp>
        <p:sp>
          <p:nvSpPr>
            <p:cNvPr id="16" name="Isosceles Triangle 15">
              <a:extLst>
                <a:ext uri="{FF2B5EF4-FFF2-40B4-BE49-F238E27FC236}">
                  <a16:creationId xmlns="" xmlns:a16="http://schemas.microsoft.com/office/drawing/2014/main" id="{AD34A29D-9581-4661-BAC6-DFB4DF1F5397}"/>
                </a:ext>
              </a:extLst>
            </p:cNvPr>
            <p:cNvSpPr>
              <a:spLocks noChangeAspect="1"/>
            </p:cNvSpPr>
            <p:nvPr/>
          </p:nvSpPr>
          <p:spPr bwMode="gray">
            <a:xfrm rot="9927096">
              <a:off x="8734789" y="1347929"/>
              <a:ext cx="73611" cy="63458"/>
            </a:xfrm>
            <a:prstGeom prst="triangle">
              <a:avLst/>
            </a:prstGeom>
            <a:solidFill>
              <a:schemeClr val="accent5"/>
            </a:solidFill>
            <a:ln w="952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050" dirty="0">
                <a:solidFill>
                  <a:schemeClr val="tx1"/>
                </a:solidFill>
              </a:endParaRPr>
            </a:p>
          </p:txBody>
        </p:sp>
        <p:sp>
          <p:nvSpPr>
            <p:cNvPr id="17" name="Oval 16">
              <a:extLst>
                <a:ext uri="{FF2B5EF4-FFF2-40B4-BE49-F238E27FC236}">
                  <a16:creationId xmlns="" xmlns:a16="http://schemas.microsoft.com/office/drawing/2014/main" id="{BFF74F25-EB5E-4527-8581-0E164F89C80F}"/>
                </a:ext>
              </a:extLst>
            </p:cNvPr>
            <p:cNvSpPr/>
            <p:nvPr/>
          </p:nvSpPr>
          <p:spPr>
            <a:xfrm>
              <a:off x="8611091" y="1243852"/>
              <a:ext cx="50253" cy="50252"/>
            </a:xfrm>
            <a:prstGeom prst="ellipse">
              <a:avLst/>
            </a:prstGeom>
            <a:solidFill>
              <a:schemeClr val="accent5"/>
            </a:solidFill>
            <a:ln w="12700" cap="flat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 b="1" dirty="0">
                <a:solidFill>
                  <a:schemeClr val="bg1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="" xmlns:a16="http://schemas.microsoft.com/office/drawing/2014/main" id="{00A129B6-615D-417E-A5FF-BF0A72E04226}"/>
                </a:ext>
              </a:extLst>
            </p:cNvPr>
            <p:cNvSpPr/>
            <p:nvPr/>
          </p:nvSpPr>
          <p:spPr>
            <a:xfrm>
              <a:off x="8486575" y="1225848"/>
              <a:ext cx="328615" cy="385342"/>
            </a:xfrm>
            <a:prstGeom prst="rect">
              <a:avLst/>
            </a:prstGeom>
            <a:solidFill>
              <a:schemeClr val="bg1">
                <a:alpha val="80000"/>
              </a:schemeClr>
            </a:solidFill>
            <a:ln w="6350" cap="flat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900"/>
                </a:spcBef>
              </a:pPr>
              <a:endParaRPr lang="en-US" sz="140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9" name="Oval 18">
              <a:extLst>
                <a:ext uri="{FF2B5EF4-FFF2-40B4-BE49-F238E27FC236}">
                  <a16:creationId xmlns="" xmlns:a16="http://schemas.microsoft.com/office/drawing/2014/main" id="{3E98A2CE-5146-4C5F-A545-6FDD7370DFB0}"/>
                </a:ext>
              </a:extLst>
            </p:cNvPr>
            <p:cNvSpPr/>
            <p:nvPr/>
          </p:nvSpPr>
          <p:spPr>
            <a:xfrm>
              <a:off x="7921579" y="1349312"/>
              <a:ext cx="212364" cy="212364"/>
            </a:xfrm>
            <a:prstGeom prst="ellipse">
              <a:avLst/>
            </a:prstGeom>
            <a:solidFill>
              <a:schemeClr val="bg2"/>
            </a:solidFill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ot="0" spcFirstLastPara="0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20" name="Arc 19">
              <a:extLst>
                <a:ext uri="{FF2B5EF4-FFF2-40B4-BE49-F238E27FC236}">
                  <a16:creationId xmlns="" xmlns:a16="http://schemas.microsoft.com/office/drawing/2014/main" id="{A0AB8420-2770-4899-AC43-A47624E481BC}"/>
                </a:ext>
              </a:extLst>
            </p:cNvPr>
            <p:cNvSpPr/>
            <p:nvPr/>
          </p:nvSpPr>
          <p:spPr bwMode="gray">
            <a:xfrm>
              <a:off x="7883769" y="1267966"/>
              <a:ext cx="283644" cy="247796"/>
            </a:xfrm>
            <a:prstGeom prst="arc">
              <a:avLst>
                <a:gd name="adj1" fmla="val 11178900"/>
                <a:gd name="adj2" fmla="val 21075396"/>
              </a:avLst>
            </a:prstGeom>
            <a:ln w="19050" cap="flat">
              <a:solidFill>
                <a:schemeClr val="bg2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100" dirty="0"/>
            </a:p>
          </p:txBody>
        </p:sp>
        <p:sp>
          <p:nvSpPr>
            <p:cNvPr id="21" name="Rectangle 20">
              <a:extLst>
                <a:ext uri="{FF2B5EF4-FFF2-40B4-BE49-F238E27FC236}">
                  <a16:creationId xmlns="" xmlns:a16="http://schemas.microsoft.com/office/drawing/2014/main" id="{33C5B095-13E5-455C-9204-B2BD9ABC7DCF}"/>
                </a:ext>
              </a:extLst>
            </p:cNvPr>
            <p:cNvSpPr/>
            <p:nvPr/>
          </p:nvSpPr>
          <p:spPr>
            <a:xfrm>
              <a:off x="7877395" y="1225848"/>
              <a:ext cx="328615" cy="385342"/>
            </a:xfrm>
            <a:prstGeom prst="rect">
              <a:avLst/>
            </a:prstGeom>
            <a:solidFill>
              <a:schemeClr val="bg1">
                <a:alpha val="80000"/>
              </a:schemeClr>
            </a:solidFill>
            <a:ln w="6350" cap="flat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900"/>
                </a:spcBef>
              </a:pPr>
              <a:endParaRPr lang="en-US" sz="140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2" name="Oval 21">
              <a:extLst>
                <a:ext uri="{FF2B5EF4-FFF2-40B4-BE49-F238E27FC236}">
                  <a16:creationId xmlns="" xmlns:a16="http://schemas.microsoft.com/office/drawing/2014/main" id="{22C1417D-C0DF-425F-B1EA-C0A7EC164858}"/>
                </a:ext>
              </a:extLst>
            </p:cNvPr>
            <p:cNvSpPr/>
            <p:nvPr/>
          </p:nvSpPr>
          <p:spPr>
            <a:xfrm>
              <a:off x="8225098" y="1244357"/>
              <a:ext cx="212364" cy="212364"/>
            </a:xfrm>
            <a:prstGeom prst="ellipse">
              <a:avLst/>
            </a:prstGeom>
            <a:solidFill>
              <a:schemeClr val="accent1"/>
            </a:solidFill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ot="0" spcFirstLastPara="0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23" name="Arc 22">
              <a:extLst>
                <a:ext uri="{FF2B5EF4-FFF2-40B4-BE49-F238E27FC236}">
                  <a16:creationId xmlns="" xmlns:a16="http://schemas.microsoft.com/office/drawing/2014/main" id="{6A0208D0-2202-4068-9629-F81575FE5B60}"/>
                </a:ext>
              </a:extLst>
            </p:cNvPr>
            <p:cNvSpPr/>
            <p:nvPr/>
          </p:nvSpPr>
          <p:spPr bwMode="gray">
            <a:xfrm flipV="1">
              <a:off x="8184095" y="1313981"/>
              <a:ext cx="283644" cy="247373"/>
            </a:xfrm>
            <a:prstGeom prst="arc">
              <a:avLst>
                <a:gd name="adj1" fmla="val 11178900"/>
                <a:gd name="adj2" fmla="val 21075396"/>
              </a:avLst>
            </a:prstGeom>
            <a:ln w="19050" cap="flat">
              <a:solidFill>
                <a:schemeClr val="accent1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100" dirty="0"/>
            </a:p>
          </p:txBody>
        </p:sp>
        <p:sp>
          <p:nvSpPr>
            <p:cNvPr id="24" name="Isosceles Triangle 23">
              <a:extLst>
                <a:ext uri="{FF2B5EF4-FFF2-40B4-BE49-F238E27FC236}">
                  <a16:creationId xmlns="" xmlns:a16="http://schemas.microsoft.com/office/drawing/2014/main" id="{401D8938-53A8-4EF6-9FC7-7B0105B2302E}"/>
                </a:ext>
              </a:extLst>
            </p:cNvPr>
            <p:cNvSpPr>
              <a:spLocks noChangeAspect="1"/>
            </p:cNvSpPr>
            <p:nvPr/>
          </p:nvSpPr>
          <p:spPr bwMode="gray">
            <a:xfrm rot="11672904" flipV="1">
              <a:off x="8432310" y="1418179"/>
              <a:ext cx="73611" cy="63349"/>
            </a:xfrm>
            <a:prstGeom prst="triangle">
              <a:avLst/>
            </a:prstGeom>
            <a:solidFill>
              <a:schemeClr val="accent1"/>
            </a:solidFill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050" dirty="0">
                <a:solidFill>
                  <a:schemeClr val="tx1"/>
                </a:solidFill>
              </a:endParaRPr>
            </a:p>
          </p:txBody>
        </p:sp>
        <p:sp>
          <p:nvSpPr>
            <p:cNvPr id="25" name="Oval 24">
              <a:extLst>
                <a:ext uri="{FF2B5EF4-FFF2-40B4-BE49-F238E27FC236}">
                  <a16:creationId xmlns="" xmlns:a16="http://schemas.microsoft.com/office/drawing/2014/main" id="{98170558-834B-4009-B86E-FFC6DBC68739}"/>
                </a:ext>
              </a:extLst>
            </p:cNvPr>
            <p:cNvSpPr/>
            <p:nvPr/>
          </p:nvSpPr>
          <p:spPr>
            <a:xfrm>
              <a:off x="8306154" y="1537095"/>
              <a:ext cx="50253" cy="50252"/>
            </a:xfrm>
            <a:prstGeom prst="ellipse">
              <a:avLst/>
            </a:prstGeom>
            <a:solidFill>
              <a:schemeClr val="accent1"/>
            </a:solidFill>
            <a:ln w="12700" cap="flat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 b="1" dirty="0">
                <a:solidFill>
                  <a:schemeClr val="bg1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</p:grpSp>
      <p:sp>
        <p:nvSpPr>
          <p:cNvPr id="28" name="Rectangle 27">
            <a:extLst>
              <a:ext uri="{FF2B5EF4-FFF2-40B4-BE49-F238E27FC236}">
                <a16:creationId xmlns="" xmlns:a16="http://schemas.microsoft.com/office/drawing/2014/main" id="{8CB181B4-F7F7-46DD-8436-013077DF9C04}"/>
              </a:ext>
            </a:extLst>
          </p:cNvPr>
          <p:cNvSpPr/>
          <p:nvPr/>
        </p:nvSpPr>
        <p:spPr>
          <a:xfrm>
            <a:off x="246380" y="1640823"/>
            <a:ext cx="8754111" cy="996090"/>
          </a:xfrm>
          <a:prstGeom prst="rect">
            <a:avLst/>
          </a:prstGeom>
          <a:noFill/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97212" indent="-97212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1200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Feature Selection </a:t>
            </a:r>
            <a:r>
              <a:rPr lang="en-US" sz="12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using </a:t>
            </a:r>
            <a:r>
              <a:rPr lang="en-US" sz="12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KBest</a:t>
            </a:r>
            <a:r>
              <a:rPr lang="en-US" sz="12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: Reduce Over-fitting, </a:t>
            </a:r>
            <a:r>
              <a:rPr lang="en-US" sz="12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Improve </a:t>
            </a:r>
            <a:r>
              <a:rPr lang="en-US" sz="12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Accuracy, and </a:t>
            </a:r>
            <a:r>
              <a:rPr lang="en-US" sz="12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R</a:t>
            </a:r>
            <a:r>
              <a:rPr lang="en-US" sz="12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educe </a:t>
            </a:r>
            <a:r>
              <a:rPr lang="en-US" sz="12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training </a:t>
            </a:r>
            <a:r>
              <a:rPr lang="en-US" sz="12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time (Selecting </a:t>
            </a:r>
            <a:r>
              <a:rPr lang="en-US" sz="12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Top 7 Features</a:t>
            </a:r>
            <a:r>
              <a:rPr lang="en-US" sz="12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)</a:t>
            </a:r>
            <a:endParaRPr lang="en-US" sz="12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  <a:p>
            <a:pPr marL="97212" indent="-97212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12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Filter-Based Feature Selection Methods</a:t>
            </a:r>
          </a:p>
          <a:p>
            <a:pPr marL="554412" lvl="1" indent="-97212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12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F- Classification </a:t>
            </a:r>
            <a:r>
              <a:rPr lang="en-US" sz="12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and </a:t>
            </a:r>
            <a:r>
              <a:rPr lang="en-US" sz="12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Chi-2</a:t>
            </a:r>
            <a:endParaRPr lang="en-US" sz="1200" b="1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31" name="Picture 30" descr="img11.png">
            <a:extLst>
              <a:ext uri="{FF2B5EF4-FFF2-40B4-BE49-F238E27FC236}">
                <a16:creationId xmlns="" xmlns:a16="http://schemas.microsoft.com/office/drawing/2014/main" id="{ED09A79F-B500-4A25-8DF0-3314603536CD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9023" y="2408587"/>
            <a:ext cx="8425955" cy="44407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433788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AA16B7AC-F676-4F67-8813-4F8F68AAD7D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942"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="" xmlns:a16="http://schemas.microsoft.com/office/drawing/2014/main" id="{AA16B7AC-F676-4F67-8813-4F8F68AAD7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="" xmlns:a16="http://schemas.microsoft.com/office/drawing/2014/main" id="{260A3D96-399B-450E-B597-24C3AA9AE05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US" sz="240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="" xmlns:a16="http://schemas.microsoft.com/office/drawing/2014/main" id="{48D13E25-DCE9-4BCE-806B-429683B77FA6}"/>
              </a:ext>
            </a:extLst>
          </p:cNvPr>
          <p:cNvSpPr txBox="1"/>
          <p:nvPr/>
        </p:nvSpPr>
        <p:spPr>
          <a:xfrm>
            <a:off x="244474" y="1301507"/>
            <a:ext cx="6840220" cy="249299"/>
          </a:xfrm>
          <a:prstGeom prst="rect">
            <a:avLst/>
          </a:prstGeom>
          <a:noFill/>
          <a:ln w="6350" cap="flat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A5FFFF"/>
                </a:solidFill>
              </a14:hiddenFill>
            </a:ext>
          </a:extLst>
        </p:spPr>
        <p:txBody>
          <a:bodyPr vert="horz" wrap="square" lIns="365760" tIns="0" rIns="0" bIns="0" rtlCol="0" anchor="t" anchorCtr="0">
            <a:sp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2"/>
              </a:buClr>
            </a:pP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Feature Engineering</a:t>
            </a:r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7956AB31-F718-491D-AAC7-99EB166076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4507" y="493495"/>
            <a:ext cx="7604094" cy="338554"/>
          </a:xfrm>
        </p:spPr>
        <p:txBody>
          <a:bodyPr/>
          <a:lstStyle/>
          <a:p>
            <a:r>
              <a:rPr lang="en-US" b="1" dirty="0"/>
              <a:t>Framework</a:t>
            </a:r>
          </a:p>
        </p:txBody>
      </p:sp>
      <p:sp>
        <p:nvSpPr>
          <p:cNvPr id="5" name="Oval 4">
            <a:extLst>
              <a:ext uri="{FF2B5EF4-FFF2-40B4-BE49-F238E27FC236}">
                <a16:creationId xmlns="" xmlns:a16="http://schemas.microsoft.com/office/drawing/2014/main" id="{3D60A96E-A8F3-4D57-873D-4053E79B24CA}"/>
              </a:ext>
            </a:extLst>
          </p:cNvPr>
          <p:cNvSpPr/>
          <p:nvPr/>
        </p:nvSpPr>
        <p:spPr>
          <a:xfrm>
            <a:off x="246380" y="1273567"/>
            <a:ext cx="279400" cy="279400"/>
          </a:xfrm>
          <a:prstGeom prst="ellipse">
            <a:avLst/>
          </a:prstGeom>
          <a:solidFill>
            <a:schemeClr val="accent1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1600" b="1" dirty="0">
                <a:solidFill>
                  <a:schemeClr val="bg1"/>
                </a:solidFill>
                <a:latin typeface="Arial" panose="020B0604020202020204" pitchFamily="34" charset="0"/>
                <a:cs typeface="Arial" pitchFamily="34" charset="0"/>
              </a:rPr>
              <a:t>4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="" xmlns:a16="http://schemas.microsoft.com/office/drawing/2014/main" id="{0BBEB72A-2139-4645-915E-CEC28070B56D}"/>
              </a:ext>
            </a:extLst>
          </p:cNvPr>
          <p:cNvGrpSpPr/>
          <p:nvPr/>
        </p:nvGrpSpPr>
        <p:grpSpPr>
          <a:xfrm>
            <a:off x="7877395" y="1225848"/>
            <a:ext cx="937795" cy="385342"/>
            <a:chOff x="7877395" y="1225848"/>
            <a:chExt cx="937795" cy="385342"/>
          </a:xfrm>
        </p:grpSpPr>
        <p:sp>
          <p:nvSpPr>
            <p:cNvPr id="12" name="Isosceles Triangle 11">
              <a:extLst>
                <a:ext uri="{FF2B5EF4-FFF2-40B4-BE49-F238E27FC236}">
                  <a16:creationId xmlns="" xmlns:a16="http://schemas.microsoft.com/office/drawing/2014/main" id="{35B3CE62-F491-498C-8FB7-E66CFD69DB95}"/>
                </a:ext>
              </a:extLst>
            </p:cNvPr>
            <p:cNvSpPr>
              <a:spLocks noChangeAspect="1"/>
            </p:cNvSpPr>
            <p:nvPr/>
          </p:nvSpPr>
          <p:spPr bwMode="gray">
            <a:xfrm rot="9927096">
              <a:off x="8132907" y="1349645"/>
              <a:ext cx="73611" cy="63458"/>
            </a:xfrm>
            <a:prstGeom prst="triangle">
              <a:avLst/>
            </a:prstGeom>
            <a:solidFill>
              <a:schemeClr val="bg2"/>
            </a:solidFill>
            <a:ln w="9525">
              <a:solidFill>
                <a:srgbClr val="007F7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050" dirty="0">
                <a:solidFill>
                  <a:schemeClr val="tx1"/>
                </a:solidFill>
              </a:endParaRPr>
            </a:p>
          </p:txBody>
        </p:sp>
        <p:sp>
          <p:nvSpPr>
            <p:cNvPr id="13" name="Oval 12">
              <a:extLst>
                <a:ext uri="{FF2B5EF4-FFF2-40B4-BE49-F238E27FC236}">
                  <a16:creationId xmlns="" xmlns:a16="http://schemas.microsoft.com/office/drawing/2014/main" id="{D5057345-1014-4E3D-8249-CA3762D4EBD7}"/>
                </a:ext>
              </a:extLst>
            </p:cNvPr>
            <p:cNvSpPr/>
            <p:nvPr/>
          </p:nvSpPr>
          <p:spPr>
            <a:xfrm>
              <a:off x="8002635" y="1243852"/>
              <a:ext cx="50253" cy="50252"/>
            </a:xfrm>
            <a:prstGeom prst="ellipse">
              <a:avLst/>
            </a:prstGeom>
            <a:solidFill>
              <a:schemeClr val="bg2"/>
            </a:solidFill>
            <a:ln w="12700" cap="flat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 b="1" dirty="0">
                <a:solidFill>
                  <a:schemeClr val="bg1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14" name="Oval 13">
              <a:extLst>
                <a:ext uri="{FF2B5EF4-FFF2-40B4-BE49-F238E27FC236}">
                  <a16:creationId xmlns="" xmlns:a16="http://schemas.microsoft.com/office/drawing/2014/main" id="{63F9707F-DBB8-47E1-9D38-404826C77867}"/>
                </a:ext>
              </a:extLst>
            </p:cNvPr>
            <p:cNvSpPr/>
            <p:nvPr/>
          </p:nvSpPr>
          <p:spPr>
            <a:xfrm>
              <a:off x="8530035" y="1349312"/>
              <a:ext cx="212364" cy="212364"/>
            </a:xfrm>
            <a:prstGeom prst="ellipse">
              <a:avLst/>
            </a:prstGeom>
            <a:solidFill>
              <a:schemeClr val="accent5"/>
            </a:solidFill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ot="0" spcFirstLastPara="0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15" name="Arc 14">
              <a:extLst>
                <a:ext uri="{FF2B5EF4-FFF2-40B4-BE49-F238E27FC236}">
                  <a16:creationId xmlns="" xmlns:a16="http://schemas.microsoft.com/office/drawing/2014/main" id="{83A64A2A-0C53-4047-8B19-03F3FE3B04D9}"/>
                </a:ext>
              </a:extLst>
            </p:cNvPr>
            <p:cNvSpPr/>
            <p:nvPr/>
          </p:nvSpPr>
          <p:spPr bwMode="gray">
            <a:xfrm>
              <a:off x="8486575" y="1267966"/>
              <a:ext cx="283644" cy="247796"/>
            </a:xfrm>
            <a:prstGeom prst="arc">
              <a:avLst>
                <a:gd name="adj1" fmla="val 11178900"/>
                <a:gd name="adj2" fmla="val 21075396"/>
              </a:avLst>
            </a:prstGeom>
            <a:ln w="19050" cap="flat">
              <a:solidFill>
                <a:schemeClr val="accent5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100" dirty="0"/>
            </a:p>
          </p:txBody>
        </p:sp>
        <p:sp>
          <p:nvSpPr>
            <p:cNvPr id="16" name="Isosceles Triangle 15">
              <a:extLst>
                <a:ext uri="{FF2B5EF4-FFF2-40B4-BE49-F238E27FC236}">
                  <a16:creationId xmlns="" xmlns:a16="http://schemas.microsoft.com/office/drawing/2014/main" id="{AD34A29D-9581-4661-BAC6-DFB4DF1F5397}"/>
                </a:ext>
              </a:extLst>
            </p:cNvPr>
            <p:cNvSpPr>
              <a:spLocks noChangeAspect="1"/>
            </p:cNvSpPr>
            <p:nvPr/>
          </p:nvSpPr>
          <p:spPr bwMode="gray">
            <a:xfrm rot="9927096">
              <a:off x="8734789" y="1347929"/>
              <a:ext cx="73611" cy="63458"/>
            </a:xfrm>
            <a:prstGeom prst="triangle">
              <a:avLst/>
            </a:prstGeom>
            <a:solidFill>
              <a:schemeClr val="accent5"/>
            </a:solidFill>
            <a:ln w="952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050" dirty="0">
                <a:solidFill>
                  <a:schemeClr val="tx1"/>
                </a:solidFill>
              </a:endParaRPr>
            </a:p>
          </p:txBody>
        </p:sp>
        <p:sp>
          <p:nvSpPr>
            <p:cNvPr id="17" name="Oval 16">
              <a:extLst>
                <a:ext uri="{FF2B5EF4-FFF2-40B4-BE49-F238E27FC236}">
                  <a16:creationId xmlns="" xmlns:a16="http://schemas.microsoft.com/office/drawing/2014/main" id="{BFF74F25-EB5E-4527-8581-0E164F89C80F}"/>
                </a:ext>
              </a:extLst>
            </p:cNvPr>
            <p:cNvSpPr/>
            <p:nvPr/>
          </p:nvSpPr>
          <p:spPr>
            <a:xfrm>
              <a:off x="8611091" y="1243852"/>
              <a:ext cx="50253" cy="50252"/>
            </a:xfrm>
            <a:prstGeom prst="ellipse">
              <a:avLst/>
            </a:prstGeom>
            <a:solidFill>
              <a:schemeClr val="accent5"/>
            </a:solidFill>
            <a:ln w="12700" cap="flat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 b="1" dirty="0">
                <a:solidFill>
                  <a:schemeClr val="bg1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="" xmlns:a16="http://schemas.microsoft.com/office/drawing/2014/main" id="{00A129B6-615D-417E-A5FF-BF0A72E04226}"/>
                </a:ext>
              </a:extLst>
            </p:cNvPr>
            <p:cNvSpPr/>
            <p:nvPr/>
          </p:nvSpPr>
          <p:spPr>
            <a:xfrm>
              <a:off x="8486575" y="1225848"/>
              <a:ext cx="328615" cy="385342"/>
            </a:xfrm>
            <a:prstGeom prst="rect">
              <a:avLst/>
            </a:prstGeom>
            <a:solidFill>
              <a:schemeClr val="bg1">
                <a:alpha val="80000"/>
              </a:schemeClr>
            </a:solidFill>
            <a:ln w="6350" cap="flat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900"/>
                </a:spcBef>
              </a:pPr>
              <a:endParaRPr lang="en-US" sz="140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9" name="Oval 18">
              <a:extLst>
                <a:ext uri="{FF2B5EF4-FFF2-40B4-BE49-F238E27FC236}">
                  <a16:creationId xmlns="" xmlns:a16="http://schemas.microsoft.com/office/drawing/2014/main" id="{3E98A2CE-5146-4C5F-A545-6FDD7370DFB0}"/>
                </a:ext>
              </a:extLst>
            </p:cNvPr>
            <p:cNvSpPr/>
            <p:nvPr/>
          </p:nvSpPr>
          <p:spPr>
            <a:xfrm>
              <a:off x="7921579" y="1349312"/>
              <a:ext cx="212364" cy="212364"/>
            </a:xfrm>
            <a:prstGeom prst="ellipse">
              <a:avLst/>
            </a:prstGeom>
            <a:solidFill>
              <a:schemeClr val="bg2"/>
            </a:solidFill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ot="0" spcFirstLastPara="0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20" name="Arc 19">
              <a:extLst>
                <a:ext uri="{FF2B5EF4-FFF2-40B4-BE49-F238E27FC236}">
                  <a16:creationId xmlns="" xmlns:a16="http://schemas.microsoft.com/office/drawing/2014/main" id="{A0AB8420-2770-4899-AC43-A47624E481BC}"/>
                </a:ext>
              </a:extLst>
            </p:cNvPr>
            <p:cNvSpPr/>
            <p:nvPr/>
          </p:nvSpPr>
          <p:spPr bwMode="gray">
            <a:xfrm>
              <a:off x="7883769" y="1267966"/>
              <a:ext cx="283644" cy="247796"/>
            </a:xfrm>
            <a:prstGeom prst="arc">
              <a:avLst>
                <a:gd name="adj1" fmla="val 11178900"/>
                <a:gd name="adj2" fmla="val 21075396"/>
              </a:avLst>
            </a:prstGeom>
            <a:ln w="19050" cap="flat">
              <a:solidFill>
                <a:schemeClr val="bg2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100" dirty="0"/>
            </a:p>
          </p:txBody>
        </p:sp>
        <p:sp>
          <p:nvSpPr>
            <p:cNvPr id="21" name="Rectangle 20">
              <a:extLst>
                <a:ext uri="{FF2B5EF4-FFF2-40B4-BE49-F238E27FC236}">
                  <a16:creationId xmlns="" xmlns:a16="http://schemas.microsoft.com/office/drawing/2014/main" id="{33C5B095-13E5-455C-9204-B2BD9ABC7DCF}"/>
                </a:ext>
              </a:extLst>
            </p:cNvPr>
            <p:cNvSpPr/>
            <p:nvPr/>
          </p:nvSpPr>
          <p:spPr>
            <a:xfrm>
              <a:off x="7877395" y="1225848"/>
              <a:ext cx="328615" cy="385342"/>
            </a:xfrm>
            <a:prstGeom prst="rect">
              <a:avLst/>
            </a:prstGeom>
            <a:solidFill>
              <a:schemeClr val="bg1">
                <a:alpha val="80000"/>
              </a:schemeClr>
            </a:solidFill>
            <a:ln w="6350" cap="flat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900"/>
                </a:spcBef>
              </a:pPr>
              <a:endParaRPr lang="en-US" sz="140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2" name="Oval 21">
              <a:extLst>
                <a:ext uri="{FF2B5EF4-FFF2-40B4-BE49-F238E27FC236}">
                  <a16:creationId xmlns="" xmlns:a16="http://schemas.microsoft.com/office/drawing/2014/main" id="{22C1417D-C0DF-425F-B1EA-C0A7EC164858}"/>
                </a:ext>
              </a:extLst>
            </p:cNvPr>
            <p:cNvSpPr/>
            <p:nvPr/>
          </p:nvSpPr>
          <p:spPr>
            <a:xfrm>
              <a:off x="8225098" y="1244357"/>
              <a:ext cx="212364" cy="212364"/>
            </a:xfrm>
            <a:prstGeom prst="ellipse">
              <a:avLst/>
            </a:prstGeom>
            <a:solidFill>
              <a:schemeClr val="accent1"/>
            </a:solidFill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ot="0" spcFirstLastPara="0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23" name="Arc 22">
              <a:extLst>
                <a:ext uri="{FF2B5EF4-FFF2-40B4-BE49-F238E27FC236}">
                  <a16:creationId xmlns="" xmlns:a16="http://schemas.microsoft.com/office/drawing/2014/main" id="{6A0208D0-2202-4068-9629-F81575FE5B60}"/>
                </a:ext>
              </a:extLst>
            </p:cNvPr>
            <p:cNvSpPr/>
            <p:nvPr/>
          </p:nvSpPr>
          <p:spPr bwMode="gray">
            <a:xfrm flipV="1">
              <a:off x="8184095" y="1313981"/>
              <a:ext cx="283644" cy="247373"/>
            </a:xfrm>
            <a:prstGeom prst="arc">
              <a:avLst>
                <a:gd name="adj1" fmla="val 11178900"/>
                <a:gd name="adj2" fmla="val 21075396"/>
              </a:avLst>
            </a:prstGeom>
            <a:ln w="19050" cap="flat">
              <a:solidFill>
                <a:schemeClr val="accent1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100" dirty="0"/>
            </a:p>
          </p:txBody>
        </p:sp>
        <p:sp>
          <p:nvSpPr>
            <p:cNvPr id="24" name="Isosceles Triangle 23">
              <a:extLst>
                <a:ext uri="{FF2B5EF4-FFF2-40B4-BE49-F238E27FC236}">
                  <a16:creationId xmlns="" xmlns:a16="http://schemas.microsoft.com/office/drawing/2014/main" id="{401D8938-53A8-4EF6-9FC7-7B0105B2302E}"/>
                </a:ext>
              </a:extLst>
            </p:cNvPr>
            <p:cNvSpPr>
              <a:spLocks noChangeAspect="1"/>
            </p:cNvSpPr>
            <p:nvPr/>
          </p:nvSpPr>
          <p:spPr bwMode="gray">
            <a:xfrm rot="11672904" flipV="1">
              <a:off x="8432310" y="1418179"/>
              <a:ext cx="73611" cy="63349"/>
            </a:xfrm>
            <a:prstGeom prst="triangle">
              <a:avLst/>
            </a:prstGeom>
            <a:solidFill>
              <a:schemeClr val="accent1"/>
            </a:solidFill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050" dirty="0">
                <a:solidFill>
                  <a:schemeClr val="tx1"/>
                </a:solidFill>
              </a:endParaRPr>
            </a:p>
          </p:txBody>
        </p:sp>
        <p:sp>
          <p:nvSpPr>
            <p:cNvPr id="25" name="Oval 24">
              <a:extLst>
                <a:ext uri="{FF2B5EF4-FFF2-40B4-BE49-F238E27FC236}">
                  <a16:creationId xmlns="" xmlns:a16="http://schemas.microsoft.com/office/drawing/2014/main" id="{98170558-834B-4009-B86E-FFC6DBC68739}"/>
                </a:ext>
              </a:extLst>
            </p:cNvPr>
            <p:cNvSpPr/>
            <p:nvPr/>
          </p:nvSpPr>
          <p:spPr>
            <a:xfrm>
              <a:off x="8306154" y="1537095"/>
              <a:ext cx="50253" cy="50252"/>
            </a:xfrm>
            <a:prstGeom prst="ellipse">
              <a:avLst/>
            </a:prstGeom>
            <a:solidFill>
              <a:schemeClr val="accent1"/>
            </a:solidFill>
            <a:ln w="12700" cap="flat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 b="1" dirty="0">
                <a:solidFill>
                  <a:schemeClr val="bg1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</p:grpSp>
      <p:sp>
        <p:nvSpPr>
          <p:cNvPr id="28" name="Rectangle 27">
            <a:extLst>
              <a:ext uri="{FF2B5EF4-FFF2-40B4-BE49-F238E27FC236}">
                <a16:creationId xmlns="" xmlns:a16="http://schemas.microsoft.com/office/drawing/2014/main" id="{8CB181B4-F7F7-46DD-8436-013077DF9C04}"/>
              </a:ext>
            </a:extLst>
          </p:cNvPr>
          <p:cNvSpPr/>
          <p:nvPr/>
        </p:nvSpPr>
        <p:spPr>
          <a:xfrm>
            <a:off x="246381" y="1640823"/>
            <a:ext cx="8646794" cy="996090"/>
          </a:xfrm>
          <a:prstGeom prst="rect">
            <a:avLst/>
          </a:prstGeom>
          <a:noFill/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97212" indent="-97212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1200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Chi-2:</a:t>
            </a:r>
          </a:p>
          <a:p>
            <a:pPr marL="232229" indent="-135017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–"/>
            </a:pPr>
            <a:r>
              <a:rPr lang="en-US" sz="12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2 </a:t>
            </a:r>
            <a:r>
              <a:rPr lang="en-US" sz="12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models</a:t>
            </a:r>
            <a:r>
              <a:rPr lang="en-US" sz="12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:  </a:t>
            </a:r>
            <a:r>
              <a:rPr lang="en-US" sz="12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1</a:t>
            </a:r>
            <a:r>
              <a:rPr lang="en-US" sz="12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: Dataset w/ Continuous Variable turned into Ordinal Categorical  </a:t>
            </a:r>
            <a:r>
              <a:rPr lang="en-US" sz="12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2</a:t>
            </a:r>
            <a:r>
              <a:rPr lang="en-US" sz="12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: Baseline Dataset with Numerical Features</a:t>
            </a:r>
            <a:endParaRPr lang="en-US" sz="12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6" name="Picture 5" descr="img.png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0967" y="2197584"/>
            <a:ext cx="8522208" cy="45399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30492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AA16B7AC-F676-4F67-8813-4F8F68AAD7D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125498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66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="" xmlns:a16="http://schemas.microsoft.com/office/drawing/2014/main" id="{AA16B7AC-F676-4F67-8813-4F8F68AAD7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="" xmlns:a16="http://schemas.microsoft.com/office/drawing/2014/main" id="{260A3D96-399B-450E-B597-24C3AA9AE05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US" sz="240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="" xmlns:a16="http://schemas.microsoft.com/office/drawing/2014/main" id="{48D13E25-DCE9-4BCE-806B-429683B77FA6}"/>
              </a:ext>
            </a:extLst>
          </p:cNvPr>
          <p:cNvSpPr txBox="1"/>
          <p:nvPr/>
        </p:nvSpPr>
        <p:spPr>
          <a:xfrm>
            <a:off x="244474" y="1301507"/>
            <a:ext cx="6840220" cy="249299"/>
          </a:xfrm>
          <a:prstGeom prst="rect">
            <a:avLst/>
          </a:prstGeom>
          <a:noFill/>
          <a:ln w="6350" cap="flat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A5FFFF"/>
                </a:solidFill>
              </a14:hiddenFill>
            </a:ext>
          </a:extLst>
        </p:spPr>
        <p:txBody>
          <a:bodyPr vert="horz" wrap="square" lIns="365760" tIns="0" rIns="0" bIns="0" rtlCol="0" anchor="t" anchorCtr="0">
            <a:sp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2"/>
              </a:buClr>
            </a:pP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Feature Engineering</a:t>
            </a:r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7956AB31-F718-491D-AAC7-99EB166076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4507" y="493495"/>
            <a:ext cx="7604094" cy="338554"/>
          </a:xfrm>
        </p:spPr>
        <p:txBody>
          <a:bodyPr/>
          <a:lstStyle/>
          <a:p>
            <a:r>
              <a:rPr lang="en-US" b="1" dirty="0"/>
              <a:t>Framework</a:t>
            </a:r>
          </a:p>
        </p:txBody>
      </p:sp>
      <p:sp>
        <p:nvSpPr>
          <p:cNvPr id="5" name="Oval 4">
            <a:extLst>
              <a:ext uri="{FF2B5EF4-FFF2-40B4-BE49-F238E27FC236}">
                <a16:creationId xmlns="" xmlns:a16="http://schemas.microsoft.com/office/drawing/2014/main" id="{3D60A96E-A8F3-4D57-873D-4053E79B24CA}"/>
              </a:ext>
            </a:extLst>
          </p:cNvPr>
          <p:cNvSpPr/>
          <p:nvPr/>
        </p:nvSpPr>
        <p:spPr>
          <a:xfrm>
            <a:off x="246380" y="1273567"/>
            <a:ext cx="279400" cy="279400"/>
          </a:xfrm>
          <a:prstGeom prst="ellipse">
            <a:avLst/>
          </a:prstGeom>
          <a:solidFill>
            <a:schemeClr val="accent1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1600" b="1" dirty="0">
                <a:solidFill>
                  <a:schemeClr val="bg1"/>
                </a:solidFill>
                <a:latin typeface="Arial" panose="020B0604020202020204" pitchFamily="34" charset="0"/>
                <a:cs typeface="Arial" pitchFamily="34" charset="0"/>
              </a:rPr>
              <a:t>4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="" xmlns:a16="http://schemas.microsoft.com/office/drawing/2014/main" id="{0BBEB72A-2139-4645-915E-CEC28070B56D}"/>
              </a:ext>
            </a:extLst>
          </p:cNvPr>
          <p:cNvGrpSpPr/>
          <p:nvPr/>
        </p:nvGrpSpPr>
        <p:grpSpPr>
          <a:xfrm>
            <a:off x="7877395" y="1225848"/>
            <a:ext cx="937795" cy="385342"/>
            <a:chOff x="7877395" y="1225848"/>
            <a:chExt cx="937795" cy="385342"/>
          </a:xfrm>
        </p:grpSpPr>
        <p:sp>
          <p:nvSpPr>
            <p:cNvPr id="12" name="Isosceles Triangle 11">
              <a:extLst>
                <a:ext uri="{FF2B5EF4-FFF2-40B4-BE49-F238E27FC236}">
                  <a16:creationId xmlns="" xmlns:a16="http://schemas.microsoft.com/office/drawing/2014/main" id="{35B3CE62-F491-498C-8FB7-E66CFD69DB95}"/>
                </a:ext>
              </a:extLst>
            </p:cNvPr>
            <p:cNvSpPr>
              <a:spLocks noChangeAspect="1"/>
            </p:cNvSpPr>
            <p:nvPr/>
          </p:nvSpPr>
          <p:spPr bwMode="gray">
            <a:xfrm rot="9927096">
              <a:off x="8132907" y="1349645"/>
              <a:ext cx="73611" cy="63458"/>
            </a:xfrm>
            <a:prstGeom prst="triangle">
              <a:avLst/>
            </a:prstGeom>
            <a:solidFill>
              <a:schemeClr val="bg2"/>
            </a:solidFill>
            <a:ln w="9525">
              <a:solidFill>
                <a:srgbClr val="007F7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050" dirty="0">
                <a:solidFill>
                  <a:schemeClr val="tx1"/>
                </a:solidFill>
              </a:endParaRPr>
            </a:p>
          </p:txBody>
        </p:sp>
        <p:sp>
          <p:nvSpPr>
            <p:cNvPr id="13" name="Oval 12">
              <a:extLst>
                <a:ext uri="{FF2B5EF4-FFF2-40B4-BE49-F238E27FC236}">
                  <a16:creationId xmlns="" xmlns:a16="http://schemas.microsoft.com/office/drawing/2014/main" id="{D5057345-1014-4E3D-8249-CA3762D4EBD7}"/>
                </a:ext>
              </a:extLst>
            </p:cNvPr>
            <p:cNvSpPr/>
            <p:nvPr/>
          </p:nvSpPr>
          <p:spPr>
            <a:xfrm>
              <a:off x="8002635" y="1243852"/>
              <a:ext cx="50253" cy="50252"/>
            </a:xfrm>
            <a:prstGeom prst="ellipse">
              <a:avLst/>
            </a:prstGeom>
            <a:solidFill>
              <a:schemeClr val="bg2"/>
            </a:solidFill>
            <a:ln w="12700" cap="flat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 b="1" dirty="0">
                <a:solidFill>
                  <a:schemeClr val="bg1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14" name="Oval 13">
              <a:extLst>
                <a:ext uri="{FF2B5EF4-FFF2-40B4-BE49-F238E27FC236}">
                  <a16:creationId xmlns="" xmlns:a16="http://schemas.microsoft.com/office/drawing/2014/main" id="{63F9707F-DBB8-47E1-9D38-404826C77867}"/>
                </a:ext>
              </a:extLst>
            </p:cNvPr>
            <p:cNvSpPr/>
            <p:nvPr/>
          </p:nvSpPr>
          <p:spPr>
            <a:xfrm>
              <a:off x="8530035" y="1349312"/>
              <a:ext cx="212364" cy="212364"/>
            </a:xfrm>
            <a:prstGeom prst="ellipse">
              <a:avLst/>
            </a:prstGeom>
            <a:solidFill>
              <a:schemeClr val="accent5"/>
            </a:solidFill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ot="0" spcFirstLastPara="0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15" name="Arc 14">
              <a:extLst>
                <a:ext uri="{FF2B5EF4-FFF2-40B4-BE49-F238E27FC236}">
                  <a16:creationId xmlns="" xmlns:a16="http://schemas.microsoft.com/office/drawing/2014/main" id="{83A64A2A-0C53-4047-8B19-03F3FE3B04D9}"/>
                </a:ext>
              </a:extLst>
            </p:cNvPr>
            <p:cNvSpPr/>
            <p:nvPr/>
          </p:nvSpPr>
          <p:spPr bwMode="gray">
            <a:xfrm>
              <a:off x="8486575" y="1267966"/>
              <a:ext cx="283644" cy="247796"/>
            </a:xfrm>
            <a:prstGeom prst="arc">
              <a:avLst>
                <a:gd name="adj1" fmla="val 11178900"/>
                <a:gd name="adj2" fmla="val 21075396"/>
              </a:avLst>
            </a:prstGeom>
            <a:ln w="19050" cap="flat">
              <a:solidFill>
                <a:schemeClr val="accent5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100" dirty="0"/>
            </a:p>
          </p:txBody>
        </p:sp>
        <p:sp>
          <p:nvSpPr>
            <p:cNvPr id="16" name="Isosceles Triangle 15">
              <a:extLst>
                <a:ext uri="{FF2B5EF4-FFF2-40B4-BE49-F238E27FC236}">
                  <a16:creationId xmlns="" xmlns:a16="http://schemas.microsoft.com/office/drawing/2014/main" id="{AD34A29D-9581-4661-BAC6-DFB4DF1F5397}"/>
                </a:ext>
              </a:extLst>
            </p:cNvPr>
            <p:cNvSpPr>
              <a:spLocks noChangeAspect="1"/>
            </p:cNvSpPr>
            <p:nvPr/>
          </p:nvSpPr>
          <p:spPr bwMode="gray">
            <a:xfrm rot="9927096">
              <a:off x="8734789" y="1347929"/>
              <a:ext cx="73611" cy="63458"/>
            </a:xfrm>
            <a:prstGeom prst="triangle">
              <a:avLst/>
            </a:prstGeom>
            <a:solidFill>
              <a:schemeClr val="accent5"/>
            </a:solidFill>
            <a:ln w="952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050" dirty="0">
                <a:solidFill>
                  <a:schemeClr val="tx1"/>
                </a:solidFill>
              </a:endParaRPr>
            </a:p>
          </p:txBody>
        </p:sp>
        <p:sp>
          <p:nvSpPr>
            <p:cNvPr id="17" name="Oval 16">
              <a:extLst>
                <a:ext uri="{FF2B5EF4-FFF2-40B4-BE49-F238E27FC236}">
                  <a16:creationId xmlns="" xmlns:a16="http://schemas.microsoft.com/office/drawing/2014/main" id="{BFF74F25-EB5E-4527-8581-0E164F89C80F}"/>
                </a:ext>
              </a:extLst>
            </p:cNvPr>
            <p:cNvSpPr/>
            <p:nvPr/>
          </p:nvSpPr>
          <p:spPr>
            <a:xfrm>
              <a:off x="8611091" y="1243852"/>
              <a:ext cx="50253" cy="50252"/>
            </a:xfrm>
            <a:prstGeom prst="ellipse">
              <a:avLst/>
            </a:prstGeom>
            <a:solidFill>
              <a:schemeClr val="accent5"/>
            </a:solidFill>
            <a:ln w="12700" cap="flat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 b="1" dirty="0">
                <a:solidFill>
                  <a:schemeClr val="bg1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="" xmlns:a16="http://schemas.microsoft.com/office/drawing/2014/main" id="{00A129B6-615D-417E-A5FF-BF0A72E04226}"/>
                </a:ext>
              </a:extLst>
            </p:cNvPr>
            <p:cNvSpPr/>
            <p:nvPr/>
          </p:nvSpPr>
          <p:spPr>
            <a:xfrm>
              <a:off x="8486575" y="1225848"/>
              <a:ext cx="328615" cy="385342"/>
            </a:xfrm>
            <a:prstGeom prst="rect">
              <a:avLst/>
            </a:prstGeom>
            <a:solidFill>
              <a:schemeClr val="bg1">
                <a:alpha val="80000"/>
              </a:schemeClr>
            </a:solidFill>
            <a:ln w="6350" cap="flat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900"/>
                </a:spcBef>
              </a:pPr>
              <a:endParaRPr lang="en-US" sz="140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9" name="Oval 18">
              <a:extLst>
                <a:ext uri="{FF2B5EF4-FFF2-40B4-BE49-F238E27FC236}">
                  <a16:creationId xmlns="" xmlns:a16="http://schemas.microsoft.com/office/drawing/2014/main" id="{3E98A2CE-5146-4C5F-A545-6FDD7370DFB0}"/>
                </a:ext>
              </a:extLst>
            </p:cNvPr>
            <p:cNvSpPr/>
            <p:nvPr/>
          </p:nvSpPr>
          <p:spPr>
            <a:xfrm>
              <a:off x="7921579" y="1349312"/>
              <a:ext cx="212364" cy="212364"/>
            </a:xfrm>
            <a:prstGeom prst="ellipse">
              <a:avLst/>
            </a:prstGeom>
            <a:solidFill>
              <a:schemeClr val="bg2"/>
            </a:solidFill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ot="0" spcFirstLastPara="0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20" name="Arc 19">
              <a:extLst>
                <a:ext uri="{FF2B5EF4-FFF2-40B4-BE49-F238E27FC236}">
                  <a16:creationId xmlns="" xmlns:a16="http://schemas.microsoft.com/office/drawing/2014/main" id="{A0AB8420-2770-4899-AC43-A47624E481BC}"/>
                </a:ext>
              </a:extLst>
            </p:cNvPr>
            <p:cNvSpPr/>
            <p:nvPr/>
          </p:nvSpPr>
          <p:spPr bwMode="gray">
            <a:xfrm>
              <a:off x="7883769" y="1267966"/>
              <a:ext cx="283644" cy="247796"/>
            </a:xfrm>
            <a:prstGeom prst="arc">
              <a:avLst>
                <a:gd name="adj1" fmla="val 11178900"/>
                <a:gd name="adj2" fmla="val 21075396"/>
              </a:avLst>
            </a:prstGeom>
            <a:ln w="19050" cap="flat">
              <a:solidFill>
                <a:schemeClr val="bg2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100" dirty="0"/>
            </a:p>
          </p:txBody>
        </p:sp>
        <p:sp>
          <p:nvSpPr>
            <p:cNvPr id="21" name="Rectangle 20">
              <a:extLst>
                <a:ext uri="{FF2B5EF4-FFF2-40B4-BE49-F238E27FC236}">
                  <a16:creationId xmlns="" xmlns:a16="http://schemas.microsoft.com/office/drawing/2014/main" id="{33C5B095-13E5-455C-9204-B2BD9ABC7DCF}"/>
                </a:ext>
              </a:extLst>
            </p:cNvPr>
            <p:cNvSpPr/>
            <p:nvPr/>
          </p:nvSpPr>
          <p:spPr>
            <a:xfrm>
              <a:off x="7877395" y="1225848"/>
              <a:ext cx="328615" cy="385342"/>
            </a:xfrm>
            <a:prstGeom prst="rect">
              <a:avLst/>
            </a:prstGeom>
            <a:solidFill>
              <a:schemeClr val="bg1">
                <a:alpha val="80000"/>
              </a:schemeClr>
            </a:solidFill>
            <a:ln w="6350" cap="flat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900"/>
                </a:spcBef>
              </a:pPr>
              <a:endParaRPr lang="en-US" sz="140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2" name="Oval 21">
              <a:extLst>
                <a:ext uri="{FF2B5EF4-FFF2-40B4-BE49-F238E27FC236}">
                  <a16:creationId xmlns="" xmlns:a16="http://schemas.microsoft.com/office/drawing/2014/main" id="{22C1417D-C0DF-425F-B1EA-C0A7EC164858}"/>
                </a:ext>
              </a:extLst>
            </p:cNvPr>
            <p:cNvSpPr/>
            <p:nvPr/>
          </p:nvSpPr>
          <p:spPr>
            <a:xfrm>
              <a:off x="8225098" y="1244357"/>
              <a:ext cx="212364" cy="212364"/>
            </a:xfrm>
            <a:prstGeom prst="ellipse">
              <a:avLst/>
            </a:prstGeom>
            <a:solidFill>
              <a:schemeClr val="accent1"/>
            </a:solidFill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ot="0" spcFirstLastPara="0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23" name="Arc 22">
              <a:extLst>
                <a:ext uri="{FF2B5EF4-FFF2-40B4-BE49-F238E27FC236}">
                  <a16:creationId xmlns="" xmlns:a16="http://schemas.microsoft.com/office/drawing/2014/main" id="{6A0208D0-2202-4068-9629-F81575FE5B60}"/>
                </a:ext>
              </a:extLst>
            </p:cNvPr>
            <p:cNvSpPr/>
            <p:nvPr/>
          </p:nvSpPr>
          <p:spPr bwMode="gray">
            <a:xfrm flipV="1">
              <a:off x="8184095" y="1313981"/>
              <a:ext cx="283644" cy="247373"/>
            </a:xfrm>
            <a:prstGeom prst="arc">
              <a:avLst>
                <a:gd name="adj1" fmla="val 11178900"/>
                <a:gd name="adj2" fmla="val 21075396"/>
              </a:avLst>
            </a:prstGeom>
            <a:ln w="19050" cap="flat">
              <a:solidFill>
                <a:schemeClr val="accent1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100" dirty="0"/>
            </a:p>
          </p:txBody>
        </p:sp>
        <p:sp>
          <p:nvSpPr>
            <p:cNvPr id="24" name="Isosceles Triangle 23">
              <a:extLst>
                <a:ext uri="{FF2B5EF4-FFF2-40B4-BE49-F238E27FC236}">
                  <a16:creationId xmlns="" xmlns:a16="http://schemas.microsoft.com/office/drawing/2014/main" id="{401D8938-53A8-4EF6-9FC7-7B0105B2302E}"/>
                </a:ext>
              </a:extLst>
            </p:cNvPr>
            <p:cNvSpPr>
              <a:spLocks noChangeAspect="1"/>
            </p:cNvSpPr>
            <p:nvPr/>
          </p:nvSpPr>
          <p:spPr bwMode="gray">
            <a:xfrm rot="11672904" flipV="1">
              <a:off x="8432310" y="1418179"/>
              <a:ext cx="73611" cy="63349"/>
            </a:xfrm>
            <a:prstGeom prst="triangle">
              <a:avLst/>
            </a:prstGeom>
            <a:solidFill>
              <a:schemeClr val="accent1"/>
            </a:solidFill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050" dirty="0">
                <a:solidFill>
                  <a:schemeClr val="tx1"/>
                </a:solidFill>
              </a:endParaRPr>
            </a:p>
          </p:txBody>
        </p:sp>
        <p:sp>
          <p:nvSpPr>
            <p:cNvPr id="25" name="Oval 24">
              <a:extLst>
                <a:ext uri="{FF2B5EF4-FFF2-40B4-BE49-F238E27FC236}">
                  <a16:creationId xmlns="" xmlns:a16="http://schemas.microsoft.com/office/drawing/2014/main" id="{98170558-834B-4009-B86E-FFC6DBC68739}"/>
                </a:ext>
              </a:extLst>
            </p:cNvPr>
            <p:cNvSpPr/>
            <p:nvPr/>
          </p:nvSpPr>
          <p:spPr>
            <a:xfrm>
              <a:off x="8306154" y="1537095"/>
              <a:ext cx="50253" cy="50252"/>
            </a:xfrm>
            <a:prstGeom prst="ellipse">
              <a:avLst/>
            </a:prstGeom>
            <a:solidFill>
              <a:schemeClr val="accent1"/>
            </a:solidFill>
            <a:ln w="12700" cap="flat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 b="1" dirty="0">
                <a:solidFill>
                  <a:schemeClr val="bg1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</p:grpSp>
      <p:pic>
        <p:nvPicPr>
          <p:cNvPr id="6" name="Picture 5" descr="img.png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8926" y="2078968"/>
            <a:ext cx="8518297" cy="44622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883541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AA16B7AC-F676-4F67-8813-4F8F68AAD7D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990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="" xmlns:a16="http://schemas.microsoft.com/office/drawing/2014/main" id="{AA16B7AC-F676-4F67-8813-4F8F68AAD7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="" xmlns:a16="http://schemas.microsoft.com/office/drawing/2014/main" id="{260A3D96-399B-450E-B597-24C3AA9AE05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US" sz="240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="" xmlns:a16="http://schemas.microsoft.com/office/drawing/2014/main" id="{48D13E25-DCE9-4BCE-806B-429683B77FA6}"/>
              </a:ext>
            </a:extLst>
          </p:cNvPr>
          <p:cNvSpPr txBox="1"/>
          <p:nvPr/>
        </p:nvSpPr>
        <p:spPr>
          <a:xfrm>
            <a:off x="244474" y="1301507"/>
            <a:ext cx="6840220" cy="249299"/>
          </a:xfrm>
          <a:prstGeom prst="rect">
            <a:avLst/>
          </a:prstGeom>
          <a:noFill/>
          <a:ln w="6350" cap="flat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A5FFFF"/>
                </a:solidFill>
              </a14:hiddenFill>
            </a:ext>
          </a:extLst>
        </p:spPr>
        <p:txBody>
          <a:bodyPr vert="horz" wrap="square" lIns="365760" tIns="0" rIns="0" bIns="0" rtlCol="0" anchor="t" anchorCtr="0">
            <a:sp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2"/>
              </a:buClr>
            </a:pP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Feature Engineering</a:t>
            </a:r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7956AB31-F718-491D-AAC7-99EB166076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4507" y="493495"/>
            <a:ext cx="7604094" cy="338554"/>
          </a:xfrm>
        </p:spPr>
        <p:txBody>
          <a:bodyPr/>
          <a:lstStyle/>
          <a:p>
            <a:r>
              <a:rPr lang="en-US" b="1" dirty="0"/>
              <a:t>Framework</a:t>
            </a:r>
          </a:p>
        </p:txBody>
      </p:sp>
      <p:sp>
        <p:nvSpPr>
          <p:cNvPr id="5" name="Oval 4">
            <a:extLst>
              <a:ext uri="{FF2B5EF4-FFF2-40B4-BE49-F238E27FC236}">
                <a16:creationId xmlns="" xmlns:a16="http://schemas.microsoft.com/office/drawing/2014/main" id="{3D60A96E-A8F3-4D57-873D-4053E79B24CA}"/>
              </a:ext>
            </a:extLst>
          </p:cNvPr>
          <p:cNvSpPr/>
          <p:nvPr/>
        </p:nvSpPr>
        <p:spPr>
          <a:xfrm>
            <a:off x="246380" y="1273567"/>
            <a:ext cx="279400" cy="279400"/>
          </a:xfrm>
          <a:prstGeom prst="ellipse">
            <a:avLst/>
          </a:prstGeom>
          <a:solidFill>
            <a:schemeClr val="accent1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1600" b="1" dirty="0">
                <a:solidFill>
                  <a:schemeClr val="bg1"/>
                </a:solidFill>
                <a:latin typeface="Arial" panose="020B0604020202020204" pitchFamily="34" charset="0"/>
                <a:cs typeface="Arial" pitchFamily="34" charset="0"/>
              </a:rPr>
              <a:t>4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="" xmlns:a16="http://schemas.microsoft.com/office/drawing/2014/main" id="{0BBEB72A-2139-4645-915E-CEC28070B56D}"/>
              </a:ext>
            </a:extLst>
          </p:cNvPr>
          <p:cNvGrpSpPr/>
          <p:nvPr/>
        </p:nvGrpSpPr>
        <p:grpSpPr>
          <a:xfrm>
            <a:off x="7877395" y="1225848"/>
            <a:ext cx="937795" cy="385342"/>
            <a:chOff x="7877395" y="1225848"/>
            <a:chExt cx="937795" cy="385342"/>
          </a:xfrm>
        </p:grpSpPr>
        <p:sp>
          <p:nvSpPr>
            <p:cNvPr id="12" name="Isosceles Triangle 11">
              <a:extLst>
                <a:ext uri="{FF2B5EF4-FFF2-40B4-BE49-F238E27FC236}">
                  <a16:creationId xmlns="" xmlns:a16="http://schemas.microsoft.com/office/drawing/2014/main" id="{35B3CE62-F491-498C-8FB7-E66CFD69DB95}"/>
                </a:ext>
              </a:extLst>
            </p:cNvPr>
            <p:cNvSpPr>
              <a:spLocks noChangeAspect="1"/>
            </p:cNvSpPr>
            <p:nvPr/>
          </p:nvSpPr>
          <p:spPr bwMode="gray">
            <a:xfrm rot="9927096">
              <a:off x="8132907" y="1349645"/>
              <a:ext cx="73611" cy="63458"/>
            </a:xfrm>
            <a:prstGeom prst="triangle">
              <a:avLst/>
            </a:prstGeom>
            <a:solidFill>
              <a:schemeClr val="bg2"/>
            </a:solidFill>
            <a:ln w="9525">
              <a:solidFill>
                <a:srgbClr val="007F7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050" dirty="0">
                <a:solidFill>
                  <a:schemeClr val="tx1"/>
                </a:solidFill>
              </a:endParaRPr>
            </a:p>
          </p:txBody>
        </p:sp>
        <p:sp>
          <p:nvSpPr>
            <p:cNvPr id="13" name="Oval 12">
              <a:extLst>
                <a:ext uri="{FF2B5EF4-FFF2-40B4-BE49-F238E27FC236}">
                  <a16:creationId xmlns="" xmlns:a16="http://schemas.microsoft.com/office/drawing/2014/main" id="{D5057345-1014-4E3D-8249-CA3762D4EBD7}"/>
                </a:ext>
              </a:extLst>
            </p:cNvPr>
            <p:cNvSpPr/>
            <p:nvPr/>
          </p:nvSpPr>
          <p:spPr>
            <a:xfrm>
              <a:off x="8002635" y="1243852"/>
              <a:ext cx="50253" cy="50252"/>
            </a:xfrm>
            <a:prstGeom prst="ellipse">
              <a:avLst/>
            </a:prstGeom>
            <a:solidFill>
              <a:schemeClr val="bg2"/>
            </a:solidFill>
            <a:ln w="12700" cap="flat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 b="1" dirty="0">
                <a:solidFill>
                  <a:schemeClr val="bg1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14" name="Oval 13">
              <a:extLst>
                <a:ext uri="{FF2B5EF4-FFF2-40B4-BE49-F238E27FC236}">
                  <a16:creationId xmlns="" xmlns:a16="http://schemas.microsoft.com/office/drawing/2014/main" id="{63F9707F-DBB8-47E1-9D38-404826C77867}"/>
                </a:ext>
              </a:extLst>
            </p:cNvPr>
            <p:cNvSpPr/>
            <p:nvPr/>
          </p:nvSpPr>
          <p:spPr>
            <a:xfrm>
              <a:off x="8530035" y="1349312"/>
              <a:ext cx="212364" cy="212364"/>
            </a:xfrm>
            <a:prstGeom prst="ellipse">
              <a:avLst/>
            </a:prstGeom>
            <a:solidFill>
              <a:schemeClr val="accent5"/>
            </a:solidFill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ot="0" spcFirstLastPara="0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15" name="Arc 14">
              <a:extLst>
                <a:ext uri="{FF2B5EF4-FFF2-40B4-BE49-F238E27FC236}">
                  <a16:creationId xmlns="" xmlns:a16="http://schemas.microsoft.com/office/drawing/2014/main" id="{83A64A2A-0C53-4047-8B19-03F3FE3B04D9}"/>
                </a:ext>
              </a:extLst>
            </p:cNvPr>
            <p:cNvSpPr/>
            <p:nvPr/>
          </p:nvSpPr>
          <p:spPr bwMode="gray">
            <a:xfrm>
              <a:off x="8486575" y="1267966"/>
              <a:ext cx="283644" cy="247796"/>
            </a:xfrm>
            <a:prstGeom prst="arc">
              <a:avLst>
                <a:gd name="adj1" fmla="val 11178900"/>
                <a:gd name="adj2" fmla="val 21075396"/>
              </a:avLst>
            </a:prstGeom>
            <a:ln w="19050" cap="flat">
              <a:solidFill>
                <a:schemeClr val="accent5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100" dirty="0"/>
            </a:p>
          </p:txBody>
        </p:sp>
        <p:sp>
          <p:nvSpPr>
            <p:cNvPr id="16" name="Isosceles Triangle 15">
              <a:extLst>
                <a:ext uri="{FF2B5EF4-FFF2-40B4-BE49-F238E27FC236}">
                  <a16:creationId xmlns="" xmlns:a16="http://schemas.microsoft.com/office/drawing/2014/main" id="{AD34A29D-9581-4661-BAC6-DFB4DF1F5397}"/>
                </a:ext>
              </a:extLst>
            </p:cNvPr>
            <p:cNvSpPr>
              <a:spLocks noChangeAspect="1"/>
            </p:cNvSpPr>
            <p:nvPr/>
          </p:nvSpPr>
          <p:spPr bwMode="gray">
            <a:xfrm rot="9927096">
              <a:off x="8734789" y="1347929"/>
              <a:ext cx="73611" cy="63458"/>
            </a:xfrm>
            <a:prstGeom prst="triangle">
              <a:avLst/>
            </a:prstGeom>
            <a:solidFill>
              <a:schemeClr val="accent5"/>
            </a:solidFill>
            <a:ln w="952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050" dirty="0">
                <a:solidFill>
                  <a:schemeClr val="tx1"/>
                </a:solidFill>
              </a:endParaRPr>
            </a:p>
          </p:txBody>
        </p:sp>
        <p:sp>
          <p:nvSpPr>
            <p:cNvPr id="17" name="Oval 16">
              <a:extLst>
                <a:ext uri="{FF2B5EF4-FFF2-40B4-BE49-F238E27FC236}">
                  <a16:creationId xmlns="" xmlns:a16="http://schemas.microsoft.com/office/drawing/2014/main" id="{BFF74F25-EB5E-4527-8581-0E164F89C80F}"/>
                </a:ext>
              </a:extLst>
            </p:cNvPr>
            <p:cNvSpPr/>
            <p:nvPr/>
          </p:nvSpPr>
          <p:spPr>
            <a:xfrm>
              <a:off x="8611091" y="1243852"/>
              <a:ext cx="50253" cy="50252"/>
            </a:xfrm>
            <a:prstGeom prst="ellipse">
              <a:avLst/>
            </a:prstGeom>
            <a:solidFill>
              <a:schemeClr val="accent5"/>
            </a:solidFill>
            <a:ln w="12700" cap="flat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 b="1" dirty="0">
                <a:solidFill>
                  <a:schemeClr val="bg1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="" xmlns:a16="http://schemas.microsoft.com/office/drawing/2014/main" id="{00A129B6-615D-417E-A5FF-BF0A72E04226}"/>
                </a:ext>
              </a:extLst>
            </p:cNvPr>
            <p:cNvSpPr/>
            <p:nvPr/>
          </p:nvSpPr>
          <p:spPr>
            <a:xfrm>
              <a:off x="8486575" y="1225848"/>
              <a:ext cx="328615" cy="385342"/>
            </a:xfrm>
            <a:prstGeom prst="rect">
              <a:avLst/>
            </a:prstGeom>
            <a:solidFill>
              <a:schemeClr val="bg1">
                <a:alpha val="80000"/>
              </a:schemeClr>
            </a:solidFill>
            <a:ln w="6350" cap="flat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900"/>
                </a:spcBef>
              </a:pPr>
              <a:endParaRPr lang="en-US" sz="140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9" name="Oval 18">
              <a:extLst>
                <a:ext uri="{FF2B5EF4-FFF2-40B4-BE49-F238E27FC236}">
                  <a16:creationId xmlns="" xmlns:a16="http://schemas.microsoft.com/office/drawing/2014/main" id="{3E98A2CE-5146-4C5F-A545-6FDD7370DFB0}"/>
                </a:ext>
              </a:extLst>
            </p:cNvPr>
            <p:cNvSpPr/>
            <p:nvPr/>
          </p:nvSpPr>
          <p:spPr>
            <a:xfrm>
              <a:off x="7921579" y="1349312"/>
              <a:ext cx="212364" cy="212364"/>
            </a:xfrm>
            <a:prstGeom prst="ellipse">
              <a:avLst/>
            </a:prstGeom>
            <a:solidFill>
              <a:schemeClr val="bg2"/>
            </a:solidFill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ot="0" spcFirstLastPara="0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20" name="Arc 19">
              <a:extLst>
                <a:ext uri="{FF2B5EF4-FFF2-40B4-BE49-F238E27FC236}">
                  <a16:creationId xmlns="" xmlns:a16="http://schemas.microsoft.com/office/drawing/2014/main" id="{A0AB8420-2770-4899-AC43-A47624E481BC}"/>
                </a:ext>
              </a:extLst>
            </p:cNvPr>
            <p:cNvSpPr/>
            <p:nvPr/>
          </p:nvSpPr>
          <p:spPr bwMode="gray">
            <a:xfrm>
              <a:off x="7883769" y="1267966"/>
              <a:ext cx="283644" cy="247796"/>
            </a:xfrm>
            <a:prstGeom prst="arc">
              <a:avLst>
                <a:gd name="adj1" fmla="val 11178900"/>
                <a:gd name="adj2" fmla="val 21075396"/>
              </a:avLst>
            </a:prstGeom>
            <a:ln w="19050" cap="flat">
              <a:solidFill>
                <a:schemeClr val="bg2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100" dirty="0"/>
            </a:p>
          </p:txBody>
        </p:sp>
        <p:sp>
          <p:nvSpPr>
            <p:cNvPr id="21" name="Rectangle 20">
              <a:extLst>
                <a:ext uri="{FF2B5EF4-FFF2-40B4-BE49-F238E27FC236}">
                  <a16:creationId xmlns="" xmlns:a16="http://schemas.microsoft.com/office/drawing/2014/main" id="{33C5B095-13E5-455C-9204-B2BD9ABC7DCF}"/>
                </a:ext>
              </a:extLst>
            </p:cNvPr>
            <p:cNvSpPr/>
            <p:nvPr/>
          </p:nvSpPr>
          <p:spPr>
            <a:xfrm>
              <a:off x="7877395" y="1225848"/>
              <a:ext cx="328615" cy="385342"/>
            </a:xfrm>
            <a:prstGeom prst="rect">
              <a:avLst/>
            </a:prstGeom>
            <a:solidFill>
              <a:schemeClr val="bg1">
                <a:alpha val="80000"/>
              </a:schemeClr>
            </a:solidFill>
            <a:ln w="6350" cap="flat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900"/>
                </a:spcBef>
              </a:pPr>
              <a:endParaRPr lang="en-US" sz="140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2" name="Oval 21">
              <a:extLst>
                <a:ext uri="{FF2B5EF4-FFF2-40B4-BE49-F238E27FC236}">
                  <a16:creationId xmlns="" xmlns:a16="http://schemas.microsoft.com/office/drawing/2014/main" id="{22C1417D-C0DF-425F-B1EA-C0A7EC164858}"/>
                </a:ext>
              </a:extLst>
            </p:cNvPr>
            <p:cNvSpPr/>
            <p:nvPr/>
          </p:nvSpPr>
          <p:spPr>
            <a:xfrm>
              <a:off x="8225098" y="1244357"/>
              <a:ext cx="212364" cy="212364"/>
            </a:xfrm>
            <a:prstGeom prst="ellipse">
              <a:avLst/>
            </a:prstGeom>
            <a:solidFill>
              <a:schemeClr val="accent1"/>
            </a:solidFill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ot="0" spcFirstLastPara="0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23" name="Arc 22">
              <a:extLst>
                <a:ext uri="{FF2B5EF4-FFF2-40B4-BE49-F238E27FC236}">
                  <a16:creationId xmlns="" xmlns:a16="http://schemas.microsoft.com/office/drawing/2014/main" id="{6A0208D0-2202-4068-9629-F81575FE5B60}"/>
                </a:ext>
              </a:extLst>
            </p:cNvPr>
            <p:cNvSpPr/>
            <p:nvPr/>
          </p:nvSpPr>
          <p:spPr bwMode="gray">
            <a:xfrm flipV="1">
              <a:off x="8184095" y="1313981"/>
              <a:ext cx="283644" cy="247373"/>
            </a:xfrm>
            <a:prstGeom prst="arc">
              <a:avLst>
                <a:gd name="adj1" fmla="val 11178900"/>
                <a:gd name="adj2" fmla="val 21075396"/>
              </a:avLst>
            </a:prstGeom>
            <a:ln w="19050" cap="flat">
              <a:solidFill>
                <a:schemeClr val="accent1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100" dirty="0"/>
            </a:p>
          </p:txBody>
        </p:sp>
        <p:sp>
          <p:nvSpPr>
            <p:cNvPr id="24" name="Isosceles Triangle 23">
              <a:extLst>
                <a:ext uri="{FF2B5EF4-FFF2-40B4-BE49-F238E27FC236}">
                  <a16:creationId xmlns="" xmlns:a16="http://schemas.microsoft.com/office/drawing/2014/main" id="{401D8938-53A8-4EF6-9FC7-7B0105B2302E}"/>
                </a:ext>
              </a:extLst>
            </p:cNvPr>
            <p:cNvSpPr>
              <a:spLocks noChangeAspect="1"/>
            </p:cNvSpPr>
            <p:nvPr/>
          </p:nvSpPr>
          <p:spPr bwMode="gray">
            <a:xfrm rot="11672904" flipV="1">
              <a:off x="8432310" y="1418179"/>
              <a:ext cx="73611" cy="63349"/>
            </a:xfrm>
            <a:prstGeom prst="triangle">
              <a:avLst/>
            </a:prstGeom>
            <a:solidFill>
              <a:schemeClr val="accent1"/>
            </a:solidFill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050" dirty="0">
                <a:solidFill>
                  <a:schemeClr val="tx1"/>
                </a:solidFill>
              </a:endParaRPr>
            </a:p>
          </p:txBody>
        </p:sp>
        <p:sp>
          <p:nvSpPr>
            <p:cNvPr id="25" name="Oval 24">
              <a:extLst>
                <a:ext uri="{FF2B5EF4-FFF2-40B4-BE49-F238E27FC236}">
                  <a16:creationId xmlns="" xmlns:a16="http://schemas.microsoft.com/office/drawing/2014/main" id="{98170558-834B-4009-B86E-FFC6DBC68739}"/>
                </a:ext>
              </a:extLst>
            </p:cNvPr>
            <p:cNvSpPr/>
            <p:nvPr/>
          </p:nvSpPr>
          <p:spPr>
            <a:xfrm>
              <a:off x="8306154" y="1537095"/>
              <a:ext cx="50253" cy="50252"/>
            </a:xfrm>
            <a:prstGeom prst="ellipse">
              <a:avLst/>
            </a:prstGeom>
            <a:solidFill>
              <a:schemeClr val="accent1"/>
            </a:solidFill>
            <a:ln w="12700" cap="flat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 b="1" dirty="0">
                <a:solidFill>
                  <a:schemeClr val="bg1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</p:grpSp>
      <p:sp>
        <p:nvSpPr>
          <p:cNvPr id="28" name="Rectangle 27">
            <a:extLst>
              <a:ext uri="{FF2B5EF4-FFF2-40B4-BE49-F238E27FC236}">
                <a16:creationId xmlns="" xmlns:a16="http://schemas.microsoft.com/office/drawing/2014/main" id="{8CB181B4-F7F7-46DD-8436-013077DF9C04}"/>
              </a:ext>
            </a:extLst>
          </p:cNvPr>
          <p:cNvSpPr/>
          <p:nvPr/>
        </p:nvSpPr>
        <p:spPr>
          <a:xfrm>
            <a:off x="246381" y="1640823"/>
            <a:ext cx="8646794" cy="996090"/>
          </a:xfrm>
          <a:prstGeom prst="rect">
            <a:avLst/>
          </a:prstGeom>
          <a:noFill/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97212" indent="-97212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12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Principal</a:t>
            </a:r>
            <a:r>
              <a:rPr lang="en-US" sz="12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2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Component Analysis (PCA)</a:t>
            </a:r>
            <a:r>
              <a:rPr lang="en-US" sz="12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: </a:t>
            </a:r>
            <a:r>
              <a:rPr lang="en-US" sz="12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Dimensionality Reduction for the </a:t>
            </a:r>
            <a:r>
              <a:rPr lang="en-US" sz="12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dropped</a:t>
            </a:r>
            <a:r>
              <a:rPr lang="en-US" sz="12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features, </a:t>
            </a:r>
            <a:r>
              <a:rPr lang="en-US" sz="12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in order to </a:t>
            </a:r>
            <a:r>
              <a:rPr lang="en-US" sz="12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cluster </a:t>
            </a:r>
            <a:r>
              <a:rPr lang="en-US" sz="12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them later on</a:t>
            </a:r>
          </a:p>
        </p:txBody>
      </p:sp>
      <p:pic>
        <p:nvPicPr>
          <p:cNvPr id="29" name="Picture 28" descr="img11.png">
            <a:extLst>
              <a:ext uri="{FF2B5EF4-FFF2-40B4-BE49-F238E27FC236}">
                <a16:creationId xmlns="" xmlns:a16="http://schemas.microsoft.com/office/drawing/2014/main" id="{9F6A58D2-F0FF-41D4-8F0B-DFC7CCF8907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7334" y="2207297"/>
            <a:ext cx="8129332" cy="45350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634151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AA16B7AC-F676-4F67-8813-4F8F68AAD7D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014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="" xmlns:a16="http://schemas.microsoft.com/office/drawing/2014/main" id="{AA16B7AC-F676-4F67-8813-4F8F68AAD7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="" xmlns:a16="http://schemas.microsoft.com/office/drawing/2014/main" id="{260A3D96-399B-450E-B597-24C3AA9AE05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US" sz="240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="" xmlns:a16="http://schemas.microsoft.com/office/drawing/2014/main" id="{48D13E25-DCE9-4BCE-806B-429683B77FA6}"/>
              </a:ext>
            </a:extLst>
          </p:cNvPr>
          <p:cNvSpPr txBox="1"/>
          <p:nvPr/>
        </p:nvSpPr>
        <p:spPr>
          <a:xfrm>
            <a:off x="244474" y="1301507"/>
            <a:ext cx="6840220" cy="249299"/>
          </a:xfrm>
          <a:prstGeom prst="rect">
            <a:avLst/>
          </a:prstGeom>
          <a:noFill/>
          <a:ln w="6350" cap="flat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A5FFFF"/>
                </a:solidFill>
              </a14:hiddenFill>
            </a:ext>
          </a:extLst>
        </p:spPr>
        <p:txBody>
          <a:bodyPr vert="horz" wrap="square" lIns="365760" tIns="0" rIns="0" bIns="0" rtlCol="0" anchor="t" anchorCtr="0">
            <a:sp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2"/>
              </a:buClr>
            </a:pP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Feature Engineering</a:t>
            </a:r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7956AB31-F718-491D-AAC7-99EB166076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4507" y="493495"/>
            <a:ext cx="7604094" cy="338554"/>
          </a:xfrm>
        </p:spPr>
        <p:txBody>
          <a:bodyPr/>
          <a:lstStyle/>
          <a:p>
            <a:r>
              <a:rPr lang="en-US" b="1" dirty="0"/>
              <a:t>Framework</a:t>
            </a:r>
          </a:p>
        </p:txBody>
      </p:sp>
      <p:sp>
        <p:nvSpPr>
          <p:cNvPr id="5" name="Oval 4">
            <a:extLst>
              <a:ext uri="{FF2B5EF4-FFF2-40B4-BE49-F238E27FC236}">
                <a16:creationId xmlns="" xmlns:a16="http://schemas.microsoft.com/office/drawing/2014/main" id="{3D60A96E-A8F3-4D57-873D-4053E79B24CA}"/>
              </a:ext>
            </a:extLst>
          </p:cNvPr>
          <p:cNvSpPr/>
          <p:nvPr/>
        </p:nvSpPr>
        <p:spPr>
          <a:xfrm>
            <a:off x="246380" y="1273567"/>
            <a:ext cx="279400" cy="279400"/>
          </a:xfrm>
          <a:prstGeom prst="ellipse">
            <a:avLst/>
          </a:prstGeom>
          <a:solidFill>
            <a:schemeClr val="accent1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1600" b="1" dirty="0">
                <a:solidFill>
                  <a:schemeClr val="bg1"/>
                </a:solidFill>
                <a:latin typeface="Arial" panose="020B0604020202020204" pitchFamily="34" charset="0"/>
                <a:cs typeface="Arial" pitchFamily="34" charset="0"/>
              </a:rPr>
              <a:t>4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="" xmlns:a16="http://schemas.microsoft.com/office/drawing/2014/main" id="{0BBEB72A-2139-4645-915E-CEC28070B56D}"/>
              </a:ext>
            </a:extLst>
          </p:cNvPr>
          <p:cNvGrpSpPr/>
          <p:nvPr/>
        </p:nvGrpSpPr>
        <p:grpSpPr>
          <a:xfrm>
            <a:off x="7877395" y="1225848"/>
            <a:ext cx="937795" cy="385342"/>
            <a:chOff x="7877395" y="1225848"/>
            <a:chExt cx="937795" cy="385342"/>
          </a:xfrm>
        </p:grpSpPr>
        <p:sp>
          <p:nvSpPr>
            <p:cNvPr id="12" name="Isosceles Triangle 11">
              <a:extLst>
                <a:ext uri="{FF2B5EF4-FFF2-40B4-BE49-F238E27FC236}">
                  <a16:creationId xmlns="" xmlns:a16="http://schemas.microsoft.com/office/drawing/2014/main" id="{35B3CE62-F491-498C-8FB7-E66CFD69DB95}"/>
                </a:ext>
              </a:extLst>
            </p:cNvPr>
            <p:cNvSpPr>
              <a:spLocks noChangeAspect="1"/>
            </p:cNvSpPr>
            <p:nvPr/>
          </p:nvSpPr>
          <p:spPr bwMode="gray">
            <a:xfrm rot="9927096">
              <a:off x="8132907" y="1349645"/>
              <a:ext cx="73611" cy="63458"/>
            </a:xfrm>
            <a:prstGeom prst="triangle">
              <a:avLst/>
            </a:prstGeom>
            <a:solidFill>
              <a:schemeClr val="bg2"/>
            </a:solidFill>
            <a:ln w="9525">
              <a:solidFill>
                <a:srgbClr val="007F7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050" dirty="0">
                <a:solidFill>
                  <a:schemeClr val="tx1"/>
                </a:solidFill>
              </a:endParaRPr>
            </a:p>
          </p:txBody>
        </p:sp>
        <p:sp>
          <p:nvSpPr>
            <p:cNvPr id="13" name="Oval 12">
              <a:extLst>
                <a:ext uri="{FF2B5EF4-FFF2-40B4-BE49-F238E27FC236}">
                  <a16:creationId xmlns="" xmlns:a16="http://schemas.microsoft.com/office/drawing/2014/main" id="{D5057345-1014-4E3D-8249-CA3762D4EBD7}"/>
                </a:ext>
              </a:extLst>
            </p:cNvPr>
            <p:cNvSpPr/>
            <p:nvPr/>
          </p:nvSpPr>
          <p:spPr>
            <a:xfrm>
              <a:off x="8002635" y="1243852"/>
              <a:ext cx="50253" cy="50252"/>
            </a:xfrm>
            <a:prstGeom prst="ellipse">
              <a:avLst/>
            </a:prstGeom>
            <a:solidFill>
              <a:schemeClr val="bg2"/>
            </a:solidFill>
            <a:ln w="12700" cap="flat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 b="1" dirty="0">
                <a:solidFill>
                  <a:schemeClr val="bg1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14" name="Oval 13">
              <a:extLst>
                <a:ext uri="{FF2B5EF4-FFF2-40B4-BE49-F238E27FC236}">
                  <a16:creationId xmlns="" xmlns:a16="http://schemas.microsoft.com/office/drawing/2014/main" id="{63F9707F-DBB8-47E1-9D38-404826C77867}"/>
                </a:ext>
              </a:extLst>
            </p:cNvPr>
            <p:cNvSpPr/>
            <p:nvPr/>
          </p:nvSpPr>
          <p:spPr>
            <a:xfrm>
              <a:off x="8530035" y="1349312"/>
              <a:ext cx="212364" cy="212364"/>
            </a:xfrm>
            <a:prstGeom prst="ellipse">
              <a:avLst/>
            </a:prstGeom>
            <a:solidFill>
              <a:schemeClr val="accent5"/>
            </a:solidFill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ot="0" spcFirstLastPara="0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15" name="Arc 14">
              <a:extLst>
                <a:ext uri="{FF2B5EF4-FFF2-40B4-BE49-F238E27FC236}">
                  <a16:creationId xmlns="" xmlns:a16="http://schemas.microsoft.com/office/drawing/2014/main" id="{83A64A2A-0C53-4047-8B19-03F3FE3B04D9}"/>
                </a:ext>
              </a:extLst>
            </p:cNvPr>
            <p:cNvSpPr/>
            <p:nvPr/>
          </p:nvSpPr>
          <p:spPr bwMode="gray">
            <a:xfrm>
              <a:off x="8486575" y="1267966"/>
              <a:ext cx="283644" cy="247796"/>
            </a:xfrm>
            <a:prstGeom prst="arc">
              <a:avLst>
                <a:gd name="adj1" fmla="val 11178900"/>
                <a:gd name="adj2" fmla="val 21075396"/>
              </a:avLst>
            </a:prstGeom>
            <a:ln w="19050" cap="flat">
              <a:solidFill>
                <a:schemeClr val="accent5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100" dirty="0"/>
            </a:p>
          </p:txBody>
        </p:sp>
        <p:sp>
          <p:nvSpPr>
            <p:cNvPr id="16" name="Isosceles Triangle 15">
              <a:extLst>
                <a:ext uri="{FF2B5EF4-FFF2-40B4-BE49-F238E27FC236}">
                  <a16:creationId xmlns="" xmlns:a16="http://schemas.microsoft.com/office/drawing/2014/main" id="{AD34A29D-9581-4661-BAC6-DFB4DF1F5397}"/>
                </a:ext>
              </a:extLst>
            </p:cNvPr>
            <p:cNvSpPr>
              <a:spLocks noChangeAspect="1"/>
            </p:cNvSpPr>
            <p:nvPr/>
          </p:nvSpPr>
          <p:spPr bwMode="gray">
            <a:xfrm rot="9927096">
              <a:off x="8734789" y="1347929"/>
              <a:ext cx="73611" cy="63458"/>
            </a:xfrm>
            <a:prstGeom prst="triangle">
              <a:avLst/>
            </a:prstGeom>
            <a:solidFill>
              <a:schemeClr val="accent5"/>
            </a:solidFill>
            <a:ln w="952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050" dirty="0">
                <a:solidFill>
                  <a:schemeClr val="tx1"/>
                </a:solidFill>
              </a:endParaRPr>
            </a:p>
          </p:txBody>
        </p:sp>
        <p:sp>
          <p:nvSpPr>
            <p:cNvPr id="17" name="Oval 16">
              <a:extLst>
                <a:ext uri="{FF2B5EF4-FFF2-40B4-BE49-F238E27FC236}">
                  <a16:creationId xmlns="" xmlns:a16="http://schemas.microsoft.com/office/drawing/2014/main" id="{BFF74F25-EB5E-4527-8581-0E164F89C80F}"/>
                </a:ext>
              </a:extLst>
            </p:cNvPr>
            <p:cNvSpPr/>
            <p:nvPr/>
          </p:nvSpPr>
          <p:spPr>
            <a:xfrm>
              <a:off x="8611091" y="1243852"/>
              <a:ext cx="50253" cy="50252"/>
            </a:xfrm>
            <a:prstGeom prst="ellipse">
              <a:avLst/>
            </a:prstGeom>
            <a:solidFill>
              <a:schemeClr val="accent5"/>
            </a:solidFill>
            <a:ln w="12700" cap="flat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 b="1" dirty="0">
                <a:solidFill>
                  <a:schemeClr val="bg1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="" xmlns:a16="http://schemas.microsoft.com/office/drawing/2014/main" id="{00A129B6-615D-417E-A5FF-BF0A72E04226}"/>
                </a:ext>
              </a:extLst>
            </p:cNvPr>
            <p:cNvSpPr/>
            <p:nvPr/>
          </p:nvSpPr>
          <p:spPr>
            <a:xfrm>
              <a:off x="8486575" y="1225848"/>
              <a:ext cx="328615" cy="385342"/>
            </a:xfrm>
            <a:prstGeom prst="rect">
              <a:avLst/>
            </a:prstGeom>
            <a:solidFill>
              <a:schemeClr val="bg1">
                <a:alpha val="80000"/>
              </a:schemeClr>
            </a:solidFill>
            <a:ln w="6350" cap="flat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900"/>
                </a:spcBef>
              </a:pPr>
              <a:endParaRPr lang="en-US" sz="140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9" name="Oval 18">
              <a:extLst>
                <a:ext uri="{FF2B5EF4-FFF2-40B4-BE49-F238E27FC236}">
                  <a16:creationId xmlns="" xmlns:a16="http://schemas.microsoft.com/office/drawing/2014/main" id="{3E98A2CE-5146-4C5F-A545-6FDD7370DFB0}"/>
                </a:ext>
              </a:extLst>
            </p:cNvPr>
            <p:cNvSpPr/>
            <p:nvPr/>
          </p:nvSpPr>
          <p:spPr>
            <a:xfrm>
              <a:off x="7921579" y="1349312"/>
              <a:ext cx="212364" cy="212364"/>
            </a:xfrm>
            <a:prstGeom prst="ellipse">
              <a:avLst/>
            </a:prstGeom>
            <a:solidFill>
              <a:schemeClr val="bg2"/>
            </a:solidFill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ot="0" spcFirstLastPara="0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20" name="Arc 19">
              <a:extLst>
                <a:ext uri="{FF2B5EF4-FFF2-40B4-BE49-F238E27FC236}">
                  <a16:creationId xmlns="" xmlns:a16="http://schemas.microsoft.com/office/drawing/2014/main" id="{A0AB8420-2770-4899-AC43-A47624E481BC}"/>
                </a:ext>
              </a:extLst>
            </p:cNvPr>
            <p:cNvSpPr/>
            <p:nvPr/>
          </p:nvSpPr>
          <p:spPr bwMode="gray">
            <a:xfrm>
              <a:off x="7883769" y="1267966"/>
              <a:ext cx="283644" cy="247796"/>
            </a:xfrm>
            <a:prstGeom prst="arc">
              <a:avLst>
                <a:gd name="adj1" fmla="val 11178900"/>
                <a:gd name="adj2" fmla="val 21075396"/>
              </a:avLst>
            </a:prstGeom>
            <a:ln w="19050" cap="flat">
              <a:solidFill>
                <a:schemeClr val="bg2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100" dirty="0"/>
            </a:p>
          </p:txBody>
        </p:sp>
        <p:sp>
          <p:nvSpPr>
            <p:cNvPr id="21" name="Rectangle 20">
              <a:extLst>
                <a:ext uri="{FF2B5EF4-FFF2-40B4-BE49-F238E27FC236}">
                  <a16:creationId xmlns="" xmlns:a16="http://schemas.microsoft.com/office/drawing/2014/main" id="{33C5B095-13E5-455C-9204-B2BD9ABC7DCF}"/>
                </a:ext>
              </a:extLst>
            </p:cNvPr>
            <p:cNvSpPr/>
            <p:nvPr/>
          </p:nvSpPr>
          <p:spPr>
            <a:xfrm>
              <a:off x="7877395" y="1225848"/>
              <a:ext cx="328615" cy="385342"/>
            </a:xfrm>
            <a:prstGeom prst="rect">
              <a:avLst/>
            </a:prstGeom>
            <a:solidFill>
              <a:schemeClr val="bg1">
                <a:alpha val="80000"/>
              </a:schemeClr>
            </a:solidFill>
            <a:ln w="6350" cap="flat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900"/>
                </a:spcBef>
              </a:pPr>
              <a:endParaRPr lang="en-US" sz="140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2" name="Oval 21">
              <a:extLst>
                <a:ext uri="{FF2B5EF4-FFF2-40B4-BE49-F238E27FC236}">
                  <a16:creationId xmlns="" xmlns:a16="http://schemas.microsoft.com/office/drawing/2014/main" id="{22C1417D-C0DF-425F-B1EA-C0A7EC164858}"/>
                </a:ext>
              </a:extLst>
            </p:cNvPr>
            <p:cNvSpPr/>
            <p:nvPr/>
          </p:nvSpPr>
          <p:spPr>
            <a:xfrm>
              <a:off x="8225098" y="1244357"/>
              <a:ext cx="212364" cy="212364"/>
            </a:xfrm>
            <a:prstGeom prst="ellipse">
              <a:avLst/>
            </a:prstGeom>
            <a:solidFill>
              <a:schemeClr val="accent1"/>
            </a:solidFill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ot="0" spcFirstLastPara="0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23" name="Arc 22">
              <a:extLst>
                <a:ext uri="{FF2B5EF4-FFF2-40B4-BE49-F238E27FC236}">
                  <a16:creationId xmlns="" xmlns:a16="http://schemas.microsoft.com/office/drawing/2014/main" id="{6A0208D0-2202-4068-9629-F81575FE5B60}"/>
                </a:ext>
              </a:extLst>
            </p:cNvPr>
            <p:cNvSpPr/>
            <p:nvPr/>
          </p:nvSpPr>
          <p:spPr bwMode="gray">
            <a:xfrm flipV="1">
              <a:off x="8184095" y="1313981"/>
              <a:ext cx="283644" cy="247373"/>
            </a:xfrm>
            <a:prstGeom prst="arc">
              <a:avLst>
                <a:gd name="adj1" fmla="val 11178900"/>
                <a:gd name="adj2" fmla="val 21075396"/>
              </a:avLst>
            </a:prstGeom>
            <a:ln w="19050" cap="flat">
              <a:solidFill>
                <a:schemeClr val="accent1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100" dirty="0"/>
            </a:p>
          </p:txBody>
        </p:sp>
        <p:sp>
          <p:nvSpPr>
            <p:cNvPr id="24" name="Isosceles Triangle 23">
              <a:extLst>
                <a:ext uri="{FF2B5EF4-FFF2-40B4-BE49-F238E27FC236}">
                  <a16:creationId xmlns="" xmlns:a16="http://schemas.microsoft.com/office/drawing/2014/main" id="{401D8938-53A8-4EF6-9FC7-7B0105B2302E}"/>
                </a:ext>
              </a:extLst>
            </p:cNvPr>
            <p:cNvSpPr>
              <a:spLocks noChangeAspect="1"/>
            </p:cNvSpPr>
            <p:nvPr/>
          </p:nvSpPr>
          <p:spPr bwMode="gray">
            <a:xfrm rot="11672904" flipV="1">
              <a:off x="8432310" y="1418179"/>
              <a:ext cx="73611" cy="63349"/>
            </a:xfrm>
            <a:prstGeom prst="triangle">
              <a:avLst/>
            </a:prstGeom>
            <a:solidFill>
              <a:schemeClr val="accent1"/>
            </a:solidFill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050" dirty="0">
                <a:solidFill>
                  <a:schemeClr val="tx1"/>
                </a:solidFill>
              </a:endParaRPr>
            </a:p>
          </p:txBody>
        </p:sp>
        <p:sp>
          <p:nvSpPr>
            <p:cNvPr id="25" name="Oval 24">
              <a:extLst>
                <a:ext uri="{FF2B5EF4-FFF2-40B4-BE49-F238E27FC236}">
                  <a16:creationId xmlns="" xmlns:a16="http://schemas.microsoft.com/office/drawing/2014/main" id="{98170558-834B-4009-B86E-FFC6DBC68739}"/>
                </a:ext>
              </a:extLst>
            </p:cNvPr>
            <p:cNvSpPr/>
            <p:nvPr/>
          </p:nvSpPr>
          <p:spPr>
            <a:xfrm>
              <a:off x="8306154" y="1537095"/>
              <a:ext cx="50253" cy="50252"/>
            </a:xfrm>
            <a:prstGeom prst="ellipse">
              <a:avLst/>
            </a:prstGeom>
            <a:solidFill>
              <a:schemeClr val="accent1"/>
            </a:solidFill>
            <a:ln w="12700" cap="flat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 b="1" dirty="0">
                <a:solidFill>
                  <a:schemeClr val="bg1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</p:grpSp>
      <p:sp>
        <p:nvSpPr>
          <p:cNvPr id="28" name="Rectangle 27">
            <a:extLst>
              <a:ext uri="{FF2B5EF4-FFF2-40B4-BE49-F238E27FC236}">
                <a16:creationId xmlns="" xmlns:a16="http://schemas.microsoft.com/office/drawing/2014/main" id="{8CB181B4-F7F7-46DD-8436-013077DF9C04}"/>
              </a:ext>
            </a:extLst>
          </p:cNvPr>
          <p:cNvSpPr/>
          <p:nvPr/>
        </p:nvSpPr>
        <p:spPr>
          <a:xfrm>
            <a:off x="246381" y="1640823"/>
            <a:ext cx="8646794" cy="996090"/>
          </a:xfrm>
          <a:prstGeom prst="rect">
            <a:avLst/>
          </a:prstGeom>
          <a:noFill/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SzPct val="100000"/>
            </a:pPr>
            <a:endParaRPr lang="en-US" sz="12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29" name="Picture 28" descr="img.png">
            <a:extLst>
              <a:ext uri="{FF2B5EF4-FFF2-40B4-BE49-F238E27FC236}">
                <a16:creationId xmlns="" xmlns:a16="http://schemas.microsoft.com/office/drawing/2014/main" id="{C79BE97A-5D7A-4FCC-8C44-FFC3DB1126D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71190" y="2224230"/>
            <a:ext cx="6401619" cy="4481134"/>
          </a:xfrm>
          <a:prstGeom prst="rect">
            <a:avLst/>
          </a:prstGeom>
        </p:spPr>
      </p:pic>
      <p:sp>
        <p:nvSpPr>
          <p:cNvPr id="26" name="Rectangle 25">
            <a:extLst>
              <a:ext uri="{FF2B5EF4-FFF2-40B4-BE49-F238E27FC236}">
                <a16:creationId xmlns="" xmlns:a16="http://schemas.microsoft.com/office/drawing/2014/main" id="{8CB181B4-F7F7-46DD-8436-013077DF9C04}"/>
              </a:ext>
            </a:extLst>
          </p:cNvPr>
          <p:cNvSpPr/>
          <p:nvPr/>
        </p:nvSpPr>
        <p:spPr>
          <a:xfrm>
            <a:off x="359532" y="1676826"/>
            <a:ext cx="8646794" cy="996090"/>
          </a:xfrm>
          <a:prstGeom prst="rect">
            <a:avLst/>
          </a:prstGeom>
          <a:noFill/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97212" indent="-97212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12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Kmeans</a:t>
            </a:r>
            <a:r>
              <a:rPr lang="en-US" sz="1200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2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Clustering</a:t>
            </a:r>
          </a:p>
          <a:p>
            <a:pPr marL="554412" lvl="1" indent="-97212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12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Silhouette</a:t>
            </a:r>
            <a:r>
              <a:rPr lang="en-US" sz="12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= 0.45 and </a:t>
            </a:r>
            <a:r>
              <a:rPr lang="en-US" sz="12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Davies-Bouldin</a:t>
            </a:r>
            <a:r>
              <a:rPr lang="en-US" sz="12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: 0.92</a:t>
            </a:r>
            <a:endParaRPr lang="en-US" sz="12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8759154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AA16B7AC-F676-4F67-8813-4F8F68AAD7D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038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="" xmlns:a16="http://schemas.microsoft.com/office/drawing/2014/main" id="{AA16B7AC-F676-4F67-8813-4F8F68AAD7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="" xmlns:a16="http://schemas.microsoft.com/office/drawing/2014/main" id="{260A3D96-399B-450E-B597-24C3AA9AE05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US" sz="240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="" xmlns:a16="http://schemas.microsoft.com/office/drawing/2014/main" id="{48D13E25-DCE9-4BCE-806B-429683B77FA6}"/>
              </a:ext>
            </a:extLst>
          </p:cNvPr>
          <p:cNvSpPr txBox="1"/>
          <p:nvPr/>
        </p:nvSpPr>
        <p:spPr>
          <a:xfrm>
            <a:off x="244474" y="1301507"/>
            <a:ext cx="6840220" cy="249299"/>
          </a:xfrm>
          <a:prstGeom prst="rect">
            <a:avLst/>
          </a:prstGeom>
          <a:noFill/>
          <a:ln w="6350" cap="flat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A5FFFF"/>
                </a:solidFill>
              </a14:hiddenFill>
            </a:ext>
          </a:extLst>
        </p:spPr>
        <p:txBody>
          <a:bodyPr vert="horz" wrap="square" lIns="365760" tIns="0" rIns="0" bIns="0" rtlCol="0" anchor="t" anchorCtr="0">
            <a:sp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2"/>
              </a:buClr>
            </a:pP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Feature Engineering</a:t>
            </a:r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7956AB31-F718-491D-AAC7-99EB166076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4507" y="493495"/>
            <a:ext cx="7604094" cy="338554"/>
          </a:xfrm>
        </p:spPr>
        <p:txBody>
          <a:bodyPr/>
          <a:lstStyle/>
          <a:p>
            <a:r>
              <a:rPr lang="en-US" b="1" dirty="0"/>
              <a:t>Framework</a:t>
            </a:r>
          </a:p>
        </p:txBody>
      </p:sp>
      <p:sp>
        <p:nvSpPr>
          <p:cNvPr id="5" name="Oval 4">
            <a:extLst>
              <a:ext uri="{FF2B5EF4-FFF2-40B4-BE49-F238E27FC236}">
                <a16:creationId xmlns="" xmlns:a16="http://schemas.microsoft.com/office/drawing/2014/main" id="{3D60A96E-A8F3-4D57-873D-4053E79B24CA}"/>
              </a:ext>
            </a:extLst>
          </p:cNvPr>
          <p:cNvSpPr/>
          <p:nvPr/>
        </p:nvSpPr>
        <p:spPr>
          <a:xfrm>
            <a:off x="246380" y="1273567"/>
            <a:ext cx="279400" cy="279400"/>
          </a:xfrm>
          <a:prstGeom prst="ellipse">
            <a:avLst/>
          </a:prstGeom>
          <a:solidFill>
            <a:schemeClr val="accent1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1600" b="1" dirty="0">
                <a:solidFill>
                  <a:schemeClr val="bg1"/>
                </a:solidFill>
                <a:latin typeface="Arial" panose="020B0604020202020204" pitchFamily="34" charset="0"/>
                <a:cs typeface="Arial" pitchFamily="34" charset="0"/>
              </a:rPr>
              <a:t>4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="" xmlns:a16="http://schemas.microsoft.com/office/drawing/2014/main" id="{0BBEB72A-2139-4645-915E-CEC28070B56D}"/>
              </a:ext>
            </a:extLst>
          </p:cNvPr>
          <p:cNvGrpSpPr/>
          <p:nvPr/>
        </p:nvGrpSpPr>
        <p:grpSpPr>
          <a:xfrm>
            <a:off x="7877395" y="1225848"/>
            <a:ext cx="937795" cy="385342"/>
            <a:chOff x="7877395" y="1225848"/>
            <a:chExt cx="937795" cy="385342"/>
          </a:xfrm>
        </p:grpSpPr>
        <p:sp>
          <p:nvSpPr>
            <p:cNvPr id="12" name="Isosceles Triangle 11">
              <a:extLst>
                <a:ext uri="{FF2B5EF4-FFF2-40B4-BE49-F238E27FC236}">
                  <a16:creationId xmlns="" xmlns:a16="http://schemas.microsoft.com/office/drawing/2014/main" id="{35B3CE62-F491-498C-8FB7-E66CFD69DB95}"/>
                </a:ext>
              </a:extLst>
            </p:cNvPr>
            <p:cNvSpPr>
              <a:spLocks noChangeAspect="1"/>
            </p:cNvSpPr>
            <p:nvPr/>
          </p:nvSpPr>
          <p:spPr bwMode="gray">
            <a:xfrm rot="9927096">
              <a:off x="8132907" y="1349645"/>
              <a:ext cx="73611" cy="63458"/>
            </a:xfrm>
            <a:prstGeom prst="triangle">
              <a:avLst/>
            </a:prstGeom>
            <a:solidFill>
              <a:schemeClr val="bg2"/>
            </a:solidFill>
            <a:ln w="9525">
              <a:solidFill>
                <a:srgbClr val="007F7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050" dirty="0">
                <a:solidFill>
                  <a:schemeClr val="tx1"/>
                </a:solidFill>
              </a:endParaRPr>
            </a:p>
          </p:txBody>
        </p:sp>
        <p:sp>
          <p:nvSpPr>
            <p:cNvPr id="13" name="Oval 12">
              <a:extLst>
                <a:ext uri="{FF2B5EF4-FFF2-40B4-BE49-F238E27FC236}">
                  <a16:creationId xmlns="" xmlns:a16="http://schemas.microsoft.com/office/drawing/2014/main" id="{D5057345-1014-4E3D-8249-CA3762D4EBD7}"/>
                </a:ext>
              </a:extLst>
            </p:cNvPr>
            <p:cNvSpPr/>
            <p:nvPr/>
          </p:nvSpPr>
          <p:spPr>
            <a:xfrm>
              <a:off x="8002635" y="1243852"/>
              <a:ext cx="50253" cy="50252"/>
            </a:xfrm>
            <a:prstGeom prst="ellipse">
              <a:avLst/>
            </a:prstGeom>
            <a:solidFill>
              <a:schemeClr val="bg2"/>
            </a:solidFill>
            <a:ln w="12700" cap="flat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 b="1" dirty="0">
                <a:solidFill>
                  <a:schemeClr val="bg1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14" name="Oval 13">
              <a:extLst>
                <a:ext uri="{FF2B5EF4-FFF2-40B4-BE49-F238E27FC236}">
                  <a16:creationId xmlns="" xmlns:a16="http://schemas.microsoft.com/office/drawing/2014/main" id="{63F9707F-DBB8-47E1-9D38-404826C77867}"/>
                </a:ext>
              </a:extLst>
            </p:cNvPr>
            <p:cNvSpPr/>
            <p:nvPr/>
          </p:nvSpPr>
          <p:spPr>
            <a:xfrm>
              <a:off x="8530035" y="1349312"/>
              <a:ext cx="212364" cy="212364"/>
            </a:xfrm>
            <a:prstGeom prst="ellipse">
              <a:avLst/>
            </a:prstGeom>
            <a:solidFill>
              <a:schemeClr val="accent5"/>
            </a:solidFill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ot="0" spcFirstLastPara="0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15" name="Arc 14">
              <a:extLst>
                <a:ext uri="{FF2B5EF4-FFF2-40B4-BE49-F238E27FC236}">
                  <a16:creationId xmlns="" xmlns:a16="http://schemas.microsoft.com/office/drawing/2014/main" id="{83A64A2A-0C53-4047-8B19-03F3FE3B04D9}"/>
                </a:ext>
              </a:extLst>
            </p:cNvPr>
            <p:cNvSpPr/>
            <p:nvPr/>
          </p:nvSpPr>
          <p:spPr bwMode="gray">
            <a:xfrm>
              <a:off x="8486575" y="1267966"/>
              <a:ext cx="283644" cy="247796"/>
            </a:xfrm>
            <a:prstGeom prst="arc">
              <a:avLst>
                <a:gd name="adj1" fmla="val 11178900"/>
                <a:gd name="adj2" fmla="val 21075396"/>
              </a:avLst>
            </a:prstGeom>
            <a:ln w="19050" cap="flat">
              <a:solidFill>
                <a:schemeClr val="accent5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100" dirty="0"/>
            </a:p>
          </p:txBody>
        </p:sp>
        <p:sp>
          <p:nvSpPr>
            <p:cNvPr id="16" name="Isosceles Triangle 15">
              <a:extLst>
                <a:ext uri="{FF2B5EF4-FFF2-40B4-BE49-F238E27FC236}">
                  <a16:creationId xmlns="" xmlns:a16="http://schemas.microsoft.com/office/drawing/2014/main" id="{AD34A29D-9581-4661-BAC6-DFB4DF1F5397}"/>
                </a:ext>
              </a:extLst>
            </p:cNvPr>
            <p:cNvSpPr>
              <a:spLocks noChangeAspect="1"/>
            </p:cNvSpPr>
            <p:nvPr/>
          </p:nvSpPr>
          <p:spPr bwMode="gray">
            <a:xfrm rot="9927096">
              <a:off x="8734789" y="1347929"/>
              <a:ext cx="73611" cy="63458"/>
            </a:xfrm>
            <a:prstGeom prst="triangle">
              <a:avLst/>
            </a:prstGeom>
            <a:solidFill>
              <a:schemeClr val="accent5"/>
            </a:solidFill>
            <a:ln w="952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050" dirty="0">
                <a:solidFill>
                  <a:schemeClr val="tx1"/>
                </a:solidFill>
              </a:endParaRPr>
            </a:p>
          </p:txBody>
        </p:sp>
        <p:sp>
          <p:nvSpPr>
            <p:cNvPr id="17" name="Oval 16">
              <a:extLst>
                <a:ext uri="{FF2B5EF4-FFF2-40B4-BE49-F238E27FC236}">
                  <a16:creationId xmlns="" xmlns:a16="http://schemas.microsoft.com/office/drawing/2014/main" id="{BFF74F25-EB5E-4527-8581-0E164F89C80F}"/>
                </a:ext>
              </a:extLst>
            </p:cNvPr>
            <p:cNvSpPr/>
            <p:nvPr/>
          </p:nvSpPr>
          <p:spPr>
            <a:xfrm>
              <a:off x="8611091" y="1243852"/>
              <a:ext cx="50253" cy="50252"/>
            </a:xfrm>
            <a:prstGeom prst="ellipse">
              <a:avLst/>
            </a:prstGeom>
            <a:solidFill>
              <a:schemeClr val="accent5"/>
            </a:solidFill>
            <a:ln w="12700" cap="flat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 b="1" dirty="0">
                <a:solidFill>
                  <a:schemeClr val="bg1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="" xmlns:a16="http://schemas.microsoft.com/office/drawing/2014/main" id="{00A129B6-615D-417E-A5FF-BF0A72E04226}"/>
                </a:ext>
              </a:extLst>
            </p:cNvPr>
            <p:cNvSpPr/>
            <p:nvPr/>
          </p:nvSpPr>
          <p:spPr>
            <a:xfrm>
              <a:off x="8486575" y="1225848"/>
              <a:ext cx="328615" cy="385342"/>
            </a:xfrm>
            <a:prstGeom prst="rect">
              <a:avLst/>
            </a:prstGeom>
            <a:solidFill>
              <a:schemeClr val="bg1">
                <a:alpha val="80000"/>
              </a:schemeClr>
            </a:solidFill>
            <a:ln w="6350" cap="flat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900"/>
                </a:spcBef>
              </a:pPr>
              <a:endParaRPr lang="en-US" sz="140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9" name="Oval 18">
              <a:extLst>
                <a:ext uri="{FF2B5EF4-FFF2-40B4-BE49-F238E27FC236}">
                  <a16:creationId xmlns="" xmlns:a16="http://schemas.microsoft.com/office/drawing/2014/main" id="{3E98A2CE-5146-4C5F-A545-6FDD7370DFB0}"/>
                </a:ext>
              </a:extLst>
            </p:cNvPr>
            <p:cNvSpPr/>
            <p:nvPr/>
          </p:nvSpPr>
          <p:spPr>
            <a:xfrm>
              <a:off x="7921579" y="1349312"/>
              <a:ext cx="212364" cy="212364"/>
            </a:xfrm>
            <a:prstGeom prst="ellipse">
              <a:avLst/>
            </a:prstGeom>
            <a:solidFill>
              <a:schemeClr val="bg2"/>
            </a:solidFill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ot="0" spcFirstLastPara="0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20" name="Arc 19">
              <a:extLst>
                <a:ext uri="{FF2B5EF4-FFF2-40B4-BE49-F238E27FC236}">
                  <a16:creationId xmlns="" xmlns:a16="http://schemas.microsoft.com/office/drawing/2014/main" id="{A0AB8420-2770-4899-AC43-A47624E481BC}"/>
                </a:ext>
              </a:extLst>
            </p:cNvPr>
            <p:cNvSpPr/>
            <p:nvPr/>
          </p:nvSpPr>
          <p:spPr bwMode="gray">
            <a:xfrm>
              <a:off x="7883769" y="1267966"/>
              <a:ext cx="283644" cy="247796"/>
            </a:xfrm>
            <a:prstGeom prst="arc">
              <a:avLst>
                <a:gd name="adj1" fmla="val 11178900"/>
                <a:gd name="adj2" fmla="val 21075396"/>
              </a:avLst>
            </a:prstGeom>
            <a:ln w="19050" cap="flat">
              <a:solidFill>
                <a:schemeClr val="bg2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100" dirty="0"/>
            </a:p>
          </p:txBody>
        </p:sp>
        <p:sp>
          <p:nvSpPr>
            <p:cNvPr id="21" name="Rectangle 20">
              <a:extLst>
                <a:ext uri="{FF2B5EF4-FFF2-40B4-BE49-F238E27FC236}">
                  <a16:creationId xmlns="" xmlns:a16="http://schemas.microsoft.com/office/drawing/2014/main" id="{33C5B095-13E5-455C-9204-B2BD9ABC7DCF}"/>
                </a:ext>
              </a:extLst>
            </p:cNvPr>
            <p:cNvSpPr/>
            <p:nvPr/>
          </p:nvSpPr>
          <p:spPr>
            <a:xfrm>
              <a:off x="7877395" y="1225848"/>
              <a:ext cx="328615" cy="385342"/>
            </a:xfrm>
            <a:prstGeom prst="rect">
              <a:avLst/>
            </a:prstGeom>
            <a:solidFill>
              <a:schemeClr val="bg1">
                <a:alpha val="80000"/>
              </a:schemeClr>
            </a:solidFill>
            <a:ln w="6350" cap="flat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900"/>
                </a:spcBef>
              </a:pPr>
              <a:endParaRPr lang="en-US" sz="140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2" name="Oval 21">
              <a:extLst>
                <a:ext uri="{FF2B5EF4-FFF2-40B4-BE49-F238E27FC236}">
                  <a16:creationId xmlns="" xmlns:a16="http://schemas.microsoft.com/office/drawing/2014/main" id="{22C1417D-C0DF-425F-B1EA-C0A7EC164858}"/>
                </a:ext>
              </a:extLst>
            </p:cNvPr>
            <p:cNvSpPr/>
            <p:nvPr/>
          </p:nvSpPr>
          <p:spPr>
            <a:xfrm>
              <a:off x="8225098" y="1244357"/>
              <a:ext cx="212364" cy="212364"/>
            </a:xfrm>
            <a:prstGeom prst="ellipse">
              <a:avLst/>
            </a:prstGeom>
            <a:solidFill>
              <a:schemeClr val="accent1"/>
            </a:solidFill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ot="0" spcFirstLastPara="0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23" name="Arc 22">
              <a:extLst>
                <a:ext uri="{FF2B5EF4-FFF2-40B4-BE49-F238E27FC236}">
                  <a16:creationId xmlns="" xmlns:a16="http://schemas.microsoft.com/office/drawing/2014/main" id="{6A0208D0-2202-4068-9629-F81575FE5B60}"/>
                </a:ext>
              </a:extLst>
            </p:cNvPr>
            <p:cNvSpPr/>
            <p:nvPr/>
          </p:nvSpPr>
          <p:spPr bwMode="gray">
            <a:xfrm flipV="1">
              <a:off x="8184095" y="1313981"/>
              <a:ext cx="283644" cy="247373"/>
            </a:xfrm>
            <a:prstGeom prst="arc">
              <a:avLst>
                <a:gd name="adj1" fmla="val 11178900"/>
                <a:gd name="adj2" fmla="val 21075396"/>
              </a:avLst>
            </a:prstGeom>
            <a:ln w="19050" cap="flat">
              <a:solidFill>
                <a:schemeClr val="accent1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100" dirty="0"/>
            </a:p>
          </p:txBody>
        </p:sp>
        <p:sp>
          <p:nvSpPr>
            <p:cNvPr id="24" name="Isosceles Triangle 23">
              <a:extLst>
                <a:ext uri="{FF2B5EF4-FFF2-40B4-BE49-F238E27FC236}">
                  <a16:creationId xmlns="" xmlns:a16="http://schemas.microsoft.com/office/drawing/2014/main" id="{401D8938-53A8-4EF6-9FC7-7B0105B2302E}"/>
                </a:ext>
              </a:extLst>
            </p:cNvPr>
            <p:cNvSpPr>
              <a:spLocks noChangeAspect="1"/>
            </p:cNvSpPr>
            <p:nvPr/>
          </p:nvSpPr>
          <p:spPr bwMode="gray">
            <a:xfrm rot="11672904" flipV="1">
              <a:off x="8432310" y="1418179"/>
              <a:ext cx="73611" cy="63349"/>
            </a:xfrm>
            <a:prstGeom prst="triangle">
              <a:avLst/>
            </a:prstGeom>
            <a:solidFill>
              <a:schemeClr val="accent1"/>
            </a:solidFill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050" dirty="0">
                <a:solidFill>
                  <a:schemeClr val="tx1"/>
                </a:solidFill>
              </a:endParaRPr>
            </a:p>
          </p:txBody>
        </p:sp>
        <p:sp>
          <p:nvSpPr>
            <p:cNvPr id="25" name="Oval 24">
              <a:extLst>
                <a:ext uri="{FF2B5EF4-FFF2-40B4-BE49-F238E27FC236}">
                  <a16:creationId xmlns="" xmlns:a16="http://schemas.microsoft.com/office/drawing/2014/main" id="{98170558-834B-4009-B86E-FFC6DBC68739}"/>
                </a:ext>
              </a:extLst>
            </p:cNvPr>
            <p:cNvSpPr/>
            <p:nvPr/>
          </p:nvSpPr>
          <p:spPr>
            <a:xfrm>
              <a:off x="8306154" y="1537095"/>
              <a:ext cx="50253" cy="50252"/>
            </a:xfrm>
            <a:prstGeom prst="ellipse">
              <a:avLst/>
            </a:prstGeom>
            <a:solidFill>
              <a:schemeClr val="accent1"/>
            </a:solidFill>
            <a:ln w="12700" cap="flat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 b="1" dirty="0">
                <a:solidFill>
                  <a:schemeClr val="bg1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</p:grpSp>
      <p:sp>
        <p:nvSpPr>
          <p:cNvPr id="28" name="Rectangle 27">
            <a:extLst>
              <a:ext uri="{FF2B5EF4-FFF2-40B4-BE49-F238E27FC236}">
                <a16:creationId xmlns="" xmlns:a16="http://schemas.microsoft.com/office/drawing/2014/main" id="{8CB181B4-F7F7-46DD-8436-013077DF9C04}"/>
              </a:ext>
            </a:extLst>
          </p:cNvPr>
          <p:cNvSpPr/>
          <p:nvPr/>
        </p:nvSpPr>
        <p:spPr>
          <a:xfrm>
            <a:off x="246381" y="1640823"/>
            <a:ext cx="8646794" cy="996090"/>
          </a:xfrm>
          <a:prstGeom prst="rect">
            <a:avLst/>
          </a:prstGeom>
          <a:noFill/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SzPct val="100000"/>
            </a:pPr>
            <a:endParaRPr lang="en-US" sz="12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27" name="Picture 26" descr="Screen Shot 2020-05-21 at 6.23.06 PM (2).png">
            <a:extLst>
              <a:ext uri="{FF2B5EF4-FFF2-40B4-BE49-F238E27FC236}">
                <a16:creationId xmlns="" xmlns:a16="http://schemas.microsoft.com/office/drawing/2014/main" id="{46635FDF-48A8-44A6-810B-EA5BD9E632AD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875" t="35439" r="32100" b="12432"/>
          <a:stretch/>
        </p:blipFill>
        <p:spPr>
          <a:xfrm>
            <a:off x="680997" y="2066956"/>
            <a:ext cx="7782007" cy="45615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770032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AA16B7AC-F676-4F67-8813-4F8F68AAD7D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062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="" xmlns:a16="http://schemas.microsoft.com/office/drawing/2014/main" id="{AA16B7AC-F676-4F67-8813-4F8F68AAD7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="" xmlns:a16="http://schemas.microsoft.com/office/drawing/2014/main" id="{260A3D96-399B-450E-B597-24C3AA9AE05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US" sz="240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="" xmlns:a16="http://schemas.microsoft.com/office/drawing/2014/main" id="{48D13E25-DCE9-4BCE-806B-429683B77FA6}"/>
              </a:ext>
            </a:extLst>
          </p:cNvPr>
          <p:cNvSpPr txBox="1"/>
          <p:nvPr/>
        </p:nvSpPr>
        <p:spPr>
          <a:xfrm>
            <a:off x="244474" y="1301507"/>
            <a:ext cx="6840220" cy="249299"/>
          </a:xfrm>
          <a:prstGeom prst="rect">
            <a:avLst/>
          </a:prstGeom>
          <a:noFill/>
          <a:ln w="6350" cap="flat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A5FFFF"/>
                </a:solidFill>
              </a14:hiddenFill>
            </a:ext>
          </a:extLst>
        </p:spPr>
        <p:txBody>
          <a:bodyPr vert="horz" wrap="square" lIns="365760" tIns="0" rIns="0" bIns="0" rtlCol="0" anchor="t" anchorCtr="0">
            <a:sp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2"/>
              </a:buClr>
            </a:pP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Feature Engineering</a:t>
            </a:r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7956AB31-F718-491D-AAC7-99EB166076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4507" y="493495"/>
            <a:ext cx="7604094" cy="338554"/>
          </a:xfrm>
        </p:spPr>
        <p:txBody>
          <a:bodyPr/>
          <a:lstStyle/>
          <a:p>
            <a:r>
              <a:rPr lang="en-US" b="1" dirty="0"/>
              <a:t>Framework</a:t>
            </a:r>
          </a:p>
        </p:txBody>
      </p:sp>
      <p:sp>
        <p:nvSpPr>
          <p:cNvPr id="5" name="Oval 4">
            <a:extLst>
              <a:ext uri="{FF2B5EF4-FFF2-40B4-BE49-F238E27FC236}">
                <a16:creationId xmlns="" xmlns:a16="http://schemas.microsoft.com/office/drawing/2014/main" id="{3D60A96E-A8F3-4D57-873D-4053E79B24CA}"/>
              </a:ext>
            </a:extLst>
          </p:cNvPr>
          <p:cNvSpPr/>
          <p:nvPr/>
        </p:nvSpPr>
        <p:spPr>
          <a:xfrm>
            <a:off x="246380" y="1273567"/>
            <a:ext cx="279400" cy="279400"/>
          </a:xfrm>
          <a:prstGeom prst="ellipse">
            <a:avLst/>
          </a:prstGeom>
          <a:solidFill>
            <a:schemeClr val="accent1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1600" b="1" dirty="0">
                <a:solidFill>
                  <a:schemeClr val="bg1"/>
                </a:solidFill>
                <a:latin typeface="Arial" panose="020B0604020202020204" pitchFamily="34" charset="0"/>
                <a:cs typeface="Arial" pitchFamily="34" charset="0"/>
              </a:rPr>
              <a:t>4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="" xmlns:a16="http://schemas.microsoft.com/office/drawing/2014/main" id="{0BBEB72A-2139-4645-915E-CEC28070B56D}"/>
              </a:ext>
            </a:extLst>
          </p:cNvPr>
          <p:cNvGrpSpPr/>
          <p:nvPr/>
        </p:nvGrpSpPr>
        <p:grpSpPr>
          <a:xfrm>
            <a:off x="7877395" y="1225848"/>
            <a:ext cx="937795" cy="385342"/>
            <a:chOff x="7877395" y="1225848"/>
            <a:chExt cx="937795" cy="385342"/>
          </a:xfrm>
        </p:grpSpPr>
        <p:sp>
          <p:nvSpPr>
            <p:cNvPr id="12" name="Isosceles Triangle 11">
              <a:extLst>
                <a:ext uri="{FF2B5EF4-FFF2-40B4-BE49-F238E27FC236}">
                  <a16:creationId xmlns="" xmlns:a16="http://schemas.microsoft.com/office/drawing/2014/main" id="{35B3CE62-F491-498C-8FB7-E66CFD69DB95}"/>
                </a:ext>
              </a:extLst>
            </p:cNvPr>
            <p:cNvSpPr>
              <a:spLocks noChangeAspect="1"/>
            </p:cNvSpPr>
            <p:nvPr/>
          </p:nvSpPr>
          <p:spPr bwMode="gray">
            <a:xfrm rot="9927096">
              <a:off x="8132907" y="1349645"/>
              <a:ext cx="73611" cy="63458"/>
            </a:xfrm>
            <a:prstGeom prst="triangle">
              <a:avLst/>
            </a:prstGeom>
            <a:solidFill>
              <a:schemeClr val="bg2"/>
            </a:solidFill>
            <a:ln w="9525">
              <a:solidFill>
                <a:srgbClr val="007F7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050" dirty="0">
                <a:solidFill>
                  <a:schemeClr val="tx1"/>
                </a:solidFill>
              </a:endParaRPr>
            </a:p>
          </p:txBody>
        </p:sp>
        <p:sp>
          <p:nvSpPr>
            <p:cNvPr id="13" name="Oval 12">
              <a:extLst>
                <a:ext uri="{FF2B5EF4-FFF2-40B4-BE49-F238E27FC236}">
                  <a16:creationId xmlns="" xmlns:a16="http://schemas.microsoft.com/office/drawing/2014/main" id="{D5057345-1014-4E3D-8249-CA3762D4EBD7}"/>
                </a:ext>
              </a:extLst>
            </p:cNvPr>
            <p:cNvSpPr/>
            <p:nvPr/>
          </p:nvSpPr>
          <p:spPr>
            <a:xfrm>
              <a:off x="8002635" y="1243852"/>
              <a:ext cx="50253" cy="50252"/>
            </a:xfrm>
            <a:prstGeom prst="ellipse">
              <a:avLst/>
            </a:prstGeom>
            <a:solidFill>
              <a:schemeClr val="bg2"/>
            </a:solidFill>
            <a:ln w="12700" cap="flat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 b="1" dirty="0">
                <a:solidFill>
                  <a:schemeClr val="bg1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14" name="Oval 13">
              <a:extLst>
                <a:ext uri="{FF2B5EF4-FFF2-40B4-BE49-F238E27FC236}">
                  <a16:creationId xmlns="" xmlns:a16="http://schemas.microsoft.com/office/drawing/2014/main" id="{63F9707F-DBB8-47E1-9D38-404826C77867}"/>
                </a:ext>
              </a:extLst>
            </p:cNvPr>
            <p:cNvSpPr/>
            <p:nvPr/>
          </p:nvSpPr>
          <p:spPr>
            <a:xfrm>
              <a:off x="8530035" y="1349312"/>
              <a:ext cx="212364" cy="212364"/>
            </a:xfrm>
            <a:prstGeom prst="ellipse">
              <a:avLst/>
            </a:prstGeom>
            <a:solidFill>
              <a:schemeClr val="accent5"/>
            </a:solidFill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ot="0" spcFirstLastPara="0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15" name="Arc 14">
              <a:extLst>
                <a:ext uri="{FF2B5EF4-FFF2-40B4-BE49-F238E27FC236}">
                  <a16:creationId xmlns="" xmlns:a16="http://schemas.microsoft.com/office/drawing/2014/main" id="{83A64A2A-0C53-4047-8B19-03F3FE3B04D9}"/>
                </a:ext>
              </a:extLst>
            </p:cNvPr>
            <p:cNvSpPr/>
            <p:nvPr/>
          </p:nvSpPr>
          <p:spPr bwMode="gray">
            <a:xfrm>
              <a:off x="8486575" y="1267966"/>
              <a:ext cx="283644" cy="247796"/>
            </a:xfrm>
            <a:prstGeom prst="arc">
              <a:avLst>
                <a:gd name="adj1" fmla="val 11178900"/>
                <a:gd name="adj2" fmla="val 21075396"/>
              </a:avLst>
            </a:prstGeom>
            <a:ln w="19050" cap="flat">
              <a:solidFill>
                <a:schemeClr val="accent5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100" dirty="0"/>
            </a:p>
          </p:txBody>
        </p:sp>
        <p:sp>
          <p:nvSpPr>
            <p:cNvPr id="16" name="Isosceles Triangle 15">
              <a:extLst>
                <a:ext uri="{FF2B5EF4-FFF2-40B4-BE49-F238E27FC236}">
                  <a16:creationId xmlns="" xmlns:a16="http://schemas.microsoft.com/office/drawing/2014/main" id="{AD34A29D-9581-4661-BAC6-DFB4DF1F5397}"/>
                </a:ext>
              </a:extLst>
            </p:cNvPr>
            <p:cNvSpPr>
              <a:spLocks noChangeAspect="1"/>
            </p:cNvSpPr>
            <p:nvPr/>
          </p:nvSpPr>
          <p:spPr bwMode="gray">
            <a:xfrm rot="9927096">
              <a:off x="8734789" y="1347929"/>
              <a:ext cx="73611" cy="63458"/>
            </a:xfrm>
            <a:prstGeom prst="triangle">
              <a:avLst/>
            </a:prstGeom>
            <a:solidFill>
              <a:schemeClr val="accent5"/>
            </a:solidFill>
            <a:ln w="952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050" dirty="0">
                <a:solidFill>
                  <a:schemeClr val="tx1"/>
                </a:solidFill>
              </a:endParaRPr>
            </a:p>
          </p:txBody>
        </p:sp>
        <p:sp>
          <p:nvSpPr>
            <p:cNvPr id="17" name="Oval 16">
              <a:extLst>
                <a:ext uri="{FF2B5EF4-FFF2-40B4-BE49-F238E27FC236}">
                  <a16:creationId xmlns="" xmlns:a16="http://schemas.microsoft.com/office/drawing/2014/main" id="{BFF74F25-EB5E-4527-8581-0E164F89C80F}"/>
                </a:ext>
              </a:extLst>
            </p:cNvPr>
            <p:cNvSpPr/>
            <p:nvPr/>
          </p:nvSpPr>
          <p:spPr>
            <a:xfrm>
              <a:off x="8611091" y="1243852"/>
              <a:ext cx="50253" cy="50252"/>
            </a:xfrm>
            <a:prstGeom prst="ellipse">
              <a:avLst/>
            </a:prstGeom>
            <a:solidFill>
              <a:schemeClr val="accent5"/>
            </a:solidFill>
            <a:ln w="12700" cap="flat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 b="1" dirty="0">
                <a:solidFill>
                  <a:schemeClr val="bg1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="" xmlns:a16="http://schemas.microsoft.com/office/drawing/2014/main" id="{00A129B6-615D-417E-A5FF-BF0A72E04226}"/>
                </a:ext>
              </a:extLst>
            </p:cNvPr>
            <p:cNvSpPr/>
            <p:nvPr/>
          </p:nvSpPr>
          <p:spPr>
            <a:xfrm>
              <a:off x="8486575" y="1225848"/>
              <a:ext cx="328615" cy="385342"/>
            </a:xfrm>
            <a:prstGeom prst="rect">
              <a:avLst/>
            </a:prstGeom>
            <a:solidFill>
              <a:schemeClr val="bg1">
                <a:alpha val="80000"/>
              </a:schemeClr>
            </a:solidFill>
            <a:ln w="6350" cap="flat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900"/>
                </a:spcBef>
              </a:pPr>
              <a:endParaRPr lang="en-US" sz="140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9" name="Oval 18">
              <a:extLst>
                <a:ext uri="{FF2B5EF4-FFF2-40B4-BE49-F238E27FC236}">
                  <a16:creationId xmlns="" xmlns:a16="http://schemas.microsoft.com/office/drawing/2014/main" id="{3E98A2CE-5146-4C5F-A545-6FDD7370DFB0}"/>
                </a:ext>
              </a:extLst>
            </p:cNvPr>
            <p:cNvSpPr/>
            <p:nvPr/>
          </p:nvSpPr>
          <p:spPr>
            <a:xfrm>
              <a:off x="7921579" y="1349312"/>
              <a:ext cx="212364" cy="212364"/>
            </a:xfrm>
            <a:prstGeom prst="ellipse">
              <a:avLst/>
            </a:prstGeom>
            <a:solidFill>
              <a:schemeClr val="bg2"/>
            </a:solidFill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ot="0" spcFirstLastPara="0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20" name="Arc 19">
              <a:extLst>
                <a:ext uri="{FF2B5EF4-FFF2-40B4-BE49-F238E27FC236}">
                  <a16:creationId xmlns="" xmlns:a16="http://schemas.microsoft.com/office/drawing/2014/main" id="{A0AB8420-2770-4899-AC43-A47624E481BC}"/>
                </a:ext>
              </a:extLst>
            </p:cNvPr>
            <p:cNvSpPr/>
            <p:nvPr/>
          </p:nvSpPr>
          <p:spPr bwMode="gray">
            <a:xfrm>
              <a:off x="7883769" y="1267966"/>
              <a:ext cx="283644" cy="247796"/>
            </a:xfrm>
            <a:prstGeom prst="arc">
              <a:avLst>
                <a:gd name="adj1" fmla="val 11178900"/>
                <a:gd name="adj2" fmla="val 21075396"/>
              </a:avLst>
            </a:prstGeom>
            <a:ln w="19050" cap="flat">
              <a:solidFill>
                <a:schemeClr val="bg2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100" dirty="0"/>
            </a:p>
          </p:txBody>
        </p:sp>
        <p:sp>
          <p:nvSpPr>
            <p:cNvPr id="21" name="Rectangle 20">
              <a:extLst>
                <a:ext uri="{FF2B5EF4-FFF2-40B4-BE49-F238E27FC236}">
                  <a16:creationId xmlns="" xmlns:a16="http://schemas.microsoft.com/office/drawing/2014/main" id="{33C5B095-13E5-455C-9204-B2BD9ABC7DCF}"/>
                </a:ext>
              </a:extLst>
            </p:cNvPr>
            <p:cNvSpPr/>
            <p:nvPr/>
          </p:nvSpPr>
          <p:spPr>
            <a:xfrm>
              <a:off x="7877395" y="1225848"/>
              <a:ext cx="328615" cy="385342"/>
            </a:xfrm>
            <a:prstGeom prst="rect">
              <a:avLst/>
            </a:prstGeom>
            <a:solidFill>
              <a:schemeClr val="bg1">
                <a:alpha val="80000"/>
              </a:schemeClr>
            </a:solidFill>
            <a:ln w="6350" cap="flat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900"/>
                </a:spcBef>
              </a:pPr>
              <a:endParaRPr lang="en-US" sz="140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2" name="Oval 21">
              <a:extLst>
                <a:ext uri="{FF2B5EF4-FFF2-40B4-BE49-F238E27FC236}">
                  <a16:creationId xmlns="" xmlns:a16="http://schemas.microsoft.com/office/drawing/2014/main" id="{22C1417D-C0DF-425F-B1EA-C0A7EC164858}"/>
                </a:ext>
              </a:extLst>
            </p:cNvPr>
            <p:cNvSpPr/>
            <p:nvPr/>
          </p:nvSpPr>
          <p:spPr>
            <a:xfrm>
              <a:off x="8225098" y="1244357"/>
              <a:ext cx="212364" cy="212364"/>
            </a:xfrm>
            <a:prstGeom prst="ellipse">
              <a:avLst/>
            </a:prstGeom>
            <a:solidFill>
              <a:schemeClr val="accent1"/>
            </a:solidFill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ot="0" spcFirstLastPara="0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23" name="Arc 22">
              <a:extLst>
                <a:ext uri="{FF2B5EF4-FFF2-40B4-BE49-F238E27FC236}">
                  <a16:creationId xmlns="" xmlns:a16="http://schemas.microsoft.com/office/drawing/2014/main" id="{6A0208D0-2202-4068-9629-F81575FE5B60}"/>
                </a:ext>
              </a:extLst>
            </p:cNvPr>
            <p:cNvSpPr/>
            <p:nvPr/>
          </p:nvSpPr>
          <p:spPr bwMode="gray">
            <a:xfrm flipV="1">
              <a:off x="8184095" y="1313981"/>
              <a:ext cx="283644" cy="247373"/>
            </a:xfrm>
            <a:prstGeom prst="arc">
              <a:avLst>
                <a:gd name="adj1" fmla="val 11178900"/>
                <a:gd name="adj2" fmla="val 21075396"/>
              </a:avLst>
            </a:prstGeom>
            <a:ln w="19050" cap="flat">
              <a:solidFill>
                <a:schemeClr val="accent1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100" dirty="0"/>
            </a:p>
          </p:txBody>
        </p:sp>
        <p:sp>
          <p:nvSpPr>
            <p:cNvPr id="24" name="Isosceles Triangle 23">
              <a:extLst>
                <a:ext uri="{FF2B5EF4-FFF2-40B4-BE49-F238E27FC236}">
                  <a16:creationId xmlns="" xmlns:a16="http://schemas.microsoft.com/office/drawing/2014/main" id="{401D8938-53A8-4EF6-9FC7-7B0105B2302E}"/>
                </a:ext>
              </a:extLst>
            </p:cNvPr>
            <p:cNvSpPr>
              <a:spLocks noChangeAspect="1"/>
            </p:cNvSpPr>
            <p:nvPr/>
          </p:nvSpPr>
          <p:spPr bwMode="gray">
            <a:xfrm rot="11672904" flipV="1">
              <a:off x="8432310" y="1418179"/>
              <a:ext cx="73611" cy="63349"/>
            </a:xfrm>
            <a:prstGeom prst="triangle">
              <a:avLst/>
            </a:prstGeom>
            <a:solidFill>
              <a:schemeClr val="accent1"/>
            </a:solidFill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050" dirty="0">
                <a:solidFill>
                  <a:schemeClr val="tx1"/>
                </a:solidFill>
              </a:endParaRPr>
            </a:p>
          </p:txBody>
        </p:sp>
        <p:sp>
          <p:nvSpPr>
            <p:cNvPr id="25" name="Oval 24">
              <a:extLst>
                <a:ext uri="{FF2B5EF4-FFF2-40B4-BE49-F238E27FC236}">
                  <a16:creationId xmlns="" xmlns:a16="http://schemas.microsoft.com/office/drawing/2014/main" id="{98170558-834B-4009-B86E-FFC6DBC68739}"/>
                </a:ext>
              </a:extLst>
            </p:cNvPr>
            <p:cNvSpPr/>
            <p:nvPr/>
          </p:nvSpPr>
          <p:spPr>
            <a:xfrm>
              <a:off x="8306154" y="1537095"/>
              <a:ext cx="50253" cy="50252"/>
            </a:xfrm>
            <a:prstGeom prst="ellipse">
              <a:avLst/>
            </a:prstGeom>
            <a:solidFill>
              <a:schemeClr val="accent1"/>
            </a:solidFill>
            <a:ln w="12700" cap="flat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 b="1" dirty="0">
                <a:solidFill>
                  <a:schemeClr val="bg1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</p:grpSp>
      <p:sp>
        <p:nvSpPr>
          <p:cNvPr id="28" name="Rectangle 27">
            <a:extLst>
              <a:ext uri="{FF2B5EF4-FFF2-40B4-BE49-F238E27FC236}">
                <a16:creationId xmlns="" xmlns:a16="http://schemas.microsoft.com/office/drawing/2014/main" id="{8CB181B4-F7F7-46DD-8436-013077DF9C04}"/>
              </a:ext>
            </a:extLst>
          </p:cNvPr>
          <p:cNvSpPr/>
          <p:nvPr/>
        </p:nvSpPr>
        <p:spPr>
          <a:xfrm>
            <a:off x="246381" y="1640823"/>
            <a:ext cx="8646794" cy="996090"/>
          </a:xfrm>
          <a:prstGeom prst="rect">
            <a:avLst/>
          </a:prstGeom>
          <a:noFill/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SzPct val="100000"/>
            </a:pPr>
            <a:endParaRPr lang="en-US" sz="12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26" name="Picture 25" descr="img.png">
            <a:extLst>
              <a:ext uri="{FF2B5EF4-FFF2-40B4-BE49-F238E27FC236}">
                <a16:creationId xmlns="" xmlns:a16="http://schemas.microsoft.com/office/drawing/2014/main" id="{26F3056E-52A7-4732-8636-42FA69905B58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4050" y="2058025"/>
            <a:ext cx="8255900" cy="46514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56356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2EF3A889-32FE-4568-B67D-5EAF257E0A4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38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="" xmlns:a16="http://schemas.microsoft.com/office/drawing/2014/main" id="{2EF3A889-32FE-4568-B67D-5EAF257E0A4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="" xmlns:a16="http://schemas.microsoft.com/office/drawing/2014/main" id="{DDF83BB7-08AB-4747-9FBF-2587A1B009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Objective</a:t>
            </a:r>
          </a:p>
        </p:txBody>
      </p:sp>
      <p:sp>
        <p:nvSpPr>
          <p:cNvPr id="9" name="Freeform: Shape 8">
            <a:extLst>
              <a:ext uri="{FF2B5EF4-FFF2-40B4-BE49-F238E27FC236}">
                <a16:creationId xmlns="" xmlns:a16="http://schemas.microsoft.com/office/drawing/2014/main" id="{759EC8EC-9DAD-4545-B9B1-A25366028C61}"/>
              </a:ext>
            </a:extLst>
          </p:cNvPr>
          <p:cNvSpPr/>
          <p:nvPr/>
        </p:nvSpPr>
        <p:spPr>
          <a:xfrm>
            <a:off x="2227278" y="1628775"/>
            <a:ext cx="2346311" cy="4733926"/>
          </a:xfrm>
          <a:custGeom>
            <a:avLst/>
            <a:gdLst/>
            <a:ahLst/>
            <a:cxnLst/>
            <a:rect l="0" t="0" r="0" b="0"/>
            <a:pathLst>
              <a:path w="2346311" h="4733926">
                <a:moveTo>
                  <a:pt x="0" y="966981"/>
                </a:moveTo>
                <a:lnTo>
                  <a:pt x="2346310" y="0"/>
                </a:lnTo>
                <a:lnTo>
                  <a:pt x="2346310" y="4733925"/>
                </a:lnTo>
                <a:lnTo>
                  <a:pt x="0" y="3743325"/>
                </a:lnTo>
                <a:close/>
              </a:path>
            </a:pathLst>
          </a:custGeom>
          <a:solidFill>
            <a:srgbClr val="EAF9FF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US" sz="1400" dirty="0" err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6" name="Google Shape;221;p27">
            <a:extLst>
              <a:ext uri="{FF2B5EF4-FFF2-40B4-BE49-F238E27FC236}">
                <a16:creationId xmlns="" xmlns:a16="http://schemas.microsoft.com/office/drawing/2014/main" id="{123386A6-81C9-4458-9785-819BB5CEEEA2}"/>
              </a:ext>
            </a:extLst>
          </p:cNvPr>
          <p:cNvPicPr preferRelativeResize="0"/>
          <p:nvPr/>
        </p:nvPicPr>
        <p:blipFill rotWithShape="1">
          <a:blip r:embed="rId6">
            <a:alphaModFix/>
          </a:blip>
          <a:srcRect l="29889" t="11741" r="19740" b="17865"/>
          <a:stretch/>
        </p:blipFill>
        <p:spPr>
          <a:xfrm>
            <a:off x="836028" y="2595756"/>
            <a:ext cx="2782500" cy="2782500"/>
          </a:xfrm>
          <a:prstGeom prst="ellipse">
            <a:avLst/>
          </a:prstGeom>
          <a:noFill/>
          <a:ln>
            <a:noFill/>
          </a:ln>
        </p:spPr>
      </p:pic>
      <p:sp>
        <p:nvSpPr>
          <p:cNvPr id="8" name="Rectangle 7">
            <a:extLst>
              <a:ext uri="{FF2B5EF4-FFF2-40B4-BE49-F238E27FC236}">
                <a16:creationId xmlns="" xmlns:a16="http://schemas.microsoft.com/office/drawing/2014/main" id="{977B9871-3E10-44EE-9296-A23E01AF9E1B}"/>
              </a:ext>
            </a:extLst>
          </p:cNvPr>
          <p:cNvSpPr/>
          <p:nvPr/>
        </p:nvSpPr>
        <p:spPr>
          <a:xfrm>
            <a:off x="4573588" y="1628775"/>
            <a:ext cx="4319587" cy="4735730"/>
          </a:xfrm>
          <a:prstGeom prst="rect">
            <a:avLst/>
          </a:prstGeom>
          <a:solidFill>
            <a:schemeClr val="accent1">
              <a:lumMod val="20000"/>
              <a:lumOff val="80000"/>
              <a:alpha val="30000"/>
            </a:schemeClr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900"/>
              </a:spcBef>
              <a:spcAft>
                <a:spcPts val="600"/>
              </a:spcAft>
            </a:pPr>
            <a:r>
              <a:rPr lang="en-US" sz="16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The objective of this project is to </a:t>
            </a:r>
            <a:r>
              <a:rPr lang="en-US" sz="1600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create a supervised machine learning model</a:t>
            </a:r>
            <a:r>
              <a:rPr lang="en-US" sz="16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that can </a:t>
            </a:r>
            <a:r>
              <a:rPr lang="en-US" sz="1600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predict passenger churn rate</a:t>
            </a:r>
            <a:r>
              <a:rPr lang="en-US" sz="16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and accordingly </a:t>
            </a:r>
            <a:r>
              <a:rPr lang="en-US" sz="1600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identify major features that affect overall passenger experience</a:t>
            </a:r>
            <a:br>
              <a:rPr lang="en-US" sz="1600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</a:br>
            <a:r>
              <a:rPr lang="en-US" sz="16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/>
            </a:r>
            <a:br>
              <a:rPr lang="en-US" sz="16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</a:br>
            <a:r>
              <a:rPr lang="en-US" sz="16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In turn, this </a:t>
            </a:r>
            <a:r>
              <a:rPr lang="en-US" sz="1600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allows airlines to target customer needs</a:t>
            </a:r>
            <a:r>
              <a:rPr lang="en-US" sz="16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and potentially </a:t>
            </a:r>
            <a:r>
              <a:rPr lang="en-US" sz="1600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increase market share </a:t>
            </a:r>
            <a:r>
              <a:rPr lang="en-US" sz="16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(revenues)</a:t>
            </a:r>
            <a:r>
              <a:rPr lang="en-US" sz="1600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6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and </a:t>
            </a:r>
            <a:r>
              <a:rPr lang="en-US" sz="1600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mitigate market challenges</a:t>
            </a:r>
          </a:p>
        </p:txBody>
      </p:sp>
      <p:sp>
        <p:nvSpPr>
          <p:cNvPr id="10" name="Google Shape;223;p27">
            <a:extLst>
              <a:ext uri="{FF2B5EF4-FFF2-40B4-BE49-F238E27FC236}">
                <a16:creationId xmlns="" xmlns:a16="http://schemas.microsoft.com/office/drawing/2014/main" id="{67478CFD-70D2-42F7-A563-D3D28C8BA460}"/>
              </a:ext>
            </a:extLst>
          </p:cNvPr>
          <p:cNvSpPr/>
          <p:nvPr/>
        </p:nvSpPr>
        <p:spPr>
          <a:xfrm>
            <a:off x="2466974" y="4441188"/>
            <a:ext cx="7001569" cy="2660219"/>
          </a:xfrm>
          <a:custGeom>
            <a:avLst/>
            <a:gdLst/>
            <a:ahLst/>
            <a:cxnLst/>
            <a:rect l="l" t="t" r="r" b="b"/>
            <a:pathLst>
              <a:path w="79612" h="28568" extrusionOk="0">
                <a:moveTo>
                  <a:pt x="74953" y="1"/>
                </a:moveTo>
                <a:cubicBezTo>
                  <a:pt x="72378" y="1"/>
                  <a:pt x="70280" y="2099"/>
                  <a:pt x="70294" y="4673"/>
                </a:cubicBezTo>
                <a:cubicBezTo>
                  <a:pt x="70280" y="4932"/>
                  <a:pt x="70308" y="5177"/>
                  <a:pt x="70348" y="5436"/>
                </a:cubicBezTo>
                <a:cubicBezTo>
                  <a:pt x="69953" y="5382"/>
                  <a:pt x="69558" y="5354"/>
                  <a:pt x="69163" y="5354"/>
                </a:cubicBezTo>
                <a:cubicBezTo>
                  <a:pt x="65758" y="5354"/>
                  <a:pt x="62679" y="7343"/>
                  <a:pt x="61276" y="10449"/>
                </a:cubicBezTo>
                <a:cubicBezTo>
                  <a:pt x="60717" y="10286"/>
                  <a:pt x="60145" y="10204"/>
                  <a:pt x="59573" y="10204"/>
                </a:cubicBezTo>
                <a:cubicBezTo>
                  <a:pt x="59028" y="10204"/>
                  <a:pt x="58497" y="10272"/>
                  <a:pt x="57979" y="10408"/>
                </a:cubicBezTo>
                <a:cubicBezTo>
                  <a:pt x="57993" y="7466"/>
                  <a:pt x="55799" y="4987"/>
                  <a:pt x="52898" y="4619"/>
                </a:cubicBezTo>
                <a:cubicBezTo>
                  <a:pt x="52650" y="4588"/>
                  <a:pt x="52404" y="4572"/>
                  <a:pt x="52161" y="4572"/>
                </a:cubicBezTo>
                <a:cubicBezTo>
                  <a:pt x="49532" y="4572"/>
                  <a:pt x="47183" y="6344"/>
                  <a:pt x="46522" y="8937"/>
                </a:cubicBezTo>
                <a:cubicBezTo>
                  <a:pt x="44288" y="9182"/>
                  <a:pt x="42544" y="10967"/>
                  <a:pt x="42367" y="13201"/>
                </a:cubicBezTo>
                <a:cubicBezTo>
                  <a:pt x="40598" y="10940"/>
                  <a:pt x="38068" y="9870"/>
                  <a:pt x="35560" y="9870"/>
                </a:cubicBezTo>
                <a:cubicBezTo>
                  <a:pt x="32160" y="9870"/>
                  <a:pt x="28801" y="11838"/>
                  <a:pt x="27437" y="15476"/>
                </a:cubicBezTo>
                <a:cubicBezTo>
                  <a:pt x="26536" y="14970"/>
                  <a:pt x="25541" y="14719"/>
                  <a:pt x="24549" y="14719"/>
                </a:cubicBezTo>
                <a:cubicBezTo>
                  <a:pt x="23350" y="14719"/>
                  <a:pt x="22157" y="15086"/>
                  <a:pt x="21143" y="15817"/>
                </a:cubicBezTo>
                <a:cubicBezTo>
                  <a:pt x="20121" y="13212"/>
                  <a:pt x="17619" y="11592"/>
                  <a:pt x="14945" y="11592"/>
                </a:cubicBezTo>
                <a:cubicBezTo>
                  <a:pt x="14304" y="11592"/>
                  <a:pt x="13653" y="11685"/>
                  <a:pt x="13010" y="11880"/>
                </a:cubicBezTo>
                <a:cubicBezTo>
                  <a:pt x="9700" y="12874"/>
                  <a:pt x="7698" y="16266"/>
                  <a:pt x="8433" y="19658"/>
                </a:cubicBezTo>
                <a:cubicBezTo>
                  <a:pt x="8202" y="19617"/>
                  <a:pt x="7970" y="19604"/>
                  <a:pt x="7738" y="19604"/>
                </a:cubicBezTo>
                <a:cubicBezTo>
                  <a:pt x="6308" y="19604"/>
                  <a:pt x="4973" y="20285"/>
                  <a:pt x="4128" y="21429"/>
                </a:cubicBezTo>
                <a:cubicBezTo>
                  <a:pt x="4019" y="21416"/>
                  <a:pt x="3897" y="21416"/>
                  <a:pt x="3788" y="21416"/>
                </a:cubicBezTo>
                <a:cubicBezTo>
                  <a:pt x="3754" y="21415"/>
                  <a:pt x="3719" y="21414"/>
                  <a:pt x="3685" y="21414"/>
                </a:cubicBezTo>
                <a:cubicBezTo>
                  <a:pt x="1836" y="21414"/>
                  <a:pt x="284" y="22853"/>
                  <a:pt x="137" y="24712"/>
                </a:cubicBezTo>
                <a:cubicBezTo>
                  <a:pt x="1" y="26606"/>
                  <a:pt x="1363" y="28281"/>
                  <a:pt x="3243" y="28527"/>
                </a:cubicBezTo>
                <a:lnTo>
                  <a:pt x="3243" y="28567"/>
                </a:lnTo>
                <a:lnTo>
                  <a:pt x="79612" y="28567"/>
                </a:lnTo>
                <a:lnTo>
                  <a:pt x="79612" y="5613"/>
                </a:lnTo>
                <a:lnTo>
                  <a:pt x="79517" y="5613"/>
                </a:lnTo>
                <a:cubicBezTo>
                  <a:pt x="79585" y="5300"/>
                  <a:pt x="79612" y="4987"/>
                  <a:pt x="79612" y="4673"/>
                </a:cubicBezTo>
                <a:cubicBezTo>
                  <a:pt x="79612" y="2099"/>
                  <a:pt x="77528" y="1"/>
                  <a:pt x="74953" y="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2048127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AA16B7AC-F676-4F67-8813-4F8F68AAD7D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086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="" xmlns:a16="http://schemas.microsoft.com/office/drawing/2014/main" id="{AA16B7AC-F676-4F67-8813-4F8F68AAD7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="" xmlns:a16="http://schemas.microsoft.com/office/drawing/2014/main" id="{260A3D96-399B-450E-B597-24C3AA9AE05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US" sz="240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="" xmlns:a16="http://schemas.microsoft.com/office/drawing/2014/main" id="{48D13E25-DCE9-4BCE-806B-429683B77FA6}"/>
              </a:ext>
            </a:extLst>
          </p:cNvPr>
          <p:cNvSpPr txBox="1"/>
          <p:nvPr/>
        </p:nvSpPr>
        <p:spPr>
          <a:xfrm>
            <a:off x="244474" y="1301507"/>
            <a:ext cx="6840220" cy="249299"/>
          </a:xfrm>
          <a:prstGeom prst="rect">
            <a:avLst/>
          </a:prstGeom>
          <a:noFill/>
          <a:ln w="6350" cap="flat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A5FFFF"/>
                </a:solidFill>
              </a14:hiddenFill>
            </a:ext>
          </a:extLst>
        </p:spPr>
        <p:txBody>
          <a:bodyPr vert="horz" wrap="square" lIns="365760" tIns="0" rIns="0" bIns="0" rtlCol="0" anchor="t" anchorCtr="0">
            <a:sp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2"/>
              </a:buClr>
            </a:pP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Feature Engineering</a:t>
            </a:r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7956AB31-F718-491D-AAC7-99EB166076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4507" y="493495"/>
            <a:ext cx="7604094" cy="338554"/>
          </a:xfrm>
        </p:spPr>
        <p:txBody>
          <a:bodyPr/>
          <a:lstStyle/>
          <a:p>
            <a:r>
              <a:rPr lang="en-US" b="1" dirty="0"/>
              <a:t>Framework</a:t>
            </a:r>
          </a:p>
        </p:txBody>
      </p:sp>
      <p:sp>
        <p:nvSpPr>
          <p:cNvPr id="5" name="Oval 4">
            <a:extLst>
              <a:ext uri="{FF2B5EF4-FFF2-40B4-BE49-F238E27FC236}">
                <a16:creationId xmlns="" xmlns:a16="http://schemas.microsoft.com/office/drawing/2014/main" id="{3D60A96E-A8F3-4D57-873D-4053E79B24CA}"/>
              </a:ext>
            </a:extLst>
          </p:cNvPr>
          <p:cNvSpPr/>
          <p:nvPr/>
        </p:nvSpPr>
        <p:spPr>
          <a:xfrm>
            <a:off x="246380" y="1273567"/>
            <a:ext cx="279400" cy="279400"/>
          </a:xfrm>
          <a:prstGeom prst="ellipse">
            <a:avLst/>
          </a:prstGeom>
          <a:solidFill>
            <a:schemeClr val="accent1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1600" b="1" dirty="0">
                <a:solidFill>
                  <a:schemeClr val="bg1"/>
                </a:solidFill>
                <a:latin typeface="Arial" panose="020B0604020202020204" pitchFamily="34" charset="0"/>
                <a:cs typeface="Arial" pitchFamily="34" charset="0"/>
              </a:rPr>
              <a:t>4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="" xmlns:a16="http://schemas.microsoft.com/office/drawing/2014/main" id="{0BBEB72A-2139-4645-915E-CEC28070B56D}"/>
              </a:ext>
            </a:extLst>
          </p:cNvPr>
          <p:cNvGrpSpPr/>
          <p:nvPr/>
        </p:nvGrpSpPr>
        <p:grpSpPr>
          <a:xfrm>
            <a:off x="7877395" y="1225848"/>
            <a:ext cx="937795" cy="385342"/>
            <a:chOff x="7877395" y="1225848"/>
            <a:chExt cx="937795" cy="385342"/>
          </a:xfrm>
        </p:grpSpPr>
        <p:sp>
          <p:nvSpPr>
            <p:cNvPr id="12" name="Isosceles Triangle 11">
              <a:extLst>
                <a:ext uri="{FF2B5EF4-FFF2-40B4-BE49-F238E27FC236}">
                  <a16:creationId xmlns="" xmlns:a16="http://schemas.microsoft.com/office/drawing/2014/main" id="{35B3CE62-F491-498C-8FB7-E66CFD69DB95}"/>
                </a:ext>
              </a:extLst>
            </p:cNvPr>
            <p:cNvSpPr>
              <a:spLocks noChangeAspect="1"/>
            </p:cNvSpPr>
            <p:nvPr/>
          </p:nvSpPr>
          <p:spPr bwMode="gray">
            <a:xfrm rot="9927096">
              <a:off x="8132907" y="1349645"/>
              <a:ext cx="73611" cy="63458"/>
            </a:xfrm>
            <a:prstGeom prst="triangle">
              <a:avLst/>
            </a:prstGeom>
            <a:solidFill>
              <a:schemeClr val="bg2"/>
            </a:solidFill>
            <a:ln w="9525">
              <a:solidFill>
                <a:srgbClr val="007F7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050" dirty="0">
                <a:solidFill>
                  <a:schemeClr val="tx1"/>
                </a:solidFill>
              </a:endParaRPr>
            </a:p>
          </p:txBody>
        </p:sp>
        <p:sp>
          <p:nvSpPr>
            <p:cNvPr id="13" name="Oval 12">
              <a:extLst>
                <a:ext uri="{FF2B5EF4-FFF2-40B4-BE49-F238E27FC236}">
                  <a16:creationId xmlns="" xmlns:a16="http://schemas.microsoft.com/office/drawing/2014/main" id="{D5057345-1014-4E3D-8249-CA3762D4EBD7}"/>
                </a:ext>
              </a:extLst>
            </p:cNvPr>
            <p:cNvSpPr/>
            <p:nvPr/>
          </p:nvSpPr>
          <p:spPr>
            <a:xfrm>
              <a:off x="8002635" y="1243852"/>
              <a:ext cx="50253" cy="50252"/>
            </a:xfrm>
            <a:prstGeom prst="ellipse">
              <a:avLst/>
            </a:prstGeom>
            <a:solidFill>
              <a:schemeClr val="bg2"/>
            </a:solidFill>
            <a:ln w="12700" cap="flat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 b="1" dirty="0">
                <a:solidFill>
                  <a:schemeClr val="bg1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14" name="Oval 13">
              <a:extLst>
                <a:ext uri="{FF2B5EF4-FFF2-40B4-BE49-F238E27FC236}">
                  <a16:creationId xmlns="" xmlns:a16="http://schemas.microsoft.com/office/drawing/2014/main" id="{63F9707F-DBB8-47E1-9D38-404826C77867}"/>
                </a:ext>
              </a:extLst>
            </p:cNvPr>
            <p:cNvSpPr/>
            <p:nvPr/>
          </p:nvSpPr>
          <p:spPr>
            <a:xfrm>
              <a:off x="8530035" y="1349312"/>
              <a:ext cx="212364" cy="212364"/>
            </a:xfrm>
            <a:prstGeom prst="ellipse">
              <a:avLst/>
            </a:prstGeom>
            <a:solidFill>
              <a:schemeClr val="accent5"/>
            </a:solidFill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ot="0" spcFirstLastPara="0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15" name="Arc 14">
              <a:extLst>
                <a:ext uri="{FF2B5EF4-FFF2-40B4-BE49-F238E27FC236}">
                  <a16:creationId xmlns="" xmlns:a16="http://schemas.microsoft.com/office/drawing/2014/main" id="{83A64A2A-0C53-4047-8B19-03F3FE3B04D9}"/>
                </a:ext>
              </a:extLst>
            </p:cNvPr>
            <p:cNvSpPr/>
            <p:nvPr/>
          </p:nvSpPr>
          <p:spPr bwMode="gray">
            <a:xfrm>
              <a:off x="8486575" y="1267966"/>
              <a:ext cx="283644" cy="247796"/>
            </a:xfrm>
            <a:prstGeom prst="arc">
              <a:avLst>
                <a:gd name="adj1" fmla="val 11178900"/>
                <a:gd name="adj2" fmla="val 21075396"/>
              </a:avLst>
            </a:prstGeom>
            <a:ln w="19050" cap="flat">
              <a:solidFill>
                <a:schemeClr val="accent5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100" dirty="0"/>
            </a:p>
          </p:txBody>
        </p:sp>
        <p:sp>
          <p:nvSpPr>
            <p:cNvPr id="16" name="Isosceles Triangle 15">
              <a:extLst>
                <a:ext uri="{FF2B5EF4-FFF2-40B4-BE49-F238E27FC236}">
                  <a16:creationId xmlns="" xmlns:a16="http://schemas.microsoft.com/office/drawing/2014/main" id="{AD34A29D-9581-4661-BAC6-DFB4DF1F5397}"/>
                </a:ext>
              </a:extLst>
            </p:cNvPr>
            <p:cNvSpPr>
              <a:spLocks noChangeAspect="1"/>
            </p:cNvSpPr>
            <p:nvPr/>
          </p:nvSpPr>
          <p:spPr bwMode="gray">
            <a:xfrm rot="9927096">
              <a:off x="8734789" y="1347929"/>
              <a:ext cx="73611" cy="63458"/>
            </a:xfrm>
            <a:prstGeom prst="triangle">
              <a:avLst/>
            </a:prstGeom>
            <a:solidFill>
              <a:schemeClr val="accent5"/>
            </a:solidFill>
            <a:ln w="952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050" dirty="0">
                <a:solidFill>
                  <a:schemeClr val="tx1"/>
                </a:solidFill>
              </a:endParaRPr>
            </a:p>
          </p:txBody>
        </p:sp>
        <p:sp>
          <p:nvSpPr>
            <p:cNvPr id="17" name="Oval 16">
              <a:extLst>
                <a:ext uri="{FF2B5EF4-FFF2-40B4-BE49-F238E27FC236}">
                  <a16:creationId xmlns="" xmlns:a16="http://schemas.microsoft.com/office/drawing/2014/main" id="{BFF74F25-EB5E-4527-8581-0E164F89C80F}"/>
                </a:ext>
              </a:extLst>
            </p:cNvPr>
            <p:cNvSpPr/>
            <p:nvPr/>
          </p:nvSpPr>
          <p:spPr>
            <a:xfrm>
              <a:off x="8611091" y="1243852"/>
              <a:ext cx="50253" cy="50252"/>
            </a:xfrm>
            <a:prstGeom prst="ellipse">
              <a:avLst/>
            </a:prstGeom>
            <a:solidFill>
              <a:schemeClr val="accent5"/>
            </a:solidFill>
            <a:ln w="12700" cap="flat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 b="1" dirty="0">
                <a:solidFill>
                  <a:schemeClr val="bg1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="" xmlns:a16="http://schemas.microsoft.com/office/drawing/2014/main" id="{00A129B6-615D-417E-A5FF-BF0A72E04226}"/>
                </a:ext>
              </a:extLst>
            </p:cNvPr>
            <p:cNvSpPr/>
            <p:nvPr/>
          </p:nvSpPr>
          <p:spPr>
            <a:xfrm>
              <a:off x="8486575" y="1225848"/>
              <a:ext cx="328615" cy="385342"/>
            </a:xfrm>
            <a:prstGeom prst="rect">
              <a:avLst/>
            </a:prstGeom>
            <a:solidFill>
              <a:schemeClr val="bg1">
                <a:alpha val="80000"/>
              </a:schemeClr>
            </a:solidFill>
            <a:ln w="6350" cap="flat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900"/>
                </a:spcBef>
              </a:pPr>
              <a:endParaRPr lang="en-US" sz="140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9" name="Oval 18">
              <a:extLst>
                <a:ext uri="{FF2B5EF4-FFF2-40B4-BE49-F238E27FC236}">
                  <a16:creationId xmlns="" xmlns:a16="http://schemas.microsoft.com/office/drawing/2014/main" id="{3E98A2CE-5146-4C5F-A545-6FDD7370DFB0}"/>
                </a:ext>
              </a:extLst>
            </p:cNvPr>
            <p:cNvSpPr/>
            <p:nvPr/>
          </p:nvSpPr>
          <p:spPr>
            <a:xfrm>
              <a:off x="7921579" y="1349312"/>
              <a:ext cx="212364" cy="212364"/>
            </a:xfrm>
            <a:prstGeom prst="ellipse">
              <a:avLst/>
            </a:prstGeom>
            <a:solidFill>
              <a:schemeClr val="bg2"/>
            </a:solidFill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ot="0" spcFirstLastPara="0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20" name="Arc 19">
              <a:extLst>
                <a:ext uri="{FF2B5EF4-FFF2-40B4-BE49-F238E27FC236}">
                  <a16:creationId xmlns="" xmlns:a16="http://schemas.microsoft.com/office/drawing/2014/main" id="{A0AB8420-2770-4899-AC43-A47624E481BC}"/>
                </a:ext>
              </a:extLst>
            </p:cNvPr>
            <p:cNvSpPr/>
            <p:nvPr/>
          </p:nvSpPr>
          <p:spPr bwMode="gray">
            <a:xfrm>
              <a:off x="7883769" y="1267966"/>
              <a:ext cx="283644" cy="247796"/>
            </a:xfrm>
            <a:prstGeom prst="arc">
              <a:avLst>
                <a:gd name="adj1" fmla="val 11178900"/>
                <a:gd name="adj2" fmla="val 21075396"/>
              </a:avLst>
            </a:prstGeom>
            <a:ln w="19050" cap="flat">
              <a:solidFill>
                <a:schemeClr val="bg2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100" dirty="0"/>
            </a:p>
          </p:txBody>
        </p:sp>
        <p:sp>
          <p:nvSpPr>
            <p:cNvPr id="21" name="Rectangle 20">
              <a:extLst>
                <a:ext uri="{FF2B5EF4-FFF2-40B4-BE49-F238E27FC236}">
                  <a16:creationId xmlns="" xmlns:a16="http://schemas.microsoft.com/office/drawing/2014/main" id="{33C5B095-13E5-455C-9204-B2BD9ABC7DCF}"/>
                </a:ext>
              </a:extLst>
            </p:cNvPr>
            <p:cNvSpPr/>
            <p:nvPr/>
          </p:nvSpPr>
          <p:spPr>
            <a:xfrm>
              <a:off x="7877395" y="1225848"/>
              <a:ext cx="328615" cy="385342"/>
            </a:xfrm>
            <a:prstGeom prst="rect">
              <a:avLst/>
            </a:prstGeom>
            <a:solidFill>
              <a:schemeClr val="bg1">
                <a:alpha val="80000"/>
              </a:schemeClr>
            </a:solidFill>
            <a:ln w="6350" cap="flat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900"/>
                </a:spcBef>
              </a:pPr>
              <a:endParaRPr lang="en-US" sz="140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2" name="Oval 21">
              <a:extLst>
                <a:ext uri="{FF2B5EF4-FFF2-40B4-BE49-F238E27FC236}">
                  <a16:creationId xmlns="" xmlns:a16="http://schemas.microsoft.com/office/drawing/2014/main" id="{22C1417D-C0DF-425F-B1EA-C0A7EC164858}"/>
                </a:ext>
              </a:extLst>
            </p:cNvPr>
            <p:cNvSpPr/>
            <p:nvPr/>
          </p:nvSpPr>
          <p:spPr>
            <a:xfrm>
              <a:off x="8225098" y="1244357"/>
              <a:ext cx="212364" cy="212364"/>
            </a:xfrm>
            <a:prstGeom prst="ellipse">
              <a:avLst/>
            </a:prstGeom>
            <a:solidFill>
              <a:schemeClr val="accent1"/>
            </a:solidFill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ot="0" spcFirstLastPara="0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23" name="Arc 22">
              <a:extLst>
                <a:ext uri="{FF2B5EF4-FFF2-40B4-BE49-F238E27FC236}">
                  <a16:creationId xmlns="" xmlns:a16="http://schemas.microsoft.com/office/drawing/2014/main" id="{6A0208D0-2202-4068-9629-F81575FE5B60}"/>
                </a:ext>
              </a:extLst>
            </p:cNvPr>
            <p:cNvSpPr/>
            <p:nvPr/>
          </p:nvSpPr>
          <p:spPr bwMode="gray">
            <a:xfrm flipV="1">
              <a:off x="8184095" y="1313981"/>
              <a:ext cx="283644" cy="247373"/>
            </a:xfrm>
            <a:prstGeom prst="arc">
              <a:avLst>
                <a:gd name="adj1" fmla="val 11178900"/>
                <a:gd name="adj2" fmla="val 21075396"/>
              </a:avLst>
            </a:prstGeom>
            <a:ln w="19050" cap="flat">
              <a:solidFill>
                <a:schemeClr val="accent1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100" dirty="0"/>
            </a:p>
          </p:txBody>
        </p:sp>
        <p:sp>
          <p:nvSpPr>
            <p:cNvPr id="24" name="Isosceles Triangle 23">
              <a:extLst>
                <a:ext uri="{FF2B5EF4-FFF2-40B4-BE49-F238E27FC236}">
                  <a16:creationId xmlns="" xmlns:a16="http://schemas.microsoft.com/office/drawing/2014/main" id="{401D8938-53A8-4EF6-9FC7-7B0105B2302E}"/>
                </a:ext>
              </a:extLst>
            </p:cNvPr>
            <p:cNvSpPr>
              <a:spLocks noChangeAspect="1"/>
            </p:cNvSpPr>
            <p:nvPr/>
          </p:nvSpPr>
          <p:spPr bwMode="gray">
            <a:xfrm rot="11672904" flipV="1">
              <a:off x="8432310" y="1418179"/>
              <a:ext cx="73611" cy="63349"/>
            </a:xfrm>
            <a:prstGeom prst="triangle">
              <a:avLst/>
            </a:prstGeom>
            <a:solidFill>
              <a:schemeClr val="accent1"/>
            </a:solidFill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050" dirty="0">
                <a:solidFill>
                  <a:schemeClr val="tx1"/>
                </a:solidFill>
              </a:endParaRPr>
            </a:p>
          </p:txBody>
        </p:sp>
        <p:sp>
          <p:nvSpPr>
            <p:cNvPr id="25" name="Oval 24">
              <a:extLst>
                <a:ext uri="{FF2B5EF4-FFF2-40B4-BE49-F238E27FC236}">
                  <a16:creationId xmlns="" xmlns:a16="http://schemas.microsoft.com/office/drawing/2014/main" id="{98170558-834B-4009-B86E-FFC6DBC68739}"/>
                </a:ext>
              </a:extLst>
            </p:cNvPr>
            <p:cNvSpPr/>
            <p:nvPr/>
          </p:nvSpPr>
          <p:spPr>
            <a:xfrm>
              <a:off x="8306154" y="1537095"/>
              <a:ext cx="50253" cy="50252"/>
            </a:xfrm>
            <a:prstGeom prst="ellipse">
              <a:avLst/>
            </a:prstGeom>
            <a:solidFill>
              <a:schemeClr val="accent1"/>
            </a:solidFill>
            <a:ln w="12700" cap="flat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 b="1" dirty="0">
                <a:solidFill>
                  <a:schemeClr val="bg1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</p:grpSp>
      <p:sp>
        <p:nvSpPr>
          <p:cNvPr id="28" name="Rectangle 27">
            <a:extLst>
              <a:ext uri="{FF2B5EF4-FFF2-40B4-BE49-F238E27FC236}">
                <a16:creationId xmlns="" xmlns:a16="http://schemas.microsoft.com/office/drawing/2014/main" id="{8CB181B4-F7F7-46DD-8436-013077DF9C04}"/>
              </a:ext>
            </a:extLst>
          </p:cNvPr>
          <p:cNvSpPr/>
          <p:nvPr/>
        </p:nvSpPr>
        <p:spPr>
          <a:xfrm>
            <a:off x="246381" y="1640823"/>
            <a:ext cx="8646794" cy="996090"/>
          </a:xfrm>
          <a:prstGeom prst="rect">
            <a:avLst/>
          </a:prstGeom>
          <a:noFill/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97212" indent="-97212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12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Comparing Correlation between Cluster and 2 selected Features (Check-in Service and Gate Location)</a:t>
            </a:r>
            <a:endParaRPr lang="en-US" sz="12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27" name="Picture 26" descr="img.png">
            <a:extLst>
              <a:ext uri="{FF2B5EF4-FFF2-40B4-BE49-F238E27FC236}">
                <a16:creationId xmlns="" xmlns:a16="http://schemas.microsoft.com/office/drawing/2014/main" id="{76C02CE9-35D3-429C-9847-9058B1D2EB97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58689" y="2952822"/>
            <a:ext cx="4317653" cy="2507857"/>
          </a:xfrm>
          <a:prstGeom prst="rect">
            <a:avLst/>
          </a:prstGeom>
        </p:spPr>
      </p:pic>
      <p:pic>
        <p:nvPicPr>
          <p:cNvPr id="29" name="Picture 28" descr="img.png">
            <a:extLst>
              <a:ext uri="{FF2B5EF4-FFF2-40B4-BE49-F238E27FC236}">
                <a16:creationId xmlns="" xmlns:a16="http://schemas.microsoft.com/office/drawing/2014/main" id="{537C07A1-847D-4F1F-A5F6-7E484C56FD0D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0950" y="2987630"/>
            <a:ext cx="4197792" cy="24382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049263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AA16B7AC-F676-4F67-8813-4F8F68AAD7D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110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="" xmlns:a16="http://schemas.microsoft.com/office/drawing/2014/main" id="{AA16B7AC-F676-4F67-8813-4F8F68AAD7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="" xmlns:a16="http://schemas.microsoft.com/office/drawing/2014/main" id="{260A3D96-399B-450E-B597-24C3AA9AE05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US" sz="240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="" xmlns:a16="http://schemas.microsoft.com/office/drawing/2014/main" id="{48D13E25-DCE9-4BCE-806B-429683B77FA6}"/>
              </a:ext>
            </a:extLst>
          </p:cNvPr>
          <p:cNvSpPr txBox="1"/>
          <p:nvPr/>
        </p:nvSpPr>
        <p:spPr>
          <a:xfrm>
            <a:off x="244474" y="1301507"/>
            <a:ext cx="6840220" cy="249299"/>
          </a:xfrm>
          <a:prstGeom prst="rect">
            <a:avLst/>
          </a:prstGeom>
          <a:noFill/>
          <a:ln w="6350" cap="flat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A5FFFF"/>
                </a:solidFill>
              </a14:hiddenFill>
            </a:ext>
          </a:extLst>
        </p:spPr>
        <p:txBody>
          <a:bodyPr vert="horz" wrap="square" lIns="365760" tIns="0" rIns="0" bIns="0" rtlCol="0" anchor="t" anchorCtr="0">
            <a:sp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2"/>
              </a:buClr>
            </a:pP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Feature Engineering</a:t>
            </a:r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7956AB31-F718-491D-AAC7-99EB166076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4507" y="493495"/>
            <a:ext cx="7604094" cy="338554"/>
          </a:xfrm>
        </p:spPr>
        <p:txBody>
          <a:bodyPr/>
          <a:lstStyle/>
          <a:p>
            <a:r>
              <a:rPr lang="en-US" b="1" dirty="0"/>
              <a:t>Framework</a:t>
            </a:r>
          </a:p>
        </p:txBody>
      </p:sp>
      <p:sp>
        <p:nvSpPr>
          <p:cNvPr id="5" name="Oval 4">
            <a:extLst>
              <a:ext uri="{FF2B5EF4-FFF2-40B4-BE49-F238E27FC236}">
                <a16:creationId xmlns="" xmlns:a16="http://schemas.microsoft.com/office/drawing/2014/main" id="{3D60A96E-A8F3-4D57-873D-4053E79B24CA}"/>
              </a:ext>
            </a:extLst>
          </p:cNvPr>
          <p:cNvSpPr/>
          <p:nvPr/>
        </p:nvSpPr>
        <p:spPr>
          <a:xfrm>
            <a:off x="246380" y="1273567"/>
            <a:ext cx="279400" cy="279400"/>
          </a:xfrm>
          <a:prstGeom prst="ellipse">
            <a:avLst/>
          </a:prstGeom>
          <a:solidFill>
            <a:schemeClr val="accent1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1600" b="1" dirty="0">
                <a:solidFill>
                  <a:schemeClr val="bg1"/>
                </a:solidFill>
                <a:latin typeface="Arial" panose="020B0604020202020204" pitchFamily="34" charset="0"/>
                <a:cs typeface="Arial" pitchFamily="34" charset="0"/>
              </a:rPr>
              <a:t>4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="" xmlns:a16="http://schemas.microsoft.com/office/drawing/2014/main" id="{0BBEB72A-2139-4645-915E-CEC28070B56D}"/>
              </a:ext>
            </a:extLst>
          </p:cNvPr>
          <p:cNvGrpSpPr/>
          <p:nvPr/>
        </p:nvGrpSpPr>
        <p:grpSpPr>
          <a:xfrm>
            <a:off x="7877395" y="1225848"/>
            <a:ext cx="937795" cy="385342"/>
            <a:chOff x="7877395" y="1225848"/>
            <a:chExt cx="937795" cy="385342"/>
          </a:xfrm>
        </p:grpSpPr>
        <p:sp>
          <p:nvSpPr>
            <p:cNvPr id="12" name="Isosceles Triangle 11">
              <a:extLst>
                <a:ext uri="{FF2B5EF4-FFF2-40B4-BE49-F238E27FC236}">
                  <a16:creationId xmlns="" xmlns:a16="http://schemas.microsoft.com/office/drawing/2014/main" id="{35B3CE62-F491-498C-8FB7-E66CFD69DB95}"/>
                </a:ext>
              </a:extLst>
            </p:cNvPr>
            <p:cNvSpPr>
              <a:spLocks noChangeAspect="1"/>
            </p:cNvSpPr>
            <p:nvPr/>
          </p:nvSpPr>
          <p:spPr bwMode="gray">
            <a:xfrm rot="9927096">
              <a:off x="8132907" y="1349645"/>
              <a:ext cx="73611" cy="63458"/>
            </a:xfrm>
            <a:prstGeom prst="triangle">
              <a:avLst/>
            </a:prstGeom>
            <a:solidFill>
              <a:schemeClr val="bg2"/>
            </a:solidFill>
            <a:ln w="9525">
              <a:solidFill>
                <a:srgbClr val="007F7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050" dirty="0">
                <a:solidFill>
                  <a:schemeClr val="tx1"/>
                </a:solidFill>
              </a:endParaRPr>
            </a:p>
          </p:txBody>
        </p:sp>
        <p:sp>
          <p:nvSpPr>
            <p:cNvPr id="13" name="Oval 12">
              <a:extLst>
                <a:ext uri="{FF2B5EF4-FFF2-40B4-BE49-F238E27FC236}">
                  <a16:creationId xmlns="" xmlns:a16="http://schemas.microsoft.com/office/drawing/2014/main" id="{D5057345-1014-4E3D-8249-CA3762D4EBD7}"/>
                </a:ext>
              </a:extLst>
            </p:cNvPr>
            <p:cNvSpPr/>
            <p:nvPr/>
          </p:nvSpPr>
          <p:spPr>
            <a:xfrm>
              <a:off x="8002635" y="1243852"/>
              <a:ext cx="50253" cy="50252"/>
            </a:xfrm>
            <a:prstGeom prst="ellipse">
              <a:avLst/>
            </a:prstGeom>
            <a:solidFill>
              <a:schemeClr val="bg2"/>
            </a:solidFill>
            <a:ln w="12700" cap="flat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 b="1" dirty="0">
                <a:solidFill>
                  <a:schemeClr val="bg1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14" name="Oval 13">
              <a:extLst>
                <a:ext uri="{FF2B5EF4-FFF2-40B4-BE49-F238E27FC236}">
                  <a16:creationId xmlns="" xmlns:a16="http://schemas.microsoft.com/office/drawing/2014/main" id="{63F9707F-DBB8-47E1-9D38-404826C77867}"/>
                </a:ext>
              </a:extLst>
            </p:cNvPr>
            <p:cNvSpPr/>
            <p:nvPr/>
          </p:nvSpPr>
          <p:spPr>
            <a:xfrm>
              <a:off x="8530035" y="1349312"/>
              <a:ext cx="212364" cy="212364"/>
            </a:xfrm>
            <a:prstGeom prst="ellipse">
              <a:avLst/>
            </a:prstGeom>
            <a:solidFill>
              <a:schemeClr val="accent5"/>
            </a:solidFill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ot="0" spcFirstLastPara="0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15" name="Arc 14">
              <a:extLst>
                <a:ext uri="{FF2B5EF4-FFF2-40B4-BE49-F238E27FC236}">
                  <a16:creationId xmlns="" xmlns:a16="http://schemas.microsoft.com/office/drawing/2014/main" id="{83A64A2A-0C53-4047-8B19-03F3FE3B04D9}"/>
                </a:ext>
              </a:extLst>
            </p:cNvPr>
            <p:cNvSpPr/>
            <p:nvPr/>
          </p:nvSpPr>
          <p:spPr bwMode="gray">
            <a:xfrm>
              <a:off x="8486575" y="1267966"/>
              <a:ext cx="283644" cy="247796"/>
            </a:xfrm>
            <a:prstGeom prst="arc">
              <a:avLst>
                <a:gd name="adj1" fmla="val 11178900"/>
                <a:gd name="adj2" fmla="val 21075396"/>
              </a:avLst>
            </a:prstGeom>
            <a:ln w="19050" cap="flat">
              <a:solidFill>
                <a:schemeClr val="accent5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100" dirty="0"/>
            </a:p>
          </p:txBody>
        </p:sp>
        <p:sp>
          <p:nvSpPr>
            <p:cNvPr id="16" name="Isosceles Triangle 15">
              <a:extLst>
                <a:ext uri="{FF2B5EF4-FFF2-40B4-BE49-F238E27FC236}">
                  <a16:creationId xmlns="" xmlns:a16="http://schemas.microsoft.com/office/drawing/2014/main" id="{AD34A29D-9581-4661-BAC6-DFB4DF1F5397}"/>
                </a:ext>
              </a:extLst>
            </p:cNvPr>
            <p:cNvSpPr>
              <a:spLocks noChangeAspect="1"/>
            </p:cNvSpPr>
            <p:nvPr/>
          </p:nvSpPr>
          <p:spPr bwMode="gray">
            <a:xfrm rot="9927096">
              <a:off x="8734789" y="1347929"/>
              <a:ext cx="73611" cy="63458"/>
            </a:xfrm>
            <a:prstGeom prst="triangle">
              <a:avLst/>
            </a:prstGeom>
            <a:solidFill>
              <a:schemeClr val="accent5"/>
            </a:solidFill>
            <a:ln w="952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050" dirty="0">
                <a:solidFill>
                  <a:schemeClr val="tx1"/>
                </a:solidFill>
              </a:endParaRPr>
            </a:p>
          </p:txBody>
        </p:sp>
        <p:sp>
          <p:nvSpPr>
            <p:cNvPr id="17" name="Oval 16">
              <a:extLst>
                <a:ext uri="{FF2B5EF4-FFF2-40B4-BE49-F238E27FC236}">
                  <a16:creationId xmlns="" xmlns:a16="http://schemas.microsoft.com/office/drawing/2014/main" id="{BFF74F25-EB5E-4527-8581-0E164F89C80F}"/>
                </a:ext>
              </a:extLst>
            </p:cNvPr>
            <p:cNvSpPr/>
            <p:nvPr/>
          </p:nvSpPr>
          <p:spPr>
            <a:xfrm>
              <a:off x="8611091" y="1243852"/>
              <a:ext cx="50253" cy="50252"/>
            </a:xfrm>
            <a:prstGeom prst="ellipse">
              <a:avLst/>
            </a:prstGeom>
            <a:solidFill>
              <a:schemeClr val="accent5"/>
            </a:solidFill>
            <a:ln w="12700" cap="flat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 b="1" dirty="0">
                <a:solidFill>
                  <a:schemeClr val="bg1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="" xmlns:a16="http://schemas.microsoft.com/office/drawing/2014/main" id="{00A129B6-615D-417E-A5FF-BF0A72E04226}"/>
                </a:ext>
              </a:extLst>
            </p:cNvPr>
            <p:cNvSpPr/>
            <p:nvPr/>
          </p:nvSpPr>
          <p:spPr>
            <a:xfrm>
              <a:off x="8486575" y="1225848"/>
              <a:ext cx="328615" cy="385342"/>
            </a:xfrm>
            <a:prstGeom prst="rect">
              <a:avLst/>
            </a:prstGeom>
            <a:solidFill>
              <a:schemeClr val="bg1">
                <a:alpha val="80000"/>
              </a:schemeClr>
            </a:solidFill>
            <a:ln w="6350" cap="flat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900"/>
                </a:spcBef>
              </a:pPr>
              <a:endParaRPr lang="en-US" sz="140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9" name="Oval 18">
              <a:extLst>
                <a:ext uri="{FF2B5EF4-FFF2-40B4-BE49-F238E27FC236}">
                  <a16:creationId xmlns="" xmlns:a16="http://schemas.microsoft.com/office/drawing/2014/main" id="{3E98A2CE-5146-4C5F-A545-6FDD7370DFB0}"/>
                </a:ext>
              </a:extLst>
            </p:cNvPr>
            <p:cNvSpPr/>
            <p:nvPr/>
          </p:nvSpPr>
          <p:spPr>
            <a:xfrm>
              <a:off x="7921579" y="1349312"/>
              <a:ext cx="212364" cy="212364"/>
            </a:xfrm>
            <a:prstGeom prst="ellipse">
              <a:avLst/>
            </a:prstGeom>
            <a:solidFill>
              <a:schemeClr val="bg2"/>
            </a:solidFill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ot="0" spcFirstLastPara="0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20" name="Arc 19">
              <a:extLst>
                <a:ext uri="{FF2B5EF4-FFF2-40B4-BE49-F238E27FC236}">
                  <a16:creationId xmlns="" xmlns:a16="http://schemas.microsoft.com/office/drawing/2014/main" id="{A0AB8420-2770-4899-AC43-A47624E481BC}"/>
                </a:ext>
              </a:extLst>
            </p:cNvPr>
            <p:cNvSpPr/>
            <p:nvPr/>
          </p:nvSpPr>
          <p:spPr bwMode="gray">
            <a:xfrm>
              <a:off x="7883769" y="1267966"/>
              <a:ext cx="283644" cy="247796"/>
            </a:xfrm>
            <a:prstGeom prst="arc">
              <a:avLst>
                <a:gd name="adj1" fmla="val 11178900"/>
                <a:gd name="adj2" fmla="val 21075396"/>
              </a:avLst>
            </a:prstGeom>
            <a:ln w="19050" cap="flat">
              <a:solidFill>
                <a:schemeClr val="bg2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100" dirty="0"/>
            </a:p>
          </p:txBody>
        </p:sp>
        <p:sp>
          <p:nvSpPr>
            <p:cNvPr id="21" name="Rectangle 20">
              <a:extLst>
                <a:ext uri="{FF2B5EF4-FFF2-40B4-BE49-F238E27FC236}">
                  <a16:creationId xmlns="" xmlns:a16="http://schemas.microsoft.com/office/drawing/2014/main" id="{33C5B095-13E5-455C-9204-B2BD9ABC7DCF}"/>
                </a:ext>
              </a:extLst>
            </p:cNvPr>
            <p:cNvSpPr/>
            <p:nvPr/>
          </p:nvSpPr>
          <p:spPr>
            <a:xfrm>
              <a:off x="7877395" y="1225848"/>
              <a:ext cx="328615" cy="385342"/>
            </a:xfrm>
            <a:prstGeom prst="rect">
              <a:avLst/>
            </a:prstGeom>
            <a:solidFill>
              <a:schemeClr val="bg1">
                <a:alpha val="80000"/>
              </a:schemeClr>
            </a:solidFill>
            <a:ln w="6350" cap="flat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900"/>
                </a:spcBef>
              </a:pPr>
              <a:endParaRPr lang="en-US" sz="140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2" name="Oval 21">
              <a:extLst>
                <a:ext uri="{FF2B5EF4-FFF2-40B4-BE49-F238E27FC236}">
                  <a16:creationId xmlns="" xmlns:a16="http://schemas.microsoft.com/office/drawing/2014/main" id="{22C1417D-C0DF-425F-B1EA-C0A7EC164858}"/>
                </a:ext>
              </a:extLst>
            </p:cNvPr>
            <p:cNvSpPr/>
            <p:nvPr/>
          </p:nvSpPr>
          <p:spPr>
            <a:xfrm>
              <a:off x="8225098" y="1244357"/>
              <a:ext cx="212364" cy="212364"/>
            </a:xfrm>
            <a:prstGeom prst="ellipse">
              <a:avLst/>
            </a:prstGeom>
            <a:solidFill>
              <a:schemeClr val="accent1"/>
            </a:solidFill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ot="0" spcFirstLastPara="0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23" name="Arc 22">
              <a:extLst>
                <a:ext uri="{FF2B5EF4-FFF2-40B4-BE49-F238E27FC236}">
                  <a16:creationId xmlns="" xmlns:a16="http://schemas.microsoft.com/office/drawing/2014/main" id="{6A0208D0-2202-4068-9629-F81575FE5B60}"/>
                </a:ext>
              </a:extLst>
            </p:cNvPr>
            <p:cNvSpPr/>
            <p:nvPr/>
          </p:nvSpPr>
          <p:spPr bwMode="gray">
            <a:xfrm flipV="1">
              <a:off x="8184095" y="1313981"/>
              <a:ext cx="283644" cy="247373"/>
            </a:xfrm>
            <a:prstGeom prst="arc">
              <a:avLst>
                <a:gd name="adj1" fmla="val 11178900"/>
                <a:gd name="adj2" fmla="val 21075396"/>
              </a:avLst>
            </a:prstGeom>
            <a:ln w="19050" cap="flat">
              <a:solidFill>
                <a:schemeClr val="accent1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100" dirty="0"/>
            </a:p>
          </p:txBody>
        </p:sp>
        <p:sp>
          <p:nvSpPr>
            <p:cNvPr id="24" name="Isosceles Triangle 23">
              <a:extLst>
                <a:ext uri="{FF2B5EF4-FFF2-40B4-BE49-F238E27FC236}">
                  <a16:creationId xmlns="" xmlns:a16="http://schemas.microsoft.com/office/drawing/2014/main" id="{401D8938-53A8-4EF6-9FC7-7B0105B2302E}"/>
                </a:ext>
              </a:extLst>
            </p:cNvPr>
            <p:cNvSpPr>
              <a:spLocks noChangeAspect="1"/>
            </p:cNvSpPr>
            <p:nvPr/>
          </p:nvSpPr>
          <p:spPr bwMode="gray">
            <a:xfrm rot="11672904" flipV="1">
              <a:off x="8432310" y="1418179"/>
              <a:ext cx="73611" cy="63349"/>
            </a:xfrm>
            <a:prstGeom prst="triangle">
              <a:avLst/>
            </a:prstGeom>
            <a:solidFill>
              <a:schemeClr val="accent1"/>
            </a:solidFill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050" dirty="0">
                <a:solidFill>
                  <a:schemeClr val="tx1"/>
                </a:solidFill>
              </a:endParaRPr>
            </a:p>
          </p:txBody>
        </p:sp>
        <p:sp>
          <p:nvSpPr>
            <p:cNvPr id="25" name="Oval 24">
              <a:extLst>
                <a:ext uri="{FF2B5EF4-FFF2-40B4-BE49-F238E27FC236}">
                  <a16:creationId xmlns="" xmlns:a16="http://schemas.microsoft.com/office/drawing/2014/main" id="{98170558-834B-4009-B86E-FFC6DBC68739}"/>
                </a:ext>
              </a:extLst>
            </p:cNvPr>
            <p:cNvSpPr/>
            <p:nvPr/>
          </p:nvSpPr>
          <p:spPr>
            <a:xfrm>
              <a:off x="8306154" y="1537095"/>
              <a:ext cx="50253" cy="50252"/>
            </a:xfrm>
            <a:prstGeom prst="ellipse">
              <a:avLst/>
            </a:prstGeom>
            <a:solidFill>
              <a:schemeClr val="accent1"/>
            </a:solidFill>
            <a:ln w="12700" cap="flat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 b="1" dirty="0">
                <a:solidFill>
                  <a:schemeClr val="bg1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</p:grpSp>
      <p:sp>
        <p:nvSpPr>
          <p:cNvPr id="28" name="Rectangle 27">
            <a:extLst>
              <a:ext uri="{FF2B5EF4-FFF2-40B4-BE49-F238E27FC236}">
                <a16:creationId xmlns="" xmlns:a16="http://schemas.microsoft.com/office/drawing/2014/main" id="{8CB181B4-F7F7-46DD-8436-013077DF9C04}"/>
              </a:ext>
            </a:extLst>
          </p:cNvPr>
          <p:cNvSpPr/>
          <p:nvPr/>
        </p:nvSpPr>
        <p:spPr>
          <a:xfrm>
            <a:off x="246381" y="1640823"/>
            <a:ext cx="8646794" cy="996090"/>
          </a:xfrm>
          <a:prstGeom prst="rect">
            <a:avLst/>
          </a:prstGeom>
          <a:noFill/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SzPct val="100000"/>
            </a:pPr>
            <a:endParaRPr lang="en-US" sz="12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26" name="Picture 25" descr="img.png">
            <a:extLst>
              <a:ext uri="{FF2B5EF4-FFF2-40B4-BE49-F238E27FC236}">
                <a16:creationId xmlns="" xmlns:a16="http://schemas.microsoft.com/office/drawing/2014/main" id="{E528B82D-188B-4DD1-9BEF-0ADECAD74462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8771" y="2232533"/>
            <a:ext cx="6547956" cy="41187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797465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AA16B7AC-F676-4F67-8813-4F8F68AAD7D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135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="" xmlns:a16="http://schemas.microsoft.com/office/drawing/2014/main" id="{AA16B7AC-F676-4F67-8813-4F8F68AAD7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="" xmlns:a16="http://schemas.microsoft.com/office/drawing/2014/main" id="{260A3D96-399B-450E-B597-24C3AA9AE05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US" sz="240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="" xmlns:a16="http://schemas.microsoft.com/office/drawing/2014/main" id="{48D13E25-DCE9-4BCE-806B-429683B77FA6}"/>
              </a:ext>
            </a:extLst>
          </p:cNvPr>
          <p:cNvSpPr txBox="1"/>
          <p:nvPr/>
        </p:nvSpPr>
        <p:spPr>
          <a:xfrm>
            <a:off x="244474" y="1301507"/>
            <a:ext cx="6840220" cy="249299"/>
          </a:xfrm>
          <a:prstGeom prst="rect">
            <a:avLst/>
          </a:prstGeom>
          <a:noFill/>
          <a:ln w="6350" cap="flat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A5FFFF"/>
                </a:solidFill>
              </a14:hiddenFill>
            </a:ext>
          </a:extLst>
        </p:spPr>
        <p:txBody>
          <a:bodyPr vert="horz" wrap="square" lIns="365760" tIns="0" rIns="0" bIns="0" rtlCol="0" anchor="t" anchorCtr="0">
            <a:sp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2"/>
              </a:buClr>
            </a:pP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Machine Learning Modeling and Evaluation</a:t>
            </a:r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7956AB31-F718-491D-AAC7-99EB166076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4507" y="493495"/>
            <a:ext cx="7604094" cy="338554"/>
          </a:xfrm>
        </p:spPr>
        <p:txBody>
          <a:bodyPr/>
          <a:lstStyle/>
          <a:p>
            <a:r>
              <a:rPr lang="en-US" b="1" dirty="0"/>
              <a:t>Framework</a:t>
            </a:r>
          </a:p>
        </p:txBody>
      </p:sp>
      <p:sp>
        <p:nvSpPr>
          <p:cNvPr id="5" name="Oval 4">
            <a:extLst>
              <a:ext uri="{FF2B5EF4-FFF2-40B4-BE49-F238E27FC236}">
                <a16:creationId xmlns="" xmlns:a16="http://schemas.microsoft.com/office/drawing/2014/main" id="{3D60A96E-A8F3-4D57-873D-4053E79B24CA}"/>
              </a:ext>
            </a:extLst>
          </p:cNvPr>
          <p:cNvSpPr/>
          <p:nvPr/>
        </p:nvSpPr>
        <p:spPr>
          <a:xfrm>
            <a:off x="246380" y="1273567"/>
            <a:ext cx="279400" cy="279400"/>
          </a:xfrm>
          <a:prstGeom prst="ellipse">
            <a:avLst/>
          </a:prstGeom>
          <a:solidFill>
            <a:schemeClr val="accent1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1600" b="1" dirty="0">
                <a:solidFill>
                  <a:schemeClr val="bg1"/>
                </a:solidFill>
                <a:latin typeface="Arial" panose="020B0604020202020204" pitchFamily="34" charset="0"/>
                <a:cs typeface="Arial" pitchFamily="34" charset="0"/>
              </a:rPr>
              <a:t>5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="" xmlns:a16="http://schemas.microsoft.com/office/drawing/2014/main" id="{0BBEB72A-2139-4645-915E-CEC28070B56D}"/>
              </a:ext>
            </a:extLst>
          </p:cNvPr>
          <p:cNvGrpSpPr/>
          <p:nvPr/>
        </p:nvGrpSpPr>
        <p:grpSpPr>
          <a:xfrm>
            <a:off x="7877395" y="1225848"/>
            <a:ext cx="937795" cy="385342"/>
            <a:chOff x="7877395" y="1225848"/>
            <a:chExt cx="937795" cy="385342"/>
          </a:xfrm>
        </p:grpSpPr>
        <p:sp>
          <p:nvSpPr>
            <p:cNvPr id="12" name="Isosceles Triangle 11">
              <a:extLst>
                <a:ext uri="{FF2B5EF4-FFF2-40B4-BE49-F238E27FC236}">
                  <a16:creationId xmlns="" xmlns:a16="http://schemas.microsoft.com/office/drawing/2014/main" id="{35B3CE62-F491-498C-8FB7-E66CFD69DB95}"/>
                </a:ext>
              </a:extLst>
            </p:cNvPr>
            <p:cNvSpPr>
              <a:spLocks noChangeAspect="1"/>
            </p:cNvSpPr>
            <p:nvPr/>
          </p:nvSpPr>
          <p:spPr bwMode="gray">
            <a:xfrm rot="9927096">
              <a:off x="8132907" y="1349645"/>
              <a:ext cx="73611" cy="63458"/>
            </a:xfrm>
            <a:prstGeom prst="triangle">
              <a:avLst/>
            </a:prstGeom>
            <a:solidFill>
              <a:schemeClr val="bg2"/>
            </a:solidFill>
            <a:ln w="9525">
              <a:solidFill>
                <a:srgbClr val="007F7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050" dirty="0">
                <a:solidFill>
                  <a:schemeClr val="tx1"/>
                </a:solidFill>
              </a:endParaRPr>
            </a:p>
          </p:txBody>
        </p:sp>
        <p:sp>
          <p:nvSpPr>
            <p:cNvPr id="13" name="Oval 12">
              <a:extLst>
                <a:ext uri="{FF2B5EF4-FFF2-40B4-BE49-F238E27FC236}">
                  <a16:creationId xmlns="" xmlns:a16="http://schemas.microsoft.com/office/drawing/2014/main" id="{D5057345-1014-4E3D-8249-CA3762D4EBD7}"/>
                </a:ext>
              </a:extLst>
            </p:cNvPr>
            <p:cNvSpPr/>
            <p:nvPr/>
          </p:nvSpPr>
          <p:spPr>
            <a:xfrm>
              <a:off x="8002635" y="1243852"/>
              <a:ext cx="50253" cy="50252"/>
            </a:xfrm>
            <a:prstGeom prst="ellipse">
              <a:avLst/>
            </a:prstGeom>
            <a:solidFill>
              <a:schemeClr val="bg2"/>
            </a:solidFill>
            <a:ln w="12700" cap="flat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 b="1" dirty="0">
                <a:solidFill>
                  <a:schemeClr val="bg1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14" name="Oval 13">
              <a:extLst>
                <a:ext uri="{FF2B5EF4-FFF2-40B4-BE49-F238E27FC236}">
                  <a16:creationId xmlns="" xmlns:a16="http://schemas.microsoft.com/office/drawing/2014/main" id="{63F9707F-DBB8-47E1-9D38-404826C77867}"/>
                </a:ext>
              </a:extLst>
            </p:cNvPr>
            <p:cNvSpPr/>
            <p:nvPr/>
          </p:nvSpPr>
          <p:spPr>
            <a:xfrm>
              <a:off x="8530035" y="1349312"/>
              <a:ext cx="212364" cy="212364"/>
            </a:xfrm>
            <a:prstGeom prst="ellipse">
              <a:avLst/>
            </a:prstGeom>
            <a:solidFill>
              <a:schemeClr val="accent5"/>
            </a:solidFill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ot="0" spcFirstLastPara="0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15" name="Arc 14">
              <a:extLst>
                <a:ext uri="{FF2B5EF4-FFF2-40B4-BE49-F238E27FC236}">
                  <a16:creationId xmlns="" xmlns:a16="http://schemas.microsoft.com/office/drawing/2014/main" id="{83A64A2A-0C53-4047-8B19-03F3FE3B04D9}"/>
                </a:ext>
              </a:extLst>
            </p:cNvPr>
            <p:cNvSpPr/>
            <p:nvPr/>
          </p:nvSpPr>
          <p:spPr bwMode="gray">
            <a:xfrm>
              <a:off x="8486575" y="1267966"/>
              <a:ext cx="283644" cy="247796"/>
            </a:xfrm>
            <a:prstGeom prst="arc">
              <a:avLst>
                <a:gd name="adj1" fmla="val 11178900"/>
                <a:gd name="adj2" fmla="val 21075396"/>
              </a:avLst>
            </a:prstGeom>
            <a:ln w="19050" cap="flat">
              <a:solidFill>
                <a:schemeClr val="accent5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100" dirty="0"/>
            </a:p>
          </p:txBody>
        </p:sp>
        <p:sp>
          <p:nvSpPr>
            <p:cNvPr id="16" name="Isosceles Triangle 15">
              <a:extLst>
                <a:ext uri="{FF2B5EF4-FFF2-40B4-BE49-F238E27FC236}">
                  <a16:creationId xmlns="" xmlns:a16="http://schemas.microsoft.com/office/drawing/2014/main" id="{AD34A29D-9581-4661-BAC6-DFB4DF1F5397}"/>
                </a:ext>
              </a:extLst>
            </p:cNvPr>
            <p:cNvSpPr>
              <a:spLocks noChangeAspect="1"/>
            </p:cNvSpPr>
            <p:nvPr/>
          </p:nvSpPr>
          <p:spPr bwMode="gray">
            <a:xfrm rot="9927096">
              <a:off x="8734789" y="1347929"/>
              <a:ext cx="73611" cy="63458"/>
            </a:xfrm>
            <a:prstGeom prst="triangle">
              <a:avLst/>
            </a:prstGeom>
            <a:solidFill>
              <a:schemeClr val="accent5"/>
            </a:solidFill>
            <a:ln w="952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050" dirty="0">
                <a:solidFill>
                  <a:schemeClr val="tx1"/>
                </a:solidFill>
              </a:endParaRPr>
            </a:p>
          </p:txBody>
        </p:sp>
        <p:sp>
          <p:nvSpPr>
            <p:cNvPr id="17" name="Oval 16">
              <a:extLst>
                <a:ext uri="{FF2B5EF4-FFF2-40B4-BE49-F238E27FC236}">
                  <a16:creationId xmlns="" xmlns:a16="http://schemas.microsoft.com/office/drawing/2014/main" id="{BFF74F25-EB5E-4527-8581-0E164F89C80F}"/>
                </a:ext>
              </a:extLst>
            </p:cNvPr>
            <p:cNvSpPr/>
            <p:nvPr/>
          </p:nvSpPr>
          <p:spPr>
            <a:xfrm>
              <a:off x="8611091" y="1243852"/>
              <a:ext cx="50253" cy="50252"/>
            </a:xfrm>
            <a:prstGeom prst="ellipse">
              <a:avLst/>
            </a:prstGeom>
            <a:solidFill>
              <a:schemeClr val="accent5"/>
            </a:solidFill>
            <a:ln w="12700" cap="flat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 b="1" dirty="0">
                <a:solidFill>
                  <a:schemeClr val="bg1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="" xmlns:a16="http://schemas.microsoft.com/office/drawing/2014/main" id="{00A129B6-615D-417E-A5FF-BF0A72E04226}"/>
                </a:ext>
              </a:extLst>
            </p:cNvPr>
            <p:cNvSpPr/>
            <p:nvPr/>
          </p:nvSpPr>
          <p:spPr>
            <a:xfrm>
              <a:off x="8486575" y="1225848"/>
              <a:ext cx="328615" cy="385342"/>
            </a:xfrm>
            <a:prstGeom prst="rect">
              <a:avLst/>
            </a:prstGeom>
            <a:solidFill>
              <a:schemeClr val="bg1">
                <a:alpha val="80000"/>
              </a:schemeClr>
            </a:solidFill>
            <a:ln w="6350" cap="flat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900"/>
                </a:spcBef>
              </a:pPr>
              <a:endParaRPr lang="en-US" sz="140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9" name="Oval 18">
              <a:extLst>
                <a:ext uri="{FF2B5EF4-FFF2-40B4-BE49-F238E27FC236}">
                  <a16:creationId xmlns="" xmlns:a16="http://schemas.microsoft.com/office/drawing/2014/main" id="{3E98A2CE-5146-4C5F-A545-6FDD7370DFB0}"/>
                </a:ext>
              </a:extLst>
            </p:cNvPr>
            <p:cNvSpPr/>
            <p:nvPr/>
          </p:nvSpPr>
          <p:spPr>
            <a:xfrm>
              <a:off x="7921579" y="1349312"/>
              <a:ext cx="212364" cy="212364"/>
            </a:xfrm>
            <a:prstGeom prst="ellipse">
              <a:avLst/>
            </a:prstGeom>
            <a:solidFill>
              <a:schemeClr val="bg2"/>
            </a:solidFill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ot="0" spcFirstLastPara="0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20" name="Arc 19">
              <a:extLst>
                <a:ext uri="{FF2B5EF4-FFF2-40B4-BE49-F238E27FC236}">
                  <a16:creationId xmlns="" xmlns:a16="http://schemas.microsoft.com/office/drawing/2014/main" id="{A0AB8420-2770-4899-AC43-A47624E481BC}"/>
                </a:ext>
              </a:extLst>
            </p:cNvPr>
            <p:cNvSpPr/>
            <p:nvPr/>
          </p:nvSpPr>
          <p:spPr bwMode="gray">
            <a:xfrm>
              <a:off x="7883769" y="1267966"/>
              <a:ext cx="283644" cy="247796"/>
            </a:xfrm>
            <a:prstGeom prst="arc">
              <a:avLst>
                <a:gd name="adj1" fmla="val 11178900"/>
                <a:gd name="adj2" fmla="val 21075396"/>
              </a:avLst>
            </a:prstGeom>
            <a:ln w="19050" cap="flat">
              <a:solidFill>
                <a:schemeClr val="bg2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100" dirty="0"/>
            </a:p>
          </p:txBody>
        </p:sp>
        <p:sp>
          <p:nvSpPr>
            <p:cNvPr id="21" name="Rectangle 20">
              <a:extLst>
                <a:ext uri="{FF2B5EF4-FFF2-40B4-BE49-F238E27FC236}">
                  <a16:creationId xmlns="" xmlns:a16="http://schemas.microsoft.com/office/drawing/2014/main" id="{33C5B095-13E5-455C-9204-B2BD9ABC7DCF}"/>
                </a:ext>
              </a:extLst>
            </p:cNvPr>
            <p:cNvSpPr/>
            <p:nvPr/>
          </p:nvSpPr>
          <p:spPr>
            <a:xfrm>
              <a:off x="7877395" y="1225848"/>
              <a:ext cx="328615" cy="385342"/>
            </a:xfrm>
            <a:prstGeom prst="rect">
              <a:avLst/>
            </a:prstGeom>
            <a:solidFill>
              <a:schemeClr val="bg1">
                <a:alpha val="80000"/>
              </a:schemeClr>
            </a:solidFill>
            <a:ln w="6350" cap="flat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900"/>
                </a:spcBef>
              </a:pPr>
              <a:endParaRPr lang="en-US" sz="140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2" name="Oval 21">
              <a:extLst>
                <a:ext uri="{FF2B5EF4-FFF2-40B4-BE49-F238E27FC236}">
                  <a16:creationId xmlns="" xmlns:a16="http://schemas.microsoft.com/office/drawing/2014/main" id="{22C1417D-C0DF-425F-B1EA-C0A7EC164858}"/>
                </a:ext>
              </a:extLst>
            </p:cNvPr>
            <p:cNvSpPr/>
            <p:nvPr/>
          </p:nvSpPr>
          <p:spPr>
            <a:xfrm>
              <a:off x="8225098" y="1244357"/>
              <a:ext cx="212364" cy="212364"/>
            </a:xfrm>
            <a:prstGeom prst="ellipse">
              <a:avLst/>
            </a:prstGeom>
            <a:solidFill>
              <a:schemeClr val="accent1"/>
            </a:solidFill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ot="0" spcFirstLastPara="0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23" name="Arc 22">
              <a:extLst>
                <a:ext uri="{FF2B5EF4-FFF2-40B4-BE49-F238E27FC236}">
                  <a16:creationId xmlns="" xmlns:a16="http://schemas.microsoft.com/office/drawing/2014/main" id="{6A0208D0-2202-4068-9629-F81575FE5B60}"/>
                </a:ext>
              </a:extLst>
            </p:cNvPr>
            <p:cNvSpPr/>
            <p:nvPr/>
          </p:nvSpPr>
          <p:spPr bwMode="gray">
            <a:xfrm flipV="1">
              <a:off x="8184095" y="1313981"/>
              <a:ext cx="283644" cy="247373"/>
            </a:xfrm>
            <a:prstGeom prst="arc">
              <a:avLst>
                <a:gd name="adj1" fmla="val 11178900"/>
                <a:gd name="adj2" fmla="val 21075396"/>
              </a:avLst>
            </a:prstGeom>
            <a:ln w="19050" cap="flat">
              <a:solidFill>
                <a:schemeClr val="accent1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100" dirty="0"/>
            </a:p>
          </p:txBody>
        </p:sp>
        <p:sp>
          <p:nvSpPr>
            <p:cNvPr id="24" name="Isosceles Triangle 23">
              <a:extLst>
                <a:ext uri="{FF2B5EF4-FFF2-40B4-BE49-F238E27FC236}">
                  <a16:creationId xmlns="" xmlns:a16="http://schemas.microsoft.com/office/drawing/2014/main" id="{401D8938-53A8-4EF6-9FC7-7B0105B2302E}"/>
                </a:ext>
              </a:extLst>
            </p:cNvPr>
            <p:cNvSpPr>
              <a:spLocks noChangeAspect="1"/>
            </p:cNvSpPr>
            <p:nvPr/>
          </p:nvSpPr>
          <p:spPr bwMode="gray">
            <a:xfrm rot="11672904" flipV="1">
              <a:off x="8432310" y="1418179"/>
              <a:ext cx="73611" cy="63349"/>
            </a:xfrm>
            <a:prstGeom prst="triangle">
              <a:avLst/>
            </a:prstGeom>
            <a:solidFill>
              <a:schemeClr val="accent1"/>
            </a:solidFill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050" dirty="0">
                <a:solidFill>
                  <a:schemeClr val="tx1"/>
                </a:solidFill>
              </a:endParaRPr>
            </a:p>
          </p:txBody>
        </p:sp>
        <p:sp>
          <p:nvSpPr>
            <p:cNvPr id="25" name="Oval 24">
              <a:extLst>
                <a:ext uri="{FF2B5EF4-FFF2-40B4-BE49-F238E27FC236}">
                  <a16:creationId xmlns="" xmlns:a16="http://schemas.microsoft.com/office/drawing/2014/main" id="{98170558-834B-4009-B86E-FFC6DBC68739}"/>
                </a:ext>
              </a:extLst>
            </p:cNvPr>
            <p:cNvSpPr/>
            <p:nvPr/>
          </p:nvSpPr>
          <p:spPr>
            <a:xfrm>
              <a:off x="8306154" y="1537095"/>
              <a:ext cx="50253" cy="50252"/>
            </a:xfrm>
            <a:prstGeom prst="ellipse">
              <a:avLst/>
            </a:prstGeom>
            <a:solidFill>
              <a:schemeClr val="accent1"/>
            </a:solidFill>
            <a:ln w="12700" cap="flat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 b="1" dirty="0">
                <a:solidFill>
                  <a:schemeClr val="bg1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</p:grpSp>
      <p:sp>
        <p:nvSpPr>
          <p:cNvPr id="28" name="Rectangle 27">
            <a:extLst>
              <a:ext uri="{FF2B5EF4-FFF2-40B4-BE49-F238E27FC236}">
                <a16:creationId xmlns="" xmlns:a16="http://schemas.microsoft.com/office/drawing/2014/main" id="{8CB181B4-F7F7-46DD-8436-013077DF9C04}"/>
              </a:ext>
            </a:extLst>
          </p:cNvPr>
          <p:cNvSpPr/>
          <p:nvPr/>
        </p:nvSpPr>
        <p:spPr>
          <a:xfrm>
            <a:off x="246381" y="1640822"/>
            <a:ext cx="8646794" cy="4020425"/>
          </a:xfrm>
          <a:prstGeom prst="rect">
            <a:avLst/>
          </a:prstGeom>
          <a:noFill/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97212" indent="-97212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Regression Predictive Modeling</a:t>
            </a:r>
            <a:r>
              <a:rPr lang="en-US" sz="12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:</a:t>
            </a:r>
          </a:p>
          <a:p>
            <a:pPr marL="554412" lvl="1" indent="-97212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12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Logistic Regression</a:t>
            </a:r>
            <a:endParaRPr lang="en-US" sz="12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  <a:p>
            <a:pPr marL="554412" lvl="1" indent="-97212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12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KNN</a:t>
            </a:r>
            <a:endParaRPr lang="en-US" sz="1200" b="1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  <a:p>
            <a:pPr marL="97212" indent="-97212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Classification Predictive Modeling</a:t>
            </a:r>
            <a:r>
              <a:rPr lang="en-US" sz="12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:</a:t>
            </a:r>
          </a:p>
          <a:p>
            <a:pPr marL="554412" lvl="1" indent="-97212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12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Random Forest</a:t>
            </a:r>
          </a:p>
          <a:p>
            <a:pPr marL="554412" lvl="1" indent="-97212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1200" b="1" dirty="0" err="1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XGBoost</a:t>
            </a:r>
            <a:endParaRPr lang="en-US" sz="1200" b="1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  <a:p>
            <a:pPr marL="97212" indent="-97212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12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Cross Validation: Ensure that our model is well trained with data without any over-fitting and under-fitting </a:t>
            </a:r>
          </a:p>
          <a:p>
            <a:pPr marL="97212" indent="-97212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12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Hyper</a:t>
            </a:r>
            <a:r>
              <a:rPr lang="en-US" sz="12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-Parameter </a:t>
            </a:r>
            <a:r>
              <a:rPr lang="en-US" sz="12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Tuning: To find the right/optimal hyper-parameters for the best model</a:t>
            </a:r>
            <a:endParaRPr lang="en-US" sz="12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6" name="Google Shape;306;p29"/>
          <p:cNvSpPr/>
          <p:nvPr/>
        </p:nvSpPr>
        <p:spPr>
          <a:xfrm rot="20521354">
            <a:off x="509069" y="4629272"/>
            <a:ext cx="7387628" cy="3296633"/>
          </a:xfrm>
          <a:custGeom>
            <a:avLst/>
            <a:gdLst/>
            <a:ahLst/>
            <a:cxnLst/>
            <a:rect l="l" t="t" r="r" b="b"/>
            <a:pathLst>
              <a:path w="81587" h="42899" extrusionOk="0">
                <a:moveTo>
                  <a:pt x="8491" y="0"/>
                </a:moveTo>
                <a:cubicBezTo>
                  <a:pt x="8327" y="0"/>
                  <a:pt x="8162" y="5"/>
                  <a:pt x="7997" y="14"/>
                </a:cubicBezTo>
                <a:cubicBezTo>
                  <a:pt x="3515" y="273"/>
                  <a:pt x="0" y="3992"/>
                  <a:pt x="0" y="8488"/>
                </a:cubicBezTo>
                <a:lnTo>
                  <a:pt x="0" y="42899"/>
                </a:lnTo>
                <a:lnTo>
                  <a:pt x="76396" y="42899"/>
                </a:lnTo>
                <a:cubicBezTo>
                  <a:pt x="79271" y="42899"/>
                  <a:pt x="81586" y="40569"/>
                  <a:pt x="81586" y="37708"/>
                </a:cubicBezTo>
                <a:cubicBezTo>
                  <a:pt x="81586" y="34834"/>
                  <a:pt x="79257" y="32518"/>
                  <a:pt x="76396" y="32518"/>
                </a:cubicBezTo>
                <a:cubicBezTo>
                  <a:pt x="76287" y="32518"/>
                  <a:pt x="76178" y="32518"/>
                  <a:pt x="76083" y="32532"/>
                </a:cubicBezTo>
                <a:cubicBezTo>
                  <a:pt x="75252" y="29753"/>
                  <a:pt x="72922" y="27696"/>
                  <a:pt x="70062" y="27219"/>
                </a:cubicBezTo>
                <a:cubicBezTo>
                  <a:pt x="69355" y="24721"/>
                  <a:pt x="67113" y="23227"/>
                  <a:pt x="64783" y="23227"/>
                </a:cubicBezTo>
                <a:cubicBezTo>
                  <a:pt x="63657" y="23227"/>
                  <a:pt x="62510" y="23576"/>
                  <a:pt x="61507" y="24331"/>
                </a:cubicBezTo>
                <a:cubicBezTo>
                  <a:pt x="61207" y="24127"/>
                  <a:pt x="60894" y="23950"/>
                  <a:pt x="60580" y="23786"/>
                </a:cubicBezTo>
                <a:cubicBezTo>
                  <a:pt x="59327" y="22424"/>
                  <a:pt x="57610" y="21606"/>
                  <a:pt x="55771" y="21484"/>
                </a:cubicBezTo>
                <a:cubicBezTo>
                  <a:pt x="55826" y="21171"/>
                  <a:pt x="55867" y="20857"/>
                  <a:pt x="55894" y="20544"/>
                </a:cubicBezTo>
                <a:cubicBezTo>
                  <a:pt x="55908" y="20380"/>
                  <a:pt x="55908" y="20217"/>
                  <a:pt x="55908" y="20053"/>
                </a:cubicBezTo>
                <a:cubicBezTo>
                  <a:pt x="55908" y="17111"/>
                  <a:pt x="54150" y="14441"/>
                  <a:pt x="51439" y="13283"/>
                </a:cubicBezTo>
                <a:cubicBezTo>
                  <a:pt x="50507" y="12883"/>
                  <a:pt x="49520" y="12687"/>
                  <a:pt x="48540" y="12687"/>
                </a:cubicBezTo>
                <a:cubicBezTo>
                  <a:pt x="46686" y="12687"/>
                  <a:pt x="44856" y="13386"/>
                  <a:pt x="43456" y="14713"/>
                </a:cubicBezTo>
                <a:cubicBezTo>
                  <a:pt x="43211" y="14945"/>
                  <a:pt x="42980" y="15204"/>
                  <a:pt x="42762" y="15476"/>
                </a:cubicBezTo>
                <a:cubicBezTo>
                  <a:pt x="42653" y="15299"/>
                  <a:pt x="42530" y="15122"/>
                  <a:pt x="42408" y="14959"/>
                </a:cubicBezTo>
                <a:cubicBezTo>
                  <a:pt x="41726" y="14059"/>
                  <a:pt x="40827" y="13365"/>
                  <a:pt x="39792" y="12942"/>
                </a:cubicBezTo>
                <a:cubicBezTo>
                  <a:pt x="39288" y="12724"/>
                  <a:pt x="38743" y="12588"/>
                  <a:pt x="38198" y="12520"/>
                </a:cubicBezTo>
                <a:cubicBezTo>
                  <a:pt x="37914" y="12481"/>
                  <a:pt x="37629" y="12461"/>
                  <a:pt x="37346" y="12461"/>
                </a:cubicBezTo>
                <a:cubicBezTo>
                  <a:pt x="36458" y="12461"/>
                  <a:pt x="35581" y="12653"/>
                  <a:pt x="34765" y="13024"/>
                </a:cubicBezTo>
                <a:cubicBezTo>
                  <a:pt x="34397" y="12697"/>
                  <a:pt x="33989" y="12398"/>
                  <a:pt x="33580" y="12139"/>
                </a:cubicBezTo>
                <a:cubicBezTo>
                  <a:pt x="33171" y="11907"/>
                  <a:pt x="32749" y="11689"/>
                  <a:pt x="32313" y="11512"/>
                </a:cubicBezTo>
                <a:cubicBezTo>
                  <a:pt x="31278" y="11099"/>
                  <a:pt x="30186" y="10895"/>
                  <a:pt x="29099" y="10895"/>
                </a:cubicBezTo>
                <a:cubicBezTo>
                  <a:pt x="27424" y="10895"/>
                  <a:pt x="25759" y="11379"/>
                  <a:pt x="24330" y="12329"/>
                </a:cubicBezTo>
                <a:cubicBezTo>
                  <a:pt x="24289" y="9428"/>
                  <a:pt x="21933" y="7085"/>
                  <a:pt x="19031" y="7085"/>
                </a:cubicBezTo>
                <a:cubicBezTo>
                  <a:pt x="18295" y="7085"/>
                  <a:pt x="17573" y="7235"/>
                  <a:pt x="16906" y="7521"/>
                </a:cubicBezTo>
                <a:cubicBezTo>
                  <a:pt x="16420" y="3217"/>
                  <a:pt x="12776" y="0"/>
                  <a:pt x="8491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>
              <a:solidFill>
                <a:schemeClr val="accent1"/>
              </a:solidFill>
            </a:endParaRPr>
          </a:p>
        </p:txBody>
      </p:sp>
      <p:grpSp>
        <p:nvGrpSpPr>
          <p:cNvPr id="27" name="Google Shape;314;p30"/>
          <p:cNvGrpSpPr/>
          <p:nvPr/>
        </p:nvGrpSpPr>
        <p:grpSpPr>
          <a:xfrm>
            <a:off x="3347864" y="4473116"/>
            <a:ext cx="1235488" cy="3178694"/>
            <a:chOff x="5313863" y="2647632"/>
            <a:chExt cx="1235488" cy="3178694"/>
          </a:xfrm>
        </p:grpSpPr>
        <p:sp>
          <p:nvSpPr>
            <p:cNvPr id="29" name="Google Shape;315;p30"/>
            <p:cNvSpPr/>
            <p:nvPr/>
          </p:nvSpPr>
          <p:spPr>
            <a:xfrm>
              <a:off x="5313863" y="2647632"/>
              <a:ext cx="1235488" cy="1113933"/>
            </a:xfrm>
            <a:custGeom>
              <a:avLst/>
              <a:gdLst/>
              <a:ahLst/>
              <a:cxnLst/>
              <a:rect l="l" t="t" r="r" b="b"/>
              <a:pathLst>
                <a:path w="15551" h="14021" extrusionOk="0">
                  <a:moveTo>
                    <a:pt x="7773" y="1"/>
                  </a:moveTo>
                  <a:cubicBezTo>
                    <a:pt x="7273" y="1"/>
                    <a:pt x="6861" y="401"/>
                    <a:pt x="6849" y="901"/>
                  </a:cubicBezTo>
                  <a:lnTo>
                    <a:pt x="6849" y="5502"/>
                  </a:lnTo>
                  <a:cubicBezTo>
                    <a:pt x="6614" y="5561"/>
                    <a:pt x="6231" y="5661"/>
                    <a:pt x="5760" y="5784"/>
                  </a:cubicBezTo>
                  <a:lnTo>
                    <a:pt x="5760" y="5419"/>
                  </a:lnTo>
                  <a:cubicBezTo>
                    <a:pt x="5749" y="5122"/>
                    <a:pt x="5524" y="4974"/>
                    <a:pt x="5299" y="4974"/>
                  </a:cubicBezTo>
                  <a:cubicBezTo>
                    <a:pt x="5074" y="4974"/>
                    <a:pt x="4848" y="5122"/>
                    <a:pt x="4837" y="5419"/>
                  </a:cubicBezTo>
                  <a:lnTo>
                    <a:pt x="4837" y="6025"/>
                  </a:lnTo>
                  <a:cubicBezTo>
                    <a:pt x="2760" y="6578"/>
                    <a:pt x="0" y="7349"/>
                    <a:pt x="0" y="7532"/>
                  </a:cubicBezTo>
                  <a:lnTo>
                    <a:pt x="0" y="8832"/>
                  </a:lnTo>
                  <a:cubicBezTo>
                    <a:pt x="0" y="8944"/>
                    <a:pt x="24" y="9161"/>
                    <a:pt x="465" y="9161"/>
                  </a:cubicBezTo>
                  <a:lnTo>
                    <a:pt x="4113" y="9161"/>
                  </a:lnTo>
                  <a:lnTo>
                    <a:pt x="4113" y="9597"/>
                  </a:lnTo>
                  <a:cubicBezTo>
                    <a:pt x="4113" y="9803"/>
                    <a:pt x="4267" y="9906"/>
                    <a:pt x="4422" y="9906"/>
                  </a:cubicBezTo>
                  <a:cubicBezTo>
                    <a:pt x="4576" y="9906"/>
                    <a:pt x="4731" y="9803"/>
                    <a:pt x="4731" y="9597"/>
                  </a:cubicBezTo>
                  <a:lnTo>
                    <a:pt x="4731" y="9161"/>
                  </a:lnTo>
                  <a:lnTo>
                    <a:pt x="6849" y="9161"/>
                  </a:lnTo>
                  <a:lnTo>
                    <a:pt x="6849" y="11715"/>
                  </a:lnTo>
                  <a:cubicBezTo>
                    <a:pt x="6084" y="11968"/>
                    <a:pt x="4495" y="12503"/>
                    <a:pt x="4290" y="12668"/>
                  </a:cubicBezTo>
                  <a:cubicBezTo>
                    <a:pt x="4166" y="12768"/>
                    <a:pt x="4401" y="13574"/>
                    <a:pt x="4525" y="13886"/>
                  </a:cubicBezTo>
                  <a:cubicBezTo>
                    <a:pt x="4560" y="13977"/>
                    <a:pt x="4616" y="14020"/>
                    <a:pt x="4708" y="14020"/>
                  </a:cubicBezTo>
                  <a:cubicBezTo>
                    <a:pt x="4770" y="14020"/>
                    <a:pt x="4849" y="14000"/>
                    <a:pt x="4948" y="13962"/>
                  </a:cubicBezTo>
                  <a:cubicBezTo>
                    <a:pt x="5131" y="13886"/>
                    <a:pt x="6696" y="13245"/>
                    <a:pt x="7414" y="12950"/>
                  </a:cubicBezTo>
                  <a:cubicBezTo>
                    <a:pt x="7455" y="12968"/>
                    <a:pt x="7496" y="12980"/>
                    <a:pt x="7537" y="12992"/>
                  </a:cubicBezTo>
                  <a:lnTo>
                    <a:pt x="7537" y="13468"/>
                  </a:lnTo>
                  <a:cubicBezTo>
                    <a:pt x="7537" y="13624"/>
                    <a:pt x="7655" y="13702"/>
                    <a:pt x="7773" y="13702"/>
                  </a:cubicBezTo>
                  <a:cubicBezTo>
                    <a:pt x="7890" y="13702"/>
                    <a:pt x="8008" y="13624"/>
                    <a:pt x="8008" y="13468"/>
                  </a:cubicBezTo>
                  <a:lnTo>
                    <a:pt x="8008" y="12992"/>
                  </a:lnTo>
                  <a:cubicBezTo>
                    <a:pt x="8049" y="12980"/>
                    <a:pt x="8096" y="12968"/>
                    <a:pt x="8137" y="12950"/>
                  </a:cubicBezTo>
                  <a:cubicBezTo>
                    <a:pt x="8849" y="13245"/>
                    <a:pt x="10414" y="13886"/>
                    <a:pt x="10603" y="13962"/>
                  </a:cubicBezTo>
                  <a:cubicBezTo>
                    <a:pt x="10700" y="14000"/>
                    <a:pt x="10777" y="14020"/>
                    <a:pt x="10839" y="14020"/>
                  </a:cubicBezTo>
                  <a:cubicBezTo>
                    <a:pt x="10929" y="14020"/>
                    <a:pt x="10985" y="13977"/>
                    <a:pt x="11020" y="13886"/>
                  </a:cubicBezTo>
                  <a:cubicBezTo>
                    <a:pt x="11144" y="13574"/>
                    <a:pt x="11385" y="12768"/>
                    <a:pt x="11256" y="12668"/>
                  </a:cubicBezTo>
                  <a:cubicBezTo>
                    <a:pt x="11050" y="12503"/>
                    <a:pt x="9461" y="11968"/>
                    <a:pt x="8696" y="11715"/>
                  </a:cubicBezTo>
                  <a:lnTo>
                    <a:pt x="8696" y="9161"/>
                  </a:lnTo>
                  <a:lnTo>
                    <a:pt x="10820" y="9161"/>
                  </a:lnTo>
                  <a:lnTo>
                    <a:pt x="10820" y="9597"/>
                  </a:lnTo>
                  <a:cubicBezTo>
                    <a:pt x="10820" y="9803"/>
                    <a:pt x="10973" y="9906"/>
                    <a:pt x="11126" y="9906"/>
                  </a:cubicBezTo>
                  <a:cubicBezTo>
                    <a:pt x="11279" y="9906"/>
                    <a:pt x="11432" y="9803"/>
                    <a:pt x="11432" y="9597"/>
                  </a:cubicBezTo>
                  <a:lnTo>
                    <a:pt x="11432" y="9161"/>
                  </a:lnTo>
                  <a:lnTo>
                    <a:pt x="15086" y="9161"/>
                  </a:lnTo>
                  <a:cubicBezTo>
                    <a:pt x="15521" y="9161"/>
                    <a:pt x="15551" y="8944"/>
                    <a:pt x="15551" y="8832"/>
                  </a:cubicBezTo>
                  <a:lnTo>
                    <a:pt x="15551" y="7532"/>
                  </a:lnTo>
                  <a:cubicBezTo>
                    <a:pt x="15545" y="7343"/>
                    <a:pt x="12780" y="6578"/>
                    <a:pt x="10709" y="6025"/>
                  </a:cubicBezTo>
                  <a:lnTo>
                    <a:pt x="10709" y="5419"/>
                  </a:lnTo>
                  <a:cubicBezTo>
                    <a:pt x="10697" y="5122"/>
                    <a:pt x="10472" y="4974"/>
                    <a:pt x="10247" y="4974"/>
                  </a:cubicBezTo>
                  <a:cubicBezTo>
                    <a:pt x="10022" y="4974"/>
                    <a:pt x="9797" y="5122"/>
                    <a:pt x="9785" y="5419"/>
                  </a:cubicBezTo>
                  <a:lnTo>
                    <a:pt x="9785" y="5784"/>
                  </a:lnTo>
                  <a:cubicBezTo>
                    <a:pt x="9314" y="5655"/>
                    <a:pt x="8932" y="5561"/>
                    <a:pt x="8696" y="5502"/>
                  </a:cubicBezTo>
                  <a:lnTo>
                    <a:pt x="8696" y="901"/>
                  </a:lnTo>
                  <a:cubicBezTo>
                    <a:pt x="8685" y="401"/>
                    <a:pt x="8273" y="1"/>
                    <a:pt x="7773" y="1"/>
                  </a:cubicBezTo>
                  <a:close/>
                </a:path>
              </a:pathLst>
            </a:custGeom>
            <a:solidFill>
              <a:srgbClr val="FF905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" name="Google Shape;316;p30"/>
            <p:cNvSpPr/>
            <p:nvPr/>
          </p:nvSpPr>
          <p:spPr>
            <a:xfrm>
              <a:off x="5916869" y="4008806"/>
              <a:ext cx="28601" cy="1817520"/>
            </a:xfrm>
            <a:custGeom>
              <a:avLst/>
              <a:gdLst/>
              <a:ahLst/>
              <a:cxnLst/>
              <a:rect l="l" t="t" r="r" b="b"/>
              <a:pathLst>
                <a:path w="360" h="22877" extrusionOk="0">
                  <a:moveTo>
                    <a:pt x="0" y="1"/>
                  </a:moveTo>
                  <a:lnTo>
                    <a:pt x="0" y="22876"/>
                  </a:lnTo>
                  <a:lnTo>
                    <a:pt x="359" y="22876"/>
                  </a:lnTo>
                  <a:lnTo>
                    <a:pt x="359" y="1"/>
                  </a:lnTo>
                  <a:close/>
                </a:path>
              </a:pathLst>
            </a:custGeom>
            <a:solidFill>
              <a:srgbClr val="FF905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212862435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AA16B7AC-F676-4F67-8813-4F8F68AAD7D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158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="" xmlns:a16="http://schemas.microsoft.com/office/drawing/2014/main" id="{AA16B7AC-F676-4F67-8813-4F8F68AAD7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="" xmlns:a16="http://schemas.microsoft.com/office/drawing/2014/main" id="{260A3D96-399B-450E-B597-24C3AA9AE05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US" sz="240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="" xmlns:a16="http://schemas.microsoft.com/office/drawing/2014/main" id="{48D13E25-DCE9-4BCE-806B-429683B77FA6}"/>
              </a:ext>
            </a:extLst>
          </p:cNvPr>
          <p:cNvSpPr txBox="1"/>
          <p:nvPr/>
        </p:nvSpPr>
        <p:spPr>
          <a:xfrm>
            <a:off x="244474" y="1301507"/>
            <a:ext cx="6840220" cy="249299"/>
          </a:xfrm>
          <a:prstGeom prst="rect">
            <a:avLst/>
          </a:prstGeom>
          <a:noFill/>
          <a:ln w="6350" cap="flat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A5FFFF"/>
                </a:solidFill>
              </a14:hiddenFill>
            </a:ext>
          </a:extLst>
        </p:spPr>
        <p:txBody>
          <a:bodyPr vert="horz" wrap="square" lIns="365760" tIns="0" rIns="0" bIns="0" rtlCol="0" anchor="t" anchorCtr="0">
            <a:sp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2"/>
              </a:buClr>
            </a:pP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Machine Learning Modeling and Evaluation</a:t>
            </a:r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7956AB31-F718-491D-AAC7-99EB166076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4507" y="493495"/>
            <a:ext cx="7604094" cy="338554"/>
          </a:xfrm>
        </p:spPr>
        <p:txBody>
          <a:bodyPr/>
          <a:lstStyle/>
          <a:p>
            <a:r>
              <a:rPr lang="en-US" b="1" dirty="0"/>
              <a:t>Framework</a:t>
            </a:r>
          </a:p>
        </p:txBody>
      </p:sp>
      <p:sp>
        <p:nvSpPr>
          <p:cNvPr id="5" name="Oval 4">
            <a:extLst>
              <a:ext uri="{FF2B5EF4-FFF2-40B4-BE49-F238E27FC236}">
                <a16:creationId xmlns="" xmlns:a16="http://schemas.microsoft.com/office/drawing/2014/main" id="{3D60A96E-A8F3-4D57-873D-4053E79B24CA}"/>
              </a:ext>
            </a:extLst>
          </p:cNvPr>
          <p:cNvSpPr/>
          <p:nvPr/>
        </p:nvSpPr>
        <p:spPr>
          <a:xfrm>
            <a:off x="246380" y="1273567"/>
            <a:ext cx="279400" cy="279400"/>
          </a:xfrm>
          <a:prstGeom prst="ellipse">
            <a:avLst/>
          </a:prstGeom>
          <a:solidFill>
            <a:schemeClr val="accent1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1600" b="1" dirty="0">
                <a:solidFill>
                  <a:schemeClr val="bg1"/>
                </a:solidFill>
                <a:latin typeface="Arial" panose="020B0604020202020204" pitchFamily="34" charset="0"/>
                <a:cs typeface="Arial" pitchFamily="34" charset="0"/>
              </a:rPr>
              <a:t>5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="" xmlns:a16="http://schemas.microsoft.com/office/drawing/2014/main" id="{0BBEB72A-2139-4645-915E-CEC28070B56D}"/>
              </a:ext>
            </a:extLst>
          </p:cNvPr>
          <p:cNvGrpSpPr/>
          <p:nvPr/>
        </p:nvGrpSpPr>
        <p:grpSpPr>
          <a:xfrm>
            <a:off x="7877395" y="1225848"/>
            <a:ext cx="937795" cy="385342"/>
            <a:chOff x="7877395" y="1225848"/>
            <a:chExt cx="937795" cy="385342"/>
          </a:xfrm>
        </p:grpSpPr>
        <p:sp>
          <p:nvSpPr>
            <p:cNvPr id="12" name="Isosceles Triangle 11">
              <a:extLst>
                <a:ext uri="{FF2B5EF4-FFF2-40B4-BE49-F238E27FC236}">
                  <a16:creationId xmlns="" xmlns:a16="http://schemas.microsoft.com/office/drawing/2014/main" id="{35B3CE62-F491-498C-8FB7-E66CFD69DB95}"/>
                </a:ext>
              </a:extLst>
            </p:cNvPr>
            <p:cNvSpPr>
              <a:spLocks noChangeAspect="1"/>
            </p:cNvSpPr>
            <p:nvPr/>
          </p:nvSpPr>
          <p:spPr bwMode="gray">
            <a:xfrm rot="9927096">
              <a:off x="8132907" y="1349645"/>
              <a:ext cx="73611" cy="63458"/>
            </a:xfrm>
            <a:prstGeom prst="triangle">
              <a:avLst/>
            </a:prstGeom>
            <a:solidFill>
              <a:schemeClr val="bg2"/>
            </a:solidFill>
            <a:ln w="9525">
              <a:solidFill>
                <a:srgbClr val="007F7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050" dirty="0">
                <a:solidFill>
                  <a:schemeClr val="tx1"/>
                </a:solidFill>
              </a:endParaRPr>
            </a:p>
          </p:txBody>
        </p:sp>
        <p:sp>
          <p:nvSpPr>
            <p:cNvPr id="13" name="Oval 12">
              <a:extLst>
                <a:ext uri="{FF2B5EF4-FFF2-40B4-BE49-F238E27FC236}">
                  <a16:creationId xmlns="" xmlns:a16="http://schemas.microsoft.com/office/drawing/2014/main" id="{D5057345-1014-4E3D-8249-CA3762D4EBD7}"/>
                </a:ext>
              </a:extLst>
            </p:cNvPr>
            <p:cNvSpPr/>
            <p:nvPr/>
          </p:nvSpPr>
          <p:spPr>
            <a:xfrm>
              <a:off x="8002635" y="1243852"/>
              <a:ext cx="50253" cy="50252"/>
            </a:xfrm>
            <a:prstGeom prst="ellipse">
              <a:avLst/>
            </a:prstGeom>
            <a:solidFill>
              <a:schemeClr val="bg2"/>
            </a:solidFill>
            <a:ln w="12700" cap="flat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 b="1" dirty="0">
                <a:solidFill>
                  <a:schemeClr val="bg1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14" name="Oval 13">
              <a:extLst>
                <a:ext uri="{FF2B5EF4-FFF2-40B4-BE49-F238E27FC236}">
                  <a16:creationId xmlns="" xmlns:a16="http://schemas.microsoft.com/office/drawing/2014/main" id="{63F9707F-DBB8-47E1-9D38-404826C77867}"/>
                </a:ext>
              </a:extLst>
            </p:cNvPr>
            <p:cNvSpPr/>
            <p:nvPr/>
          </p:nvSpPr>
          <p:spPr>
            <a:xfrm>
              <a:off x="8530035" y="1349312"/>
              <a:ext cx="212364" cy="212364"/>
            </a:xfrm>
            <a:prstGeom prst="ellipse">
              <a:avLst/>
            </a:prstGeom>
            <a:solidFill>
              <a:schemeClr val="accent5"/>
            </a:solidFill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ot="0" spcFirstLastPara="0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15" name="Arc 14">
              <a:extLst>
                <a:ext uri="{FF2B5EF4-FFF2-40B4-BE49-F238E27FC236}">
                  <a16:creationId xmlns="" xmlns:a16="http://schemas.microsoft.com/office/drawing/2014/main" id="{83A64A2A-0C53-4047-8B19-03F3FE3B04D9}"/>
                </a:ext>
              </a:extLst>
            </p:cNvPr>
            <p:cNvSpPr/>
            <p:nvPr/>
          </p:nvSpPr>
          <p:spPr bwMode="gray">
            <a:xfrm>
              <a:off x="8486575" y="1267966"/>
              <a:ext cx="283644" cy="247796"/>
            </a:xfrm>
            <a:prstGeom prst="arc">
              <a:avLst>
                <a:gd name="adj1" fmla="val 11178900"/>
                <a:gd name="adj2" fmla="val 21075396"/>
              </a:avLst>
            </a:prstGeom>
            <a:ln w="19050" cap="flat">
              <a:solidFill>
                <a:schemeClr val="accent5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100" dirty="0"/>
            </a:p>
          </p:txBody>
        </p:sp>
        <p:sp>
          <p:nvSpPr>
            <p:cNvPr id="16" name="Isosceles Triangle 15">
              <a:extLst>
                <a:ext uri="{FF2B5EF4-FFF2-40B4-BE49-F238E27FC236}">
                  <a16:creationId xmlns="" xmlns:a16="http://schemas.microsoft.com/office/drawing/2014/main" id="{AD34A29D-9581-4661-BAC6-DFB4DF1F5397}"/>
                </a:ext>
              </a:extLst>
            </p:cNvPr>
            <p:cNvSpPr>
              <a:spLocks noChangeAspect="1"/>
            </p:cNvSpPr>
            <p:nvPr/>
          </p:nvSpPr>
          <p:spPr bwMode="gray">
            <a:xfrm rot="9927096">
              <a:off x="8734789" y="1347929"/>
              <a:ext cx="73611" cy="63458"/>
            </a:xfrm>
            <a:prstGeom prst="triangle">
              <a:avLst/>
            </a:prstGeom>
            <a:solidFill>
              <a:schemeClr val="accent5"/>
            </a:solidFill>
            <a:ln w="952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050" dirty="0">
                <a:solidFill>
                  <a:schemeClr val="tx1"/>
                </a:solidFill>
              </a:endParaRPr>
            </a:p>
          </p:txBody>
        </p:sp>
        <p:sp>
          <p:nvSpPr>
            <p:cNvPr id="17" name="Oval 16">
              <a:extLst>
                <a:ext uri="{FF2B5EF4-FFF2-40B4-BE49-F238E27FC236}">
                  <a16:creationId xmlns="" xmlns:a16="http://schemas.microsoft.com/office/drawing/2014/main" id="{BFF74F25-EB5E-4527-8581-0E164F89C80F}"/>
                </a:ext>
              </a:extLst>
            </p:cNvPr>
            <p:cNvSpPr/>
            <p:nvPr/>
          </p:nvSpPr>
          <p:spPr>
            <a:xfrm>
              <a:off x="8611091" y="1243852"/>
              <a:ext cx="50253" cy="50252"/>
            </a:xfrm>
            <a:prstGeom prst="ellipse">
              <a:avLst/>
            </a:prstGeom>
            <a:solidFill>
              <a:schemeClr val="accent5"/>
            </a:solidFill>
            <a:ln w="12700" cap="flat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 b="1" dirty="0">
                <a:solidFill>
                  <a:schemeClr val="bg1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="" xmlns:a16="http://schemas.microsoft.com/office/drawing/2014/main" id="{00A129B6-615D-417E-A5FF-BF0A72E04226}"/>
                </a:ext>
              </a:extLst>
            </p:cNvPr>
            <p:cNvSpPr/>
            <p:nvPr/>
          </p:nvSpPr>
          <p:spPr>
            <a:xfrm>
              <a:off x="8486575" y="1225848"/>
              <a:ext cx="328615" cy="385342"/>
            </a:xfrm>
            <a:prstGeom prst="rect">
              <a:avLst/>
            </a:prstGeom>
            <a:solidFill>
              <a:schemeClr val="bg1">
                <a:alpha val="80000"/>
              </a:schemeClr>
            </a:solidFill>
            <a:ln w="6350" cap="flat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900"/>
                </a:spcBef>
              </a:pPr>
              <a:endParaRPr lang="en-US" sz="140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9" name="Oval 18">
              <a:extLst>
                <a:ext uri="{FF2B5EF4-FFF2-40B4-BE49-F238E27FC236}">
                  <a16:creationId xmlns="" xmlns:a16="http://schemas.microsoft.com/office/drawing/2014/main" id="{3E98A2CE-5146-4C5F-A545-6FDD7370DFB0}"/>
                </a:ext>
              </a:extLst>
            </p:cNvPr>
            <p:cNvSpPr/>
            <p:nvPr/>
          </p:nvSpPr>
          <p:spPr>
            <a:xfrm>
              <a:off x="7921579" y="1349312"/>
              <a:ext cx="212364" cy="212364"/>
            </a:xfrm>
            <a:prstGeom prst="ellipse">
              <a:avLst/>
            </a:prstGeom>
            <a:solidFill>
              <a:schemeClr val="bg2"/>
            </a:solidFill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ot="0" spcFirstLastPara="0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20" name="Arc 19">
              <a:extLst>
                <a:ext uri="{FF2B5EF4-FFF2-40B4-BE49-F238E27FC236}">
                  <a16:creationId xmlns="" xmlns:a16="http://schemas.microsoft.com/office/drawing/2014/main" id="{A0AB8420-2770-4899-AC43-A47624E481BC}"/>
                </a:ext>
              </a:extLst>
            </p:cNvPr>
            <p:cNvSpPr/>
            <p:nvPr/>
          </p:nvSpPr>
          <p:spPr bwMode="gray">
            <a:xfrm>
              <a:off x="7883769" y="1267966"/>
              <a:ext cx="283644" cy="247796"/>
            </a:xfrm>
            <a:prstGeom prst="arc">
              <a:avLst>
                <a:gd name="adj1" fmla="val 11178900"/>
                <a:gd name="adj2" fmla="val 21075396"/>
              </a:avLst>
            </a:prstGeom>
            <a:ln w="19050" cap="flat">
              <a:solidFill>
                <a:schemeClr val="bg2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100" dirty="0"/>
            </a:p>
          </p:txBody>
        </p:sp>
        <p:sp>
          <p:nvSpPr>
            <p:cNvPr id="21" name="Rectangle 20">
              <a:extLst>
                <a:ext uri="{FF2B5EF4-FFF2-40B4-BE49-F238E27FC236}">
                  <a16:creationId xmlns="" xmlns:a16="http://schemas.microsoft.com/office/drawing/2014/main" id="{33C5B095-13E5-455C-9204-B2BD9ABC7DCF}"/>
                </a:ext>
              </a:extLst>
            </p:cNvPr>
            <p:cNvSpPr/>
            <p:nvPr/>
          </p:nvSpPr>
          <p:spPr>
            <a:xfrm>
              <a:off x="7877395" y="1225848"/>
              <a:ext cx="328615" cy="385342"/>
            </a:xfrm>
            <a:prstGeom prst="rect">
              <a:avLst/>
            </a:prstGeom>
            <a:solidFill>
              <a:schemeClr val="bg1">
                <a:alpha val="80000"/>
              </a:schemeClr>
            </a:solidFill>
            <a:ln w="6350" cap="flat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900"/>
                </a:spcBef>
              </a:pPr>
              <a:endParaRPr lang="en-US" sz="140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2" name="Oval 21">
              <a:extLst>
                <a:ext uri="{FF2B5EF4-FFF2-40B4-BE49-F238E27FC236}">
                  <a16:creationId xmlns="" xmlns:a16="http://schemas.microsoft.com/office/drawing/2014/main" id="{22C1417D-C0DF-425F-B1EA-C0A7EC164858}"/>
                </a:ext>
              </a:extLst>
            </p:cNvPr>
            <p:cNvSpPr/>
            <p:nvPr/>
          </p:nvSpPr>
          <p:spPr>
            <a:xfrm>
              <a:off x="8225098" y="1244357"/>
              <a:ext cx="212364" cy="212364"/>
            </a:xfrm>
            <a:prstGeom prst="ellipse">
              <a:avLst/>
            </a:prstGeom>
            <a:solidFill>
              <a:schemeClr val="accent1"/>
            </a:solidFill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ot="0" spcFirstLastPara="0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23" name="Arc 22">
              <a:extLst>
                <a:ext uri="{FF2B5EF4-FFF2-40B4-BE49-F238E27FC236}">
                  <a16:creationId xmlns="" xmlns:a16="http://schemas.microsoft.com/office/drawing/2014/main" id="{6A0208D0-2202-4068-9629-F81575FE5B60}"/>
                </a:ext>
              </a:extLst>
            </p:cNvPr>
            <p:cNvSpPr/>
            <p:nvPr/>
          </p:nvSpPr>
          <p:spPr bwMode="gray">
            <a:xfrm flipV="1">
              <a:off x="8184095" y="1313981"/>
              <a:ext cx="283644" cy="247373"/>
            </a:xfrm>
            <a:prstGeom prst="arc">
              <a:avLst>
                <a:gd name="adj1" fmla="val 11178900"/>
                <a:gd name="adj2" fmla="val 21075396"/>
              </a:avLst>
            </a:prstGeom>
            <a:ln w="19050" cap="flat">
              <a:solidFill>
                <a:schemeClr val="accent1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100" dirty="0"/>
            </a:p>
          </p:txBody>
        </p:sp>
        <p:sp>
          <p:nvSpPr>
            <p:cNvPr id="24" name="Isosceles Triangle 23">
              <a:extLst>
                <a:ext uri="{FF2B5EF4-FFF2-40B4-BE49-F238E27FC236}">
                  <a16:creationId xmlns="" xmlns:a16="http://schemas.microsoft.com/office/drawing/2014/main" id="{401D8938-53A8-4EF6-9FC7-7B0105B2302E}"/>
                </a:ext>
              </a:extLst>
            </p:cNvPr>
            <p:cNvSpPr>
              <a:spLocks noChangeAspect="1"/>
            </p:cNvSpPr>
            <p:nvPr/>
          </p:nvSpPr>
          <p:spPr bwMode="gray">
            <a:xfrm rot="11672904" flipV="1">
              <a:off x="8432310" y="1418179"/>
              <a:ext cx="73611" cy="63349"/>
            </a:xfrm>
            <a:prstGeom prst="triangle">
              <a:avLst/>
            </a:prstGeom>
            <a:solidFill>
              <a:schemeClr val="accent1"/>
            </a:solidFill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050" dirty="0">
                <a:solidFill>
                  <a:schemeClr val="tx1"/>
                </a:solidFill>
              </a:endParaRPr>
            </a:p>
          </p:txBody>
        </p:sp>
        <p:sp>
          <p:nvSpPr>
            <p:cNvPr id="25" name="Oval 24">
              <a:extLst>
                <a:ext uri="{FF2B5EF4-FFF2-40B4-BE49-F238E27FC236}">
                  <a16:creationId xmlns="" xmlns:a16="http://schemas.microsoft.com/office/drawing/2014/main" id="{98170558-834B-4009-B86E-FFC6DBC68739}"/>
                </a:ext>
              </a:extLst>
            </p:cNvPr>
            <p:cNvSpPr/>
            <p:nvPr/>
          </p:nvSpPr>
          <p:spPr>
            <a:xfrm>
              <a:off x="8306154" y="1537095"/>
              <a:ext cx="50253" cy="50252"/>
            </a:xfrm>
            <a:prstGeom prst="ellipse">
              <a:avLst/>
            </a:prstGeom>
            <a:solidFill>
              <a:schemeClr val="accent1"/>
            </a:solidFill>
            <a:ln w="12700" cap="flat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 b="1" dirty="0">
                <a:solidFill>
                  <a:schemeClr val="bg1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</p:grpSp>
      <p:sp>
        <p:nvSpPr>
          <p:cNvPr id="28" name="Rectangle 27">
            <a:extLst>
              <a:ext uri="{FF2B5EF4-FFF2-40B4-BE49-F238E27FC236}">
                <a16:creationId xmlns="" xmlns:a16="http://schemas.microsoft.com/office/drawing/2014/main" id="{8CB181B4-F7F7-46DD-8436-013077DF9C04}"/>
              </a:ext>
            </a:extLst>
          </p:cNvPr>
          <p:cNvSpPr/>
          <p:nvPr/>
        </p:nvSpPr>
        <p:spPr>
          <a:xfrm>
            <a:off x="246381" y="1640823"/>
            <a:ext cx="8646794" cy="996090"/>
          </a:xfrm>
          <a:prstGeom prst="rect">
            <a:avLst/>
          </a:prstGeom>
          <a:noFill/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97212" indent="-97212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KNN</a:t>
            </a:r>
          </a:p>
        </p:txBody>
      </p:sp>
      <p:pic>
        <p:nvPicPr>
          <p:cNvPr id="26" name="Picture 25" descr="Screen Shot 2020-05-21 at 6.49.00 PM (2).png">
            <a:extLst>
              <a:ext uri="{FF2B5EF4-FFF2-40B4-BE49-F238E27FC236}">
                <a16:creationId xmlns="" xmlns:a16="http://schemas.microsoft.com/office/drawing/2014/main" id="{B4F181EF-DA43-4B73-8435-CD1842F18A44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932" t="29723" r="27857" b="9609"/>
          <a:stretch/>
        </p:blipFill>
        <p:spPr>
          <a:xfrm>
            <a:off x="580843" y="2057385"/>
            <a:ext cx="7129035" cy="46596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454433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AA16B7AC-F676-4F67-8813-4F8F68AAD7D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182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="" xmlns:a16="http://schemas.microsoft.com/office/drawing/2014/main" id="{AA16B7AC-F676-4F67-8813-4F8F68AAD7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="" xmlns:a16="http://schemas.microsoft.com/office/drawing/2014/main" id="{260A3D96-399B-450E-B597-24C3AA9AE05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US" sz="240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="" xmlns:a16="http://schemas.microsoft.com/office/drawing/2014/main" id="{48D13E25-DCE9-4BCE-806B-429683B77FA6}"/>
              </a:ext>
            </a:extLst>
          </p:cNvPr>
          <p:cNvSpPr txBox="1"/>
          <p:nvPr/>
        </p:nvSpPr>
        <p:spPr>
          <a:xfrm>
            <a:off x="244474" y="1301507"/>
            <a:ext cx="6840220" cy="249299"/>
          </a:xfrm>
          <a:prstGeom prst="rect">
            <a:avLst/>
          </a:prstGeom>
          <a:noFill/>
          <a:ln w="6350" cap="flat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A5FFFF"/>
                </a:solidFill>
              </a14:hiddenFill>
            </a:ext>
          </a:extLst>
        </p:spPr>
        <p:txBody>
          <a:bodyPr vert="horz" wrap="square" lIns="365760" tIns="0" rIns="0" bIns="0" rtlCol="0" anchor="t" anchorCtr="0">
            <a:sp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2"/>
              </a:buClr>
            </a:pP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Machine Learning Modeling and Evaluation</a:t>
            </a:r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7956AB31-F718-491D-AAC7-99EB166076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4507" y="493495"/>
            <a:ext cx="7604094" cy="338554"/>
          </a:xfrm>
        </p:spPr>
        <p:txBody>
          <a:bodyPr/>
          <a:lstStyle/>
          <a:p>
            <a:r>
              <a:rPr lang="en-US" b="1" dirty="0"/>
              <a:t>Framework</a:t>
            </a:r>
          </a:p>
        </p:txBody>
      </p:sp>
      <p:sp>
        <p:nvSpPr>
          <p:cNvPr id="5" name="Oval 4">
            <a:extLst>
              <a:ext uri="{FF2B5EF4-FFF2-40B4-BE49-F238E27FC236}">
                <a16:creationId xmlns="" xmlns:a16="http://schemas.microsoft.com/office/drawing/2014/main" id="{3D60A96E-A8F3-4D57-873D-4053E79B24CA}"/>
              </a:ext>
            </a:extLst>
          </p:cNvPr>
          <p:cNvSpPr/>
          <p:nvPr/>
        </p:nvSpPr>
        <p:spPr>
          <a:xfrm>
            <a:off x="246380" y="1273567"/>
            <a:ext cx="279400" cy="279400"/>
          </a:xfrm>
          <a:prstGeom prst="ellipse">
            <a:avLst/>
          </a:prstGeom>
          <a:solidFill>
            <a:schemeClr val="accent1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1600" b="1" dirty="0">
                <a:solidFill>
                  <a:schemeClr val="bg1"/>
                </a:solidFill>
                <a:latin typeface="Arial" panose="020B0604020202020204" pitchFamily="34" charset="0"/>
                <a:cs typeface="Arial" pitchFamily="34" charset="0"/>
              </a:rPr>
              <a:t>5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="" xmlns:a16="http://schemas.microsoft.com/office/drawing/2014/main" id="{0BBEB72A-2139-4645-915E-CEC28070B56D}"/>
              </a:ext>
            </a:extLst>
          </p:cNvPr>
          <p:cNvGrpSpPr/>
          <p:nvPr/>
        </p:nvGrpSpPr>
        <p:grpSpPr>
          <a:xfrm>
            <a:off x="7877395" y="1225848"/>
            <a:ext cx="937795" cy="385342"/>
            <a:chOff x="7877395" y="1225848"/>
            <a:chExt cx="937795" cy="385342"/>
          </a:xfrm>
        </p:grpSpPr>
        <p:sp>
          <p:nvSpPr>
            <p:cNvPr id="12" name="Isosceles Triangle 11">
              <a:extLst>
                <a:ext uri="{FF2B5EF4-FFF2-40B4-BE49-F238E27FC236}">
                  <a16:creationId xmlns="" xmlns:a16="http://schemas.microsoft.com/office/drawing/2014/main" id="{35B3CE62-F491-498C-8FB7-E66CFD69DB95}"/>
                </a:ext>
              </a:extLst>
            </p:cNvPr>
            <p:cNvSpPr>
              <a:spLocks noChangeAspect="1"/>
            </p:cNvSpPr>
            <p:nvPr/>
          </p:nvSpPr>
          <p:spPr bwMode="gray">
            <a:xfrm rot="9927096">
              <a:off x="8132907" y="1349645"/>
              <a:ext cx="73611" cy="63458"/>
            </a:xfrm>
            <a:prstGeom prst="triangle">
              <a:avLst/>
            </a:prstGeom>
            <a:solidFill>
              <a:schemeClr val="bg2"/>
            </a:solidFill>
            <a:ln w="9525">
              <a:solidFill>
                <a:srgbClr val="007F7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050" dirty="0">
                <a:solidFill>
                  <a:schemeClr val="tx1"/>
                </a:solidFill>
              </a:endParaRPr>
            </a:p>
          </p:txBody>
        </p:sp>
        <p:sp>
          <p:nvSpPr>
            <p:cNvPr id="13" name="Oval 12">
              <a:extLst>
                <a:ext uri="{FF2B5EF4-FFF2-40B4-BE49-F238E27FC236}">
                  <a16:creationId xmlns="" xmlns:a16="http://schemas.microsoft.com/office/drawing/2014/main" id="{D5057345-1014-4E3D-8249-CA3762D4EBD7}"/>
                </a:ext>
              </a:extLst>
            </p:cNvPr>
            <p:cNvSpPr/>
            <p:nvPr/>
          </p:nvSpPr>
          <p:spPr>
            <a:xfrm>
              <a:off x="8002635" y="1243852"/>
              <a:ext cx="50253" cy="50252"/>
            </a:xfrm>
            <a:prstGeom prst="ellipse">
              <a:avLst/>
            </a:prstGeom>
            <a:solidFill>
              <a:schemeClr val="bg2"/>
            </a:solidFill>
            <a:ln w="12700" cap="flat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 b="1" dirty="0">
                <a:solidFill>
                  <a:schemeClr val="bg1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14" name="Oval 13">
              <a:extLst>
                <a:ext uri="{FF2B5EF4-FFF2-40B4-BE49-F238E27FC236}">
                  <a16:creationId xmlns="" xmlns:a16="http://schemas.microsoft.com/office/drawing/2014/main" id="{63F9707F-DBB8-47E1-9D38-404826C77867}"/>
                </a:ext>
              </a:extLst>
            </p:cNvPr>
            <p:cNvSpPr/>
            <p:nvPr/>
          </p:nvSpPr>
          <p:spPr>
            <a:xfrm>
              <a:off x="8530035" y="1349312"/>
              <a:ext cx="212364" cy="212364"/>
            </a:xfrm>
            <a:prstGeom prst="ellipse">
              <a:avLst/>
            </a:prstGeom>
            <a:solidFill>
              <a:schemeClr val="accent5"/>
            </a:solidFill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ot="0" spcFirstLastPara="0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15" name="Arc 14">
              <a:extLst>
                <a:ext uri="{FF2B5EF4-FFF2-40B4-BE49-F238E27FC236}">
                  <a16:creationId xmlns="" xmlns:a16="http://schemas.microsoft.com/office/drawing/2014/main" id="{83A64A2A-0C53-4047-8B19-03F3FE3B04D9}"/>
                </a:ext>
              </a:extLst>
            </p:cNvPr>
            <p:cNvSpPr/>
            <p:nvPr/>
          </p:nvSpPr>
          <p:spPr bwMode="gray">
            <a:xfrm>
              <a:off x="8486575" y="1267966"/>
              <a:ext cx="283644" cy="247796"/>
            </a:xfrm>
            <a:prstGeom prst="arc">
              <a:avLst>
                <a:gd name="adj1" fmla="val 11178900"/>
                <a:gd name="adj2" fmla="val 21075396"/>
              </a:avLst>
            </a:prstGeom>
            <a:ln w="19050" cap="flat">
              <a:solidFill>
                <a:schemeClr val="accent5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100" dirty="0"/>
            </a:p>
          </p:txBody>
        </p:sp>
        <p:sp>
          <p:nvSpPr>
            <p:cNvPr id="16" name="Isosceles Triangle 15">
              <a:extLst>
                <a:ext uri="{FF2B5EF4-FFF2-40B4-BE49-F238E27FC236}">
                  <a16:creationId xmlns="" xmlns:a16="http://schemas.microsoft.com/office/drawing/2014/main" id="{AD34A29D-9581-4661-BAC6-DFB4DF1F5397}"/>
                </a:ext>
              </a:extLst>
            </p:cNvPr>
            <p:cNvSpPr>
              <a:spLocks noChangeAspect="1"/>
            </p:cNvSpPr>
            <p:nvPr/>
          </p:nvSpPr>
          <p:spPr bwMode="gray">
            <a:xfrm rot="9927096">
              <a:off x="8734789" y="1347929"/>
              <a:ext cx="73611" cy="63458"/>
            </a:xfrm>
            <a:prstGeom prst="triangle">
              <a:avLst/>
            </a:prstGeom>
            <a:solidFill>
              <a:schemeClr val="accent5"/>
            </a:solidFill>
            <a:ln w="952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050" dirty="0">
                <a:solidFill>
                  <a:schemeClr val="tx1"/>
                </a:solidFill>
              </a:endParaRPr>
            </a:p>
          </p:txBody>
        </p:sp>
        <p:sp>
          <p:nvSpPr>
            <p:cNvPr id="17" name="Oval 16">
              <a:extLst>
                <a:ext uri="{FF2B5EF4-FFF2-40B4-BE49-F238E27FC236}">
                  <a16:creationId xmlns="" xmlns:a16="http://schemas.microsoft.com/office/drawing/2014/main" id="{BFF74F25-EB5E-4527-8581-0E164F89C80F}"/>
                </a:ext>
              </a:extLst>
            </p:cNvPr>
            <p:cNvSpPr/>
            <p:nvPr/>
          </p:nvSpPr>
          <p:spPr>
            <a:xfrm>
              <a:off x="8611091" y="1243852"/>
              <a:ext cx="50253" cy="50252"/>
            </a:xfrm>
            <a:prstGeom prst="ellipse">
              <a:avLst/>
            </a:prstGeom>
            <a:solidFill>
              <a:schemeClr val="accent5"/>
            </a:solidFill>
            <a:ln w="12700" cap="flat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 b="1" dirty="0">
                <a:solidFill>
                  <a:schemeClr val="bg1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="" xmlns:a16="http://schemas.microsoft.com/office/drawing/2014/main" id="{00A129B6-615D-417E-A5FF-BF0A72E04226}"/>
                </a:ext>
              </a:extLst>
            </p:cNvPr>
            <p:cNvSpPr/>
            <p:nvPr/>
          </p:nvSpPr>
          <p:spPr>
            <a:xfrm>
              <a:off x="8486575" y="1225848"/>
              <a:ext cx="328615" cy="385342"/>
            </a:xfrm>
            <a:prstGeom prst="rect">
              <a:avLst/>
            </a:prstGeom>
            <a:solidFill>
              <a:schemeClr val="bg1">
                <a:alpha val="80000"/>
              </a:schemeClr>
            </a:solidFill>
            <a:ln w="6350" cap="flat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900"/>
                </a:spcBef>
              </a:pPr>
              <a:endParaRPr lang="en-US" sz="140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9" name="Oval 18">
              <a:extLst>
                <a:ext uri="{FF2B5EF4-FFF2-40B4-BE49-F238E27FC236}">
                  <a16:creationId xmlns="" xmlns:a16="http://schemas.microsoft.com/office/drawing/2014/main" id="{3E98A2CE-5146-4C5F-A545-6FDD7370DFB0}"/>
                </a:ext>
              </a:extLst>
            </p:cNvPr>
            <p:cNvSpPr/>
            <p:nvPr/>
          </p:nvSpPr>
          <p:spPr>
            <a:xfrm>
              <a:off x="7921579" y="1349312"/>
              <a:ext cx="212364" cy="212364"/>
            </a:xfrm>
            <a:prstGeom prst="ellipse">
              <a:avLst/>
            </a:prstGeom>
            <a:solidFill>
              <a:schemeClr val="bg2"/>
            </a:solidFill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ot="0" spcFirstLastPara="0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20" name="Arc 19">
              <a:extLst>
                <a:ext uri="{FF2B5EF4-FFF2-40B4-BE49-F238E27FC236}">
                  <a16:creationId xmlns="" xmlns:a16="http://schemas.microsoft.com/office/drawing/2014/main" id="{A0AB8420-2770-4899-AC43-A47624E481BC}"/>
                </a:ext>
              </a:extLst>
            </p:cNvPr>
            <p:cNvSpPr/>
            <p:nvPr/>
          </p:nvSpPr>
          <p:spPr bwMode="gray">
            <a:xfrm>
              <a:off x="7883769" y="1267966"/>
              <a:ext cx="283644" cy="247796"/>
            </a:xfrm>
            <a:prstGeom prst="arc">
              <a:avLst>
                <a:gd name="adj1" fmla="val 11178900"/>
                <a:gd name="adj2" fmla="val 21075396"/>
              </a:avLst>
            </a:prstGeom>
            <a:ln w="19050" cap="flat">
              <a:solidFill>
                <a:schemeClr val="bg2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100" dirty="0"/>
            </a:p>
          </p:txBody>
        </p:sp>
        <p:sp>
          <p:nvSpPr>
            <p:cNvPr id="21" name="Rectangle 20">
              <a:extLst>
                <a:ext uri="{FF2B5EF4-FFF2-40B4-BE49-F238E27FC236}">
                  <a16:creationId xmlns="" xmlns:a16="http://schemas.microsoft.com/office/drawing/2014/main" id="{33C5B095-13E5-455C-9204-B2BD9ABC7DCF}"/>
                </a:ext>
              </a:extLst>
            </p:cNvPr>
            <p:cNvSpPr/>
            <p:nvPr/>
          </p:nvSpPr>
          <p:spPr>
            <a:xfrm>
              <a:off x="7877395" y="1225848"/>
              <a:ext cx="328615" cy="385342"/>
            </a:xfrm>
            <a:prstGeom prst="rect">
              <a:avLst/>
            </a:prstGeom>
            <a:solidFill>
              <a:schemeClr val="bg1">
                <a:alpha val="80000"/>
              </a:schemeClr>
            </a:solidFill>
            <a:ln w="6350" cap="flat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900"/>
                </a:spcBef>
              </a:pPr>
              <a:endParaRPr lang="en-US" sz="140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2" name="Oval 21">
              <a:extLst>
                <a:ext uri="{FF2B5EF4-FFF2-40B4-BE49-F238E27FC236}">
                  <a16:creationId xmlns="" xmlns:a16="http://schemas.microsoft.com/office/drawing/2014/main" id="{22C1417D-C0DF-425F-B1EA-C0A7EC164858}"/>
                </a:ext>
              </a:extLst>
            </p:cNvPr>
            <p:cNvSpPr/>
            <p:nvPr/>
          </p:nvSpPr>
          <p:spPr>
            <a:xfrm>
              <a:off x="8225098" y="1244357"/>
              <a:ext cx="212364" cy="212364"/>
            </a:xfrm>
            <a:prstGeom prst="ellipse">
              <a:avLst/>
            </a:prstGeom>
            <a:solidFill>
              <a:schemeClr val="accent1"/>
            </a:solidFill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ot="0" spcFirstLastPara="0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23" name="Arc 22">
              <a:extLst>
                <a:ext uri="{FF2B5EF4-FFF2-40B4-BE49-F238E27FC236}">
                  <a16:creationId xmlns="" xmlns:a16="http://schemas.microsoft.com/office/drawing/2014/main" id="{6A0208D0-2202-4068-9629-F81575FE5B60}"/>
                </a:ext>
              </a:extLst>
            </p:cNvPr>
            <p:cNvSpPr/>
            <p:nvPr/>
          </p:nvSpPr>
          <p:spPr bwMode="gray">
            <a:xfrm flipV="1">
              <a:off x="8184095" y="1313981"/>
              <a:ext cx="283644" cy="247373"/>
            </a:xfrm>
            <a:prstGeom prst="arc">
              <a:avLst>
                <a:gd name="adj1" fmla="val 11178900"/>
                <a:gd name="adj2" fmla="val 21075396"/>
              </a:avLst>
            </a:prstGeom>
            <a:ln w="19050" cap="flat">
              <a:solidFill>
                <a:schemeClr val="accent1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100" dirty="0"/>
            </a:p>
          </p:txBody>
        </p:sp>
        <p:sp>
          <p:nvSpPr>
            <p:cNvPr id="24" name="Isosceles Triangle 23">
              <a:extLst>
                <a:ext uri="{FF2B5EF4-FFF2-40B4-BE49-F238E27FC236}">
                  <a16:creationId xmlns="" xmlns:a16="http://schemas.microsoft.com/office/drawing/2014/main" id="{401D8938-53A8-4EF6-9FC7-7B0105B2302E}"/>
                </a:ext>
              </a:extLst>
            </p:cNvPr>
            <p:cNvSpPr>
              <a:spLocks noChangeAspect="1"/>
            </p:cNvSpPr>
            <p:nvPr/>
          </p:nvSpPr>
          <p:spPr bwMode="gray">
            <a:xfrm rot="11672904" flipV="1">
              <a:off x="8432310" y="1418179"/>
              <a:ext cx="73611" cy="63349"/>
            </a:xfrm>
            <a:prstGeom prst="triangle">
              <a:avLst/>
            </a:prstGeom>
            <a:solidFill>
              <a:schemeClr val="accent1"/>
            </a:solidFill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050" dirty="0">
                <a:solidFill>
                  <a:schemeClr val="tx1"/>
                </a:solidFill>
              </a:endParaRPr>
            </a:p>
          </p:txBody>
        </p:sp>
        <p:sp>
          <p:nvSpPr>
            <p:cNvPr id="25" name="Oval 24">
              <a:extLst>
                <a:ext uri="{FF2B5EF4-FFF2-40B4-BE49-F238E27FC236}">
                  <a16:creationId xmlns="" xmlns:a16="http://schemas.microsoft.com/office/drawing/2014/main" id="{98170558-834B-4009-B86E-FFC6DBC68739}"/>
                </a:ext>
              </a:extLst>
            </p:cNvPr>
            <p:cNvSpPr/>
            <p:nvPr/>
          </p:nvSpPr>
          <p:spPr>
            <a:xfrm>
              <a:off x="8306154" y="1537095"/>
              <a:ext cx="50253" cy="50252"/>
            </a:xfrm>
            <a:prstGeom prst="ellipse">
              <a:avLst/>
            </a:prstGeom>
            <a:solidFill>
              <a:schemeClr val="accent1"/>
            </a:solidFill>
            <a:ln w="12700" cap="flat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 b="1" dirty="0">
                <a:solidFill>
                  <a:schemeClr val="bg1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</p:grpSp>
      <p:sp>
        <p:nvSpPr>
          <p:cNvPr id="28" name="Rectangle 27">
            <a:extLst>
              <a:ext uri="{FF2B5EF4-FFF2-40B4-BE49-F238E27FC236}">
                <a16:creationId xmlns="" xmlns:a16="http://schemas.microsoft.com/office/drawing/2014/main" id="{8CB181B4-F7F7-46DD-8436-013077DF9C04}"/>
              </a:ext>
            </a:extLst>
          </p:cNvPr>
          <p:cNvSpPr/>
          <p:nvPr/>
        </p:nvSpPr>
        <p:spPr>
          <a:xfrm>
            <a:off x="246381" y="1640823"/>
            <a:ext cx="8646794" cy="996090"/>
          </a:xfrm>
          <a:prstGeom prst="rect">
            <a:avLst/>
          </a:prstGeom>
          <a:noFill/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97212" indent="-97212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Logistic </a:t>
            </a:r>
            <a:r>
              <a:rPr lang="en-US" sz="12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Regression</a:t>
            </a:r>
            <a:endParaRPr lang="en-US" sz="12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27" name="Table 26">
            <a:extLst>
              <a:ext uri="{FF2B5EF4-FFF2-40B4-BE49-F238E27FC236}">
                <a16:creationId xmlns="" xmlns:a16="http://schemas.microsoft.com/office/drawing/2014/main" id="{45231947-B185-4296-AE29-1CC50BBC8D1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23099904"/>
              </p:ext>
            </p:extLst>
          </p:nvPr>
        </p:nvGraphicFramePr>
        <p:xfrm>
          <a:off x="436519" y="2069049"/>
          <a:ext cx="8270962" cy="854658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181566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181566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181566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1181566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1181566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  <a:gridCol w="1181566">
                  <a:extLst>
                    <a:ext uri="{9D8B030D-6E8A-4147-A177-3AD203B41FA5}">
                      <a16:colId xmlns="" xmlns:a16="http://schemas.microsoft.com/office/drawing/2014/main" val="20005"/>
                    </a:ext>
                  </a:extLst>
                </a:gridCol>
                <a:gridCol w="1181566">
                  <a:extLst>
                    <a:ext uri="{9D8B030D-6E8A-4147-A177-3AD203B41FA5}">
                      <a16:colId xmlns="" xmlns:a16="http://schemas.microsoft.com/office/drawing/2014/main" val="20006"/>
                    </a:ext>
                  </a:extLst>
                </a:gridCol>
              </a:tblGrid>
              <a:tr h="515126">
                <a:tc rowSpan="2"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Logistic</a:t>
                      </a:r>
                      <a:r>
                        <a:rPr lang="en-US" sz="1200" baseline="0" dirty="0"/>
                        <a:t> Regression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Optimal Threshol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Accurac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Precis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Recal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F1-Scor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Roc</a:t>
                      </a: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339532"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0.60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0.81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0.81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0.75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0.78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0.81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5520278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AA16B7AC-F676-4F67-8813-4F8F68AAD7D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06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="" xmlns:a16="http://schemas.microsoft.com/office/drawing/2014/main" id="{AA16B7AC-F676-4F67-8813-4F8F68AAD7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="" xmlns:a16="http://schemas.microsoft.com/office/drawing/2014/main" id="{260A3D96-399B-450E-B597-24C3AA9AE05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US" sz="240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="" xmlns:a16="http://schemas.microsoft.com/office/drawing/2014/main" id="{48D13E25-DCE9-4BCE-806B-429683B77FA6}"/>
              </a:ext>
            </a:extLst>
          </p:cNvPr>
          <p:cNvSpPr txBox="1"/>
          <p:nvPr/>
        </p:nvSpPr>
        <p:spPr>
          <a:xfrm>
            <a:off x="244474" y="1301507"/>
            <a:ext cx="6840220" cy="249299"/>
          </a:xfrm>
          <a:prstGeom prst="rect">
            <a:avLst/>
          </a:prstGeom>
          <a:noFill/>
          <a:ln w="6350" cap="flat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A5FFFF"/>
                </a:solidFill>
              </a14:hiddenFill>
            </a:ext>
          </a:extLst>
        </p:spPr>
        <p:txBody>
          <a:bodyPr vert="horz" wrap="square" lIns="365760" tIns="0" rIns="0" bIns="0" rtlCol="0" anchor="t" anchorCtr="0">
            <a:sp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2"/>
              </a:buClr>
            </a:pP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Machine Learning Modeling and Evaluation</a:t>
            </a:r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7956AB31-F718-491D-AAC7-99EB166076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4507" y="493495"/>
            <a:ext cx="7604094" cy="338554"/>
          </a:xfrm>
        </p:spPr>
        <p:txBody>
          <a:bodyPr/>
          <a:lstStyle/>
          <a:p>
            <a:r>
              <a:rPr lang="en-US" b="1" dirty="0"/>
              <a:t>Framework</a:t>
            </a:r>
          </a:p>
        </p:txBody>
      </p:sp>
      <p:sp>
        <p:nvSpPr>
          <p:cNvPr id="5" name="Oval 4">
            <a:extLst>
              <a:ext uri="{FF2B5EF4-FFF2-40B4-BE49-F238E27FC236}">
                <a16:creationId xmlns="" xmlns:a16="http://schemas.microsoft.com/office/drawing/2014/main" id="{3D60A96E-A8F3-4D57-873D-4053E79B24CA}"/>
              </a:ext>
            </a:extLst>
          </p:cNvPr>
          <p:cNvSpPr/>
          <p:nvPr/>
        </p:nvSpPr>
        <p:spPr>
          <a:xfrm>
            <a:off x="246380" y="1273567"/>
            <a:ext cx="279400" cy="279400"/>
          </a:xfrm>
          <a:prstGeom prst="ellipse">
            <a:avLst/>
          </a:prstGeom>
          <a:solidFill>
            <a:schemeClr val="accent1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1600" b="1" dirty="0">
                <a:solidFill>
                  <a:schemeClr val="bg1"/>
                </a:solidFill>
                <a:latin typeface="Arial" panose="020B0604020202020204" pitchFamily="34" charset="0"/>
                <a:cs typeface="Arial" pitchFamily="34" charset="0"/>
              </a:rPr>
              <a:t>5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="" xmlns:a16="http://schemas.microsoft.com/office/drawing/2014/main" id="{0BBEB72A-2139-4645-915E-CEC28070B56D}"/>
              </a:ext>
            </a:extLst>
          </p:cNvPr>
          <p:cNvGrpSpPr/>
          <p:nvPr/>
        </p:nvGrpSpPr>
        <p:grpSpPr>
          <a:xfrm>
            <a:off x="7877395" y="1225848"/>
            <a:ext cx="937795" cy="385342"/>
            <a:chOff x="7877395" y="1225848"/>
            <a:chExt cx="937795" cy="385342"/>
          </a:xfrm>
        </p:grpSpPr>
        <p:sp>
          <p:nvSpPr>
            <p:cNvPr id="12" name="Isosceles Triangle 11">
              <a:extLst>
                <a:ext uri="{FF2B5EF4-FFF2-40B4-BE49-F238E27FC236}">
                  <a16:creationId xmlns="" xmlns:a16="http://schemas.microsoft.com/office/drawing/2014/main" id="{35B3CE62-F491-498C-8FB7-E66CFD69DB95}"/>
                </a:ext>
              </a:extLst>
            </p:cNvPr>
            <p:cNvSpPr>
              <a:spLocks noChangeAspect="1"/>
            </p:cNvSpPr>
            <p:nvPr/>
          </p:nvSpPr>
          <p:spPr bwMode="gray">
            <a:xfrm rot="9927096">
              <a:off x="8132907" y="1349645"/>
              <a:ext cx="73611" cy="63458"/>
            </a:xfrm>
            <a:prstGeom prst="triangle">
              <a:avLst/>
            </a:prstGeom>
            <a:solidFill>
              <a:schemeClr val="bg2"/>
            </a:solidFill>
            <a:ln w="9525">
              <a:solidFill>
                <a:srgbClr val="007F7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050" dirty="0">
                <a:solidFill>
                  <a:schemeClr val="tx1"/>
                </a:solidFill>
              </a:endParaRPr>
            </a:p>
          </p:txBody>
        </p:sp>
        <p:sp>
          <p:nvSpPr>
            <p:cNvPr id="13" name="Oval 12">
              <a:extLst>
                <a:ext uri="{FF2B5EF4-FFF2-40B4-BE49-F238E27FC236}">
                  <a16:creationId xmlns="" xmlns:a16="http://schemas.microsoft.com/office/drawing/2014/main" id="{D5057345-1014-4E3D-8249-CA3762D4EBD7}"/>
                </a:ext>
              </a:extLst>
            </p:cNvPr>
            <p:cNvSpPr/>
            <p:nvPr/>
          </p:nvSpPr>
          <p:spPr>
            <a:xfrm>
              <a:off x="8002635" y="1243852"/>
              <a:ext cx="50253" cy="50252"/>
            </a:xfrm>
            <a:prstGeom prst="ellipse">
              <a:avLst/>
            </a:prstGeom>
            <a:solidFill>
              <a:schemeClr val="bg2"/>
            </a:solidFill>
            <a:ln w="12700" cap="flat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 b="1" dirty="0">
                <a:solidFill>
                  <a:schemeClr val="bg1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14" name="Oval 13">
              <a:extLst>
                <a:ext uri="{FF2B5EF4-FFF2-40B4-BE49-F238E27FC236}">
                  <a16:creationId xmlns="" xmlns:a16="http://schemas.microsoft.com/office/drawing/2014/main" id="{63F9707F-DBB8-47E1-9D38-404826C77867}"/>
                </a:ext>
              </a:extLst>
            </p:cNvPr>
            <p:cNvSpPr/>
            <p:nvPr/>
          </p:nvSpPr>
          <p:spPr>
            <a:xfrm>
              <a:off x="8530035" y="1349312"/>
              <a:ext cx="212364" cy="212364"/>
            </a:xfrm>
            <a:prstGeom prst="ellipse">
              <a:avLst/>
            </a:prstGeom>
            <a:solidFill>
              <a:schemeClr val="accent5"/>
            </a:solidFill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ot="0" spcFirstLastPara="0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15" name="Arc 14">
              <a:extLst>
                <a:ext uri="{FF2B5EF4-FFF2-40B4-BE49-F238E27FC236}">
                  <a16:creationId xmlns="" xmlns:a16="http://schemas.microsoft.com/office/drawing/2014/main" id="{83A64A2A-0C53-4047-8B19-03F3FE3B04D9}"/>
                </a:ext>
              </a:extLst>
            </p:cNvPr>
            <p:cNvSpPr/>
            <p:nvPr/>
          </p:nvSpPr>
          <p:spPr bwMode="gray">
            <a:xfrm>
              <a:off x="8486575" y="1267966"/>
              <a:ext cx="283644" cy="247796"/>
            </a:xfrm>
            <a:prstGeom prst="arc">
              <a:avLst>
                <a:gd name="adj1" fmla="val 11178900"/>
                <a:gd name="adj2" fmla="val 21075396"/>
              </a:avLst>
            </a:prstGeom>
            <a:ln w="19050" cap="flat">
              <a:solidFill>
                <a:schemeClr val="accent5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100" dirty="0"/>
            </a:p>
          </p:txBody>
        </p:sp>
        <p:sp>
          <p:nvSpPr>
            <p:cNvPr id="16" name="Isosceles Triangle 15">
              <a:extLst>
                <a:ext uri="{FF2B5EF4-FFF2-40B4-BE49-F238E27FC236}">
                  <a16:creationId xmlns="" xmlns:a16="http://schemas.microsoft.com/office/drawing/2014/main" id="{AD34A29D-9581-4661-BAC6-DFB4DF1F5397}"/>
                </a:ext>
              </a:extLst>
            </p:cNvPr>
            <p:cNvSpPr>
              <a:spLocks noChangeAspect="1"/>
            </p:cNvSpPr>
            <p:nvPr/>
          </p:nvSpPr>
          <p:spPr bwMode="gray">
            <a:xfrm rot="9927096">
              <a:off x="8734789" y="1347929"/>
              <a:ext cx="73611" cy="63458"/>
            </a:xfrm>
            <a:prstGeom prst="triangle">
              <a:avLst/>
            </a:prstGeom>
            <a:solidFill>
              <a:schemeClr val="accent5"/>
            </a:solidFill>
            <a:ln w="952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050" dirty="0">
                <a:solidFill>
                  <a:schemeClr val="tx1"/>
                </a:solidFill>
              </a:endParaRPr>
            </a:p>
          </p:txBody>
        </p:sp>
        <p:sp>
          <p:nvSpPr>
            <p:cNvPr id="17" name="Oval 16">
              <a:extLst>
                <a:ext uri="{FF2B5EF4-FFF2-40B4-BE49-F238E27FC236}">
                  <a16:creationId xmlns="" xmlns:a16="http://schemas.microsoft.com/office/drawing/2014/main" id="{BFF74F25-EB5E-4527-8581-0E164F89C80F}"/>
                </a:ext>
              </a:extLst>
            </p:cNvPr>
            <p:cNvSpPr/>
            <p:nvPr/>
          </p:nvSpPr>
          <p:spPr>
            <a:xfrm>
              <a:off x="8611091" y="1243852"/>
              <a:ext cx="50253" cy="50252"/>
            </a:xfrm>
            <a:prstGeom prst="ellipse">
              <a:avLst/>
            </a:prstGeom>
            <a:solidFill>
              <a:schemeClr val="accent5"/>
            </a:solidFill>
            <a:ln w="12700" cap="flat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 b="1" dirty="0">
                <a:solidFill>
                  <a:schemeClr val="bg1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="" xmlns:a16="http://schemas.microsoft.com/office/drawing/2014/main" id="{00A129B6-615D-417E-A5FF-BF0A72E04226}"/>
                </a:ext>
              </a:extLst>
            </p:cNvPr>
            <p:cNvSpPr/>
            <p:nvPr/>
          </p:nvSpPr>
          <p:spPr>
            <a:xfrm>
              <a:off x="8486575" y="1225848"/>
              <a:ext cx="328615" cy="385342"/>
            </a:xfrm>
            <a:prstGeom prst="rect">
              <a:avLst/>
            </a:prstGeom>
            <a:solidFill>
              <a:schemeClr val="bg1">
                <a:alpha val="80000"/>
              </a:schemeClr>
            </a:solidFill>
            <a:ln w="6350" cap="flat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900"/>
                </a:spcBef>
              </a:pPr>
              <a:endParaRPr lang="en-US" sz="140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9" name="Oval 18">
              <a:extLst>
                <a:ext uri="{FF2B5EF4-FFF2-40B4-BE49-F238E27FC236}">
                  <a16:creationId xmlns="" xmlns:a16="http://schemas.microsoft.com/office/drawing/2014/main" id="{3E98A2CE-5146-4C5F-A545-6FDD7370DFB0}"/>
                </a:ext>
              </a:extLst>
            </p:cNvPr>
            <p:cNvSpPr/>
            <p:nvPr/>
          </p:nvSpPr>
          <p:spPr>
            <a:xfrm>
              <a:off x="7921579" y="1349312"/>
              <a:ext cx="212364" cy="212364"/>
            </a:xfrm>
            <a:prstGeom prst="ellipse">
              <a:avLst/>
            </a:prstGeom>
            <a:solidFill>
              <a:schemeClr val="bg2"/>
            </a:solidFill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ot="0" spcFirstLastPara="0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20" name="Arc 19">
              <a:extLst>
                <a:ext uri="{FF2B5EF4-FFF2-40B4-BE49-F238E27FC236}">
                  <a16:creationId xmlns="" xmlns:a16="http://schemas.microsoft.com/office/drawing/2014/main" id="{A0AB8420-2770-4899-AC43-A47624E481BC}"/>
                </a:ext>
              </a:extLst>
            </p:cNvPr>
            <p:cNvSpPr/>
            <p:nvPr/>
          </p:nvSpPr>
          <p:spPr bwMode="gray">
            <a:xfrm>
              <a:off x="7883769" y="1267966"/>
              <a:ext cx="283644" cy="247796"/>
            </a:xfrm>
            <a:prstGeom prst="arc">
              <a:avLst>
                <a:gd name="adj1" fmla="val 11178900"/>
                <a:gd name="adj2" fmla="val 21075396"/>
              </a:avLst>
            </a:prstGeom>
            <a:ln w="19050" cap="flat">
              <a:solidFill>
                <a:schemeClr val="bg2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100" dirty="0"/>
            </a:p>
          </p:txBody>
        </p:sp>
        <p:sp>
          <p:nvSpPr>
            <p:cNvPr id="21" name="Rectangle 20">
              <a:extLst>
                <a:ext uri="{FF2B5EF4-FFF2-40B4-BE49-F238E27FC236}">
                  <a16:creationId xmlns="" xmlns:a16="http://schemas.microsoft.com/office/drawing/2014/main" id="{33C5B095-13E5-455C-9204-B2BD9ABC7DCF}"/>
                </a:ext>
              </a:extLst>
            </p:cNvPr>
            <p:cNvSpPr/>
            <p:nvPr/>
          </p:nvSpPr>
          <p:spPr>
            <a:xfrm>
              <a:off x="7877395" y="1225848"/>
              <a:ext cx="328615" cy="385342"/>
            </a:xfrm>
            <a:prstGeom prst="rect">
              <a:avLst/>
            </a:prstGeom>
            <a:solidFill>
              <a:schemeClr val="bg1">
                <a:alpha val="80000"/>
              </a:schemeClr>
            </a:solidFill>
            <a:ln w="6350" cap="flat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900"/>
                </a:spcBef>
              </a:pPr>
              <a:endParaRPr lang="en-US" sz="140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2" name="Oval 21">
              <a:extLst>
                <a:ext uri="{FF2B5EF4-FFF2-40B4-BE49-F238E27FC236}">
                  <a16:creationId xmlns="" xmlns:a16="http://schemas.microsoft.com/office/drawing/2014/main" id="{22C1417D-C0DF-425F-B1EA-C0A7EC164858}"/>
                </a:ext>
              </a:extLst>
            </p:cNvPr>
            <p:cNvSpPr/>
            <p:nvPr/>
          </p:nvSpPr>
          <p:spPr>
            <a:xfrm>
              <a:off x="8225098" y="1244357"/>
              <a:ext cx="212364" cy="212364"/>
            </a:xfrm>
            <a:prstGeom prst="ellipse">
              <a:avLst/>
            </a:prstGeom>
            <a:solidFill>
              <a:schemeClr val="accent1"/>
            </a:solidFill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ot="0" spcFirstLastPara="0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23" name="Arc 22">
              <a:extLst>
                <a:ext uri="{FF2B5EF4-FFF2-40B4-BE49-F238E27FC236}">
                  <a16:creationId xmlns="" xmlns:a16="http://schemas.microsoft.com/office/drawing/2014/main" id="{6A0208D0-2202-4068-9629-F81575FE5B60}"/>
                </a:ext>
              </a:extLst>
            </p:cNvPr>
            <p:cNvSpPr/>
            <p:nvPr/>
          </p:nvSpPr>
          <p:spPr bwMode="gray">
            <a:xfrm flipV="1">
              <a:off x="8184095" y="1313981"/>
              <a:ext cx="283644" cy="247373"/>
            </a:xfrm>
            <a:prstGeom prst="arc">
              <a:avLst>
                <a:gd name="adj1" fmla="val 11178900"/>
                <a:gd name="adj2" fmla="val 21075396"/>
              </a:avLst>
            </a:prstGeom>
            <a:ln w="19050" cap="flat">
              <a:solidFill>
                <a:schemeClr val="accent1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100" dirty="0"/>
            </a:p>
          </p:txBody>
        </p:sp>
        <p:sp>
          <p:nvSpPr>
            <p:cNvPr id="24" name="Isosceles Triangle 23">
              <a:extLst>
                <a:ext uri="{FF2B5EF4-FFF2-40B4-BE49-F238E27FC236}">
                  <a16:creationId xmlns="" xmlns:a16="http://schemas.microsoft.com/office/drawing/2014/main" id="{401D8938-53A8-4EF6-9FC7-7B0105B2302E}"/>
                </a:ext>
              </a:extLst>
            </p:cNvPr>
            <p:cNvSpPr>
              <a:spLocks noChangeAspect="1"/>
            </p:cNvSpPr>
            <p:nvPr/>
          </p:nvSpPr>
          <p:spPr bwMode="gray">
            <a:xfrm rot="11672904" flipV="1">
              <a:off x="8432310" y="1418179"/>
              <a:ext cx="73611" cy="63349"/>
            </a:xfrm>
            <a:prstGeom prst="triangle">
              <a:avLst/>
            </a:prstGeom>
            <a:solidFill>
              <a:schemeClr val="accent1"/>
            </a:solidFill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050" dirty="0">
                <a:solidFill>
                  <a:schemeClr val="tx1"/>
                </a:solidFill>
              </a:endParaRPr>
            </a:p>
          </p:txBody>
        </p:sp>
        <p:sp>
          <p:nvSpPr>
            <p:cNvPr id="25" name="Oval 24">
              <a:extLst>
                <a:ext uri="{FF2B5EF4-FFF2-40B4-BE49-F238E27FC236}">
                  <a16:creationId xmlns="" xmlns:a16="http://schemas.microsoft.com/office/drawing/2014/main" id="{98170558-834B-4009-B86E-FFC6DBC68739}"/>
                </a:ext>
              </a:extLst>
            </p:cNvPr>
            <p:cNvSpPr/>
            <p:nvPr/>
          </p:nvSpPr>
          <p:spPr>
            <a:xfrm>
              <a:off x="8306154" y="1537095"/>
              <a:ext cx="50253" cy="50252"/>
            </a:xfrm>
            <a:prstGeom prst="ellipse">
              <a:avLst/>
            </a:prstGeom>
            <a:solidFill>
              <a:schemeClr val="accent1"/>
            </a:solidFill>
            <a:ln w="12700" cap="flat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 b="1" dirty="0">
                <a:solidFill>
                  <a:schemeClr val="bg1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</p:grpSp>
      <p:sp>
        <p:nvSpPr>
          <p:cNvPr id="28" name="Rectangle 27">
            <a:extLst>
              <a:ext uri="{FF2B5EF4-FFF2-40B4-BE49-F238E27FC236}">
                <a16:creationId xmlns="" xmlns:a16="http://schemas.microsoft.com/office/drawing/2014/main" id="{8CB181B4-F7F7-46DD-8436-013077DF9C04}"/>
              </a:ext>
            </a:extLst>
          </p:cNvPr>
          <p:cNvSpPr/>
          <p:nvPr/>
        </p:nvSpPr>
        <p:spPr>
          <a:xfrm>
            <a:off x="246381" y="1640823"/>
            <a:ext cx="8646794" cy="996090"/>
          </a:xfrm>
          <a:prstGeom prst="rect">
            <a:avLst/>
          </a:prstGeom>
          <a:noFill/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97212" indent="-97212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Random </a:t>
            </a:r>
            <a:r>
              <a:rPr lang="en-US" sz="12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Forest</a:t>
            </a:r>
            <a:endParaRPr lang="en-US" sz="12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26" name="Picture 25" descr="Screen Shot 2020-05-21 at 6.59.33 PM (2).png">
            <a:extLst>
              <a:ext uri="{FF2B5EF4-FFF2-40B4-BE49-F238E27FC236}">
                <a16:creationId xmlns="" xmlns:a16="http://schemas.microsoft.com/office/drawing/2014/main" id="{C0E02E38-5124-4144-9573-9A16E4ED136F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730" t="24489" r="28023" b="7218"/>
          <a:stretch/>
        </p:blipFill>
        <p:spPr>
          <a:xfrm>
            <a:off x="1441166" y="2057399"/>
            <a:ext cx="6257223" cy="46847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143962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AA16B7AC-F676-4F67-8813-4F8F68AAD7D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230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="" xmlns:a16="http://schemas.microsoft.com/office/drawing/2014/main" id="{AA16B7AC-F676-4F67-8813-4F8F68AAD7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="" xmlns:a16="http://schemas.microsoft.com/office/drawing/2014/main" id="{260A3D96-399B-450E-B597-24C3AA9AE05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US" sz="240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="" xmlns:a16="http://schemas.microsoft.com/office/drawing/2014/main" id="{48D13E25-DCE9-4BCE-806B-429683B77FA6}"/>
              </a:ext>
            </a:extLst>
          </p:cNvPr>
          <p:cNvSpPr txBox="1"/>
          <p:nvPr/>
        </p:nvSpPr>
        <p:spPr>
          <a:xfrm>
            <a:off x="244474" y="1301507"/>
            <a:ext cx="6840220" cy="249299"/>
          </a:xfrm>
          <a:prstGeom prst="rect">
            <a:avLst/>
          </a:prstGeom>
          <a:noFill/>
          <a:ln w="6350" cap="flat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A5FFFF"/>
                </a:solidFill>
              </a14:hiddenFill>
            </a:ext>
          </a:extLst>
        </p:spPr>
        <p:txBody>
          <a:bodyPr vert="horz" wrap="square" lIns="365760" tIns="0" rIns="0" bIns="0" rtlCol="0" anchor="t" anchorCtr="0">
            <a:sp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2"/>
              </a:buClr>
            </a:pP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Machine Learning Modeling and Evaluation</a:t>
            </a:r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7956AB31-F718-491D-AAC7-99EB166076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4507" y="493495"/>
            <a:ext cx="7604094" cy="338554"/>
          </a:xfrm>
        </p:spPr>
        <p:txBody>
          <a:bodyPr/>
          <a:lstStyle/>
          <a:p>
            <a:r>
              <a:rPr lang="en-US" b="1" dirty="0"/>
              <a:t>Framework</a:t>
            </a:r>
          </a:p>
        </p:txBody>
      </p:sp>
      <p:sp>
        <p:nvSpPr>
          <p:cNvPr id="5" name="Oval 4">
            <a:extLst>
              <a:ext uri="{FF2B5EF4-FFF2-40B4-BE49-F238E27FC236}">
                <a16:creationId xmlns="" xmlns:a16="http://schemas.microsoft.com/office/drawing/2014/main" id="{3D60A96E-A8F3-4D57-873D-4053E79B24CA}"/>
              </a:ext>
            </a:extLst>
          </p:cNvPr>
          <p:cNvSpPr/>
          <p:nvPr/>
        </p:nvSpPr>
        <p:spPr>
          <a:xfrm>
            <a:off x="246380" y="1273567"/>
            <a:ext cx="279400" cy="279400"/>
          </a:xfrm>
          <a:prstGeom prst="ellipse">
            <a:avLst/>
          </a:prstGeom>
          <a:solidFill>
            <a:schemeClr val="accent1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1600" b="1" dirty="0">
                <a:solidFill>
                  <a:schemeClr val="bg1"/>
                </a:solidFill>
                <a:latin typeface="Arial" panose="020B0604020202020204" pitchFamily="34" charset="0"/>
                <a:cs typeface="Arial" pitchFamily="34" charset="0"/>
              </a:rPr>
              <a:t>5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="" xmlns:a16="http://schemas.microsoft.com/office/drawing/2014/main" id="{0BBEB72A-2139-4645-915E-CEC28070B56D}"/>
              </a:ext>
            </a:extLst>
          </p:cNvPr>
          <p:cNvGrpSpPr/>
          <p:nvPr/>
        </p:nvGrpSpPr>
        <p:grpSpPr>
          <a:xfrm>
            <a:off x="7877395" y="1225848"/>
            <a:ext cx="937795" cy="385342"/>
            <a:chOff x="7877395" y="1225848"/>
            <a:chExt cx="937795" cy="385342"/>
          </a:xfrm>
        </p:grpSpPr>
        <p:sp>
          <p:nvSpPr>
            <p:cNvPr id="12" name="Isosceles Triangle 11">
              <a:extLst>
                <a:ext uri="{FF2B5EF4-FFF2-40B4-BE49-F238E27FC236}">
                  <a16:creationId xmlns="" xmlns:a16="http://schemas.microsoft.com/office/drawing/2014/main" id="{35B3CE62-F491-498C-8FB7-E66CFD69DB95}"/>
                </a:ext>
              </a:extLst>
            </p:cNvPr>
            <p:cNvSpPr>
              <a:spLocks noChangeAspect="1"/>
            </p:cNvSpPr>
            <p:nvPr/>
          </p:nvSpPr>
          <p:spPr bwMode="gray">
            <a:xfrm rot="9927096">
              <a:off x="8132907" y="1349645"/>
              <a:ext cx="73611" cy="63458"/>
            </a:xfrm>
            <a:prstGeom prst="triangle">
              <a:avLst/>
            </a:prstGeom>
            <a:solidFill>
              <a:schemeClr val="bg2"/>
            </a:solidFill>
            <a:ln w="9525">
              <a:solidFill>
                <a:srgbClr val="007F7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050" dirty="0">
                <a:solidFill>
                  <a:schemeClr val="tx1"/>
                </a:solidFill>
              </a:endParaRPr>
            </a:p>
          </p:txBody>
        </p:sp>
        <p:sp>
          <p:nvSpPr>
            <p:cNvPr id="13" name="Oval 12">
              <a:extLst>
                <a:ext uri="{FF2B5EF4-FFF2-40B4-BE49-F238E27FC236}">
                  <a16:creationId xmlns="" xmlns:a16="http://schemas.microsoft.com/office/drawing/2014/main" id="{D5057345-1014-4E3D-8249-CA3762D4EBD7}"/>
                </a:ext>
              </a:extLst>
            </p:cNvPr>
            <p:cNvSpPr/>
            <p:nvPr/>
          </p:nvSpPr>
          <p:spPr>
            <a:xfrm>
              <a:off x="8002635" y="1243852"/>
              <a:ext cx="50253" cy="50252"/>
            </a:xfrm>
            <a:prstGeom prst="ellipse">
              <a:avLst/>
            </a:prstGeom>
            <a:solidFill>
              <a:schemeClr val="bg2"/>
            </a:solidFill>
            <a:ln w="12700" cap="flat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 b="1" dirty="0">
                <a:solidFill>
                  <a:schemeClr val="bg1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14" name="Oval 13">
              <a:extLst>
                <a:ext uri="{FF2B5EF4-FFF2-40B4-BE49-F238E27FC236}">
                  <a16:creationId xmlns="" xmlns:a16="http://schemas.microsoft.com/office/drawing/2014/main" id="{63F9707F-DBB8-47E1-9D38-404826C77867}"/>
                </a:ext>
              </a:extLst>
            </p:cNvPr>
            <p:cNvSpPr/>
            <p:nvPr/>
          </p:nvSpPr>
          <p:spPr>
            <a:xfrm>
              <a:off x="8530035" y="1349312"/>
              <a:ext cx="212364" cy="212364"/>
            </a:xfrm>
            <a:prstGeom prst="ellipse">
              <a:avLst/>
            </a:prstGeom>
            <a:solidFill>
              <a:schemeClr val="accent5"/>
            </a:solidFill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ot="0" spcFirstLastPara="0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15" name="Arc 14">
              <a:extLst>
                <a:ext uri="{FF2B5EF4-FFF2-40B4-BE49-F238E27FC236}">
                  <a16:creationId xmlns="" xmlns:a16="http://schemas.microsoft.com/office/drawing/2014/main" id="{83A64A2A-0C53-4047-8B19-03F3FE3B04D9}"/>
                </a:ext>
              </a:extLst>
            </p:cNvPr>
            <p:cNvSpPr/>
            <p:nvPr/>
          </p:nvSpPr>
          <p:spPr bwMode="gray">
            <a:xfrm>
              <a:off x="8486575" y="1267966"/>
              <a:ext cx="283644" cy="247796"/>
            </a:xfrm>
            <a:prstGeom prst="arc">
              <a:avLst>
                <a:gd name="adj1" fmla="val 11178900"/>
                <a:gd name="adj2" fmla="val 21075396"/>
              </a:avLst>
            </a:prstGeom>
            <a:ln w="19050" cap="flat">
              <a:solidFill>
                <a:schemeClr val="accent5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100" dirty="0"/>
            </a:p>
          </p:txBody>
        </p:sp>
        <p:sp>
          <p:nvSpPr>
            <p:cNvPr id="16" name="Isosceles Triangle 15">
              <a:extLst>
                <a:ext uri="{FF2B5EF4-FFF2-40B4-BE49-F238E27FC236}">
                  <a16:creationId xmlns="" xmlns:a16="http://schemas.microsoft.com/office/drawing/2014/main" id="{AD34A29D-9581-4661-BAC6-DFB4DF1F5397}"/>
                </a:ext>
              </a:extLst>
            </p:cNvPr>
            <p:cNvSpPr>
              <a:spLocks noChangeAspect="1"/>
            </p:cNvSpPr>
            <p:nvPr/>
          </p:nvSpPr>
          <p:spPr bwMode="gray">
            <a:xfrm rot="9927096">
              <a:off x="8734789" y="1347929"/>
              <a:ext cx="73611" cy="63458"/>
            </a:xfrm>
            <a:prstGeom prst="triangle">
              <a:avLst/>
            </a:prstGeom>
            <a:solidFill>
              <a:schemeClr val="accent5"/>
            </a:solidFill>
            <a:ln w="952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050" dirty="0">
                <a:solidFill>
                  <a:schemeClr val="tx1"/>
                </a:solidFill>
              </a:endParaRPr>
            </a:p>
          </p:txBody>
        </p:sp>
        <p:sp>
          <p:nvSpPr>
            <p:cNvPr id="17" name="Oval 16">
              <a:extLst>
                <a:ext uri="{FF2B5EF4-FFF2-40B4-BE49-F238E27FC236}">
                  <a16:creationId xmlns="" xmlns:a16="http://schemas.microsoft.com/office/drawing/2014/main" id="{BFF74F25-EB5E-4527-8581-0E164F89C80F}"/>
                </a:ext>
              </a:extLst>
            </p:cNvPr>
            <p:cNvSpPr/>
            <p:nvPr/>
          </p:nvSpPr>
          <p:spPr>
            <a:xfrm>
              <a:off x="8611091" y="1243852"/>
              <a:ext cx="50253" cy="50252"/>
            </a:xfrm>
            <a:prstGeom prst="ellipse">
              <a:avLst/>
            </a:prstGeom>
            <a:solidFill>
              <a:schemeClr val="accent5"/>
            </a:solidFill>
            <a:ln w="12700" cap="flat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 b="1" dirty="0">
                <a:solidFill>
                  <a:schemeClr val="bg1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="" xmlns:a16="http://schemas.microsoft.com/office/drawing/2014/main" id="{00A129B6-615D-417E-A5FF-BF0A72E04226}"/>
                </a:ext>
              </a:extLst>
            </p:cNvPr>
            <p:cNvSpPr/>
            <p:nvPr/>
          </p:nvSpPr>
          <p:spPr>
            <a:xfrm>
              <a:off x="8486575" y="1225848"/>
              <a:ext cx="328615" cy="385342"/>
            </a:xfrm>
            <a:prstGeom prst="rect">
              <a:avLst/>
            </a:prstGeom>
            <a:solidFill>
              <a:schemeClr val="bg1">
                <a:alpha val="80000"/>
              </a:schemeClr>
            </a:solidFill>
            <a:ln w="6350" cap="flat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900"/>
                </a:spcBef>
              </a:pPr>
              <a:endParaRPr lang="en-US" sz="140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9" name="Oval 18">
              <a:extLst>
                <a:ext uri="{FF2B5EF4-FFF2-40B4-BE49-F238E27FC236}">
                  <a16:creationId xmlns="" xmlns:a16="http://schemas.microsoft.com/office/drawing/2014/main" id="{3E98A2CE-5146-4C5F-A545-6FDD7370DFB0}"/>
                </a:ext>
              </a:extLst>
            </p:cNvPr>
            <p:cNvSpPr/>
            <p:nvPr/>
          </p:nvSpPr>
          <p:spPr>
            <a:xfrm>
              <a:off x="7921579" y="1349312"/>
              <a:ext cx="212364" cy="212364"/>
            </a:xfrm>
            <a:prstGeom prst="ellipse">
              <a:avLst/>
            </a:prstGeom>
            <a:solidFill>
              <a:schemeClr val="bg2"/>
            </a:solidFill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ot="0" spcFirstLastPara="0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20" name="Arc 19">
              <a:extLst>
                <a:ext uri="{FF2B5EF4-FFF2-40B4-BE49-F238E27FC236}">
                  <a16:creationId xmlns="" xmlns:a16="http://schemas.microsoft.com/office/drawing/2014/main" id="{A0AB8420-2770-4899-AC43-A47624E481BC}"/>
                </a:ext>
              </a:extLst>
            </p:cNvPr>
            <p:cNvSpPr/>
            <p:nvPr/>
          </p:nvSpPr>
          <p:spPr bwMode="gray">
            <a:xfrm>
              <a:off x="7883769" y="1267966"/>
              <a:ext cx="283644" cy="247796"/>
            </a:xfrm>
            <a:prstGeom prst="arc">
              <a:avLst>
                <a:gd name="adj1" fmla="val 11178900"/>
                <a:gd name="adj2" fmla="val 21075396"/>
              </a:avLst>
            </a:prstGeom>
            <a:ln w="19050" cap="flat">
              <a:solidFill>
                <a:schemeClr val="bg2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100" dirty="0"/>
            </a:p>
          </p:txBody>
        </p:sp>
        <p:sp>
          <p:nvSpPr>
            <p:cNvPr id="21" name="Rectangle 20">
              <a:extLst>
                <a:ext uri="{FF2B5EF4-FFF2-40B4-BE49-F238E27FC236}">
                  <a16:creationId xmlns="" xmlns:a16="http://schemas.microsoft.com/office/drawing/2014/main" id="{33C5B095-13E5-455C-9204-B2BD9ABC7DCF}"/>
                </a:ext>
              </a:extLst>
            </p:cNvPr>
            <p:cNvSpPr/>
            <p:nvPr/>
          </p:nvSpPr>
          <p:spPr>
            <a:xfrm>
              <a:off x="7877395" y="1225848"/>
              <a:ext cx="328615" cy="385342"/>
            </a:xfrm>
            <a:prstGeom prst="rect">
              <a:avLst/>
            </a:prstGeom>
            <a:solidFill>
              <a:schemeClr val="bg1">
                <a:alpha val="80000"/>
              </a:schemeClr>
            </a:solidFill>
            <a:ln w="6350" cap="flat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900"/>
                </a:spcBef>
              </a:pPr>
              <a:endParaRPr lang="en-US" sz="140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2" name="Oval 21">
              <a:extLst>
                <a:ext uri="{FF2B5EF4-FFF2-40B4-BE49-F238E27FC236}">
                  <a16:creationId xmlns="" xmlns:a16="http://schemas.microsoft.com/office/drawing/2014/main" id="{22C1417D-C0DF-425F-B1EA-C0A7EC164858}"/>
                </a:ext>
              </a:extLst>
            </p:cNvPr>
            <p:cNvSpPr/>
            <p:nvPr/>
          </p:nvSpPr>
          <p:spPr>
            <a:xfrm>
              <a:off x="8225098" y="1244357"/>
              <a:ext cx="212364" cy="212364"/>
            </a:xfrm>
            <a:prstGeom prst="ellipse">
              <a:avLst/>
            </a:prstGeom>
            <a:solidFill>
              <a:schemeClr val="accent1"/>
            </a:solidFill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ot="0" spcFirstLastPara="0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23" name="Arc 22">
              <a:extLst>
                <a:ext uri="{FF2B5EF4-FFF2-40B4-BE49-F238E27FC236}">
                  <a16:creationId xmlns="" xmlns:a16="http://schemas.microsoft.com/office/drawing/2014/main" id="{6A0208D0-2202-4068-9629-F81575FE5B60}"/>
                </a:ext>
              </a:extLst>
            </p:cNvPr>
            <p:cNvSpPr/>
            <p:nvPr/>
          </p:nvSpPr>
          <p:spPr bwMode="gray">
            <a:xfrm flipV="1">
              <a:off x="8184095" y="1313981"/>
              <a:ext cx="283644" cy="247373"/>
            </a:xfrm>
            <a:prstGeom prst="arc">
              <a:avLst>
                <a:gd name="adj1" fmla="val 11178900"/>
                <a:gd name="adj2" fmla="val 21075396"/>
              </a:avLst>
            </a:prstGeom>
            <a:ln w="19050" cap="flat">
              <a:solidFill>
                <a:schemeClr val="accent1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100" dirty="0"/>
            </a:p>
          </p:txBody>
        </p:sp>
        <p:sp>
          <p:nvSpPr>
            <p:cNvPr id="24" name="Isosceles Triangle 23">
              <a:extLst>
                <a:ext uri="{FF2B5EF4-FFF2-40B4-BE49-F238E27FC236}">
                  <a16:creationId xmlns="" xmlns:a16="http://schemas.microsoft.com/office/drawing/2014/main" id="{401D8938-53A8-4EF6-9FC7-7B0105B2302E}"/>
                </a:ext>
              </a:extLst>
            </p:cNvPr>
            <p:cNvSpPr>
              <a:spLocks noChangeAspect="1"/>
            </p:cNvSpPr>
            <p:nvPr/>
          </p:nvSpPr>
          <p:spPr bwMode="gray">
            <a:xfrm rot="11672904" flipV="1">
              <a:off x="8432310" y="1418179"/>
              <a:ext cx="73611" cy="63349"/>
            </a:xfrm>
            <a:prstGeom prst="triangle">
              <a:avLst/>
            </a:prstGeom>
            <a:solidFill>
              <a:schemeClr val="accent1"/>
            </a:solidFill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050" dirty="0">
                <a:solidFill>
                  <a:schemeClr val="tx1"/>
                </a:solidFill>
              </a:endParaRPr>
            </a:p>
          </p:txBody>
        </p:sp>
        <p:sp>
          <p:nvSpPr>
            <p:cNvPr id="25" name="Oval 24">
              <a:extLst>
                <a:ext uri="{FF2B5EF4-FFF2-40B4-BE49-F238E27FC236}">
                  <a16:creationId xmlns="" xmlns:a16="http://schemas.microsoft.com/office/drawing/2014/main" id="{98170558-834B-4009-B86E-FFC6DBC68739}"/>
                </a:ext>
              </a:extLst>
            </p:cNvPr>
            <p:cNvSpPr/>
            <p:nvPr/>
          </p:nvSpPr>
          <p:spPr>
            <a:xfrm>
              <a:off x="8306154" y="1537095"/>
              <a:ext cx="50253" cy="50252"/>
            </a:xfrm>
            <a:prstGeom prst="ellipse">
              <a:avLst/>
            </a:prstGeom>
            <a:solidFill>
              <a:schemeClr val="accent1"/>
            </a:solidFill>
            <a:ln w="12700" cap="flat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 b="1" dirty="0">
                <a:solidFill>
                  <a:schemeClr val="bg1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</p:grpSp>
      <p:sp>
        <p:nvSpPr>
          <p:cNvPr id="28" name="Rectangle 27">
            <a:extLst>
              <a:ext uri="{FF2B5EF4-FFF2-40B4-BE49-F238E27FC236}">
                <a16:creationId xmlns="" xmlns:a16="http://schemas.microsoft.com/office/drawing/2014/main" id="{8CB181B4-F7F7-46DD-8436-013077DF9C04}"/>
              </a:ext>
            </a:extLst>
          </p:cNvPr>
          <p:cNvSpPr/>
          <p:nvPr/>
        </p:nvSpPr>
        <p:spPr>
          <a:xfrm>
            <a:off x="246381" y="1640823"/>
            <a:ext cx="8646794" cy="996090"/>
          </a:xfrm>
          <a:prstGeom prst="rect">
            <a:avLst/>
          </a:prstGeom>
          <a:noFill/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97212" indent="-97212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Random </a:t>
            </a:r>
            <a:r>
              <a:rPr lang="en-US" sz="12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Forest</a:t>
            </a:r>
            <a:endParaRPr lang="en-US" sz="12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27" name="Picture 26" descr="img.png">
            <a:extLst>
              <a:ext uri="{FF2B5EF4-FFF2-40B4-BE49-F238E27FC236}">
                <a16:creationId xmlns="" xmlns:a16="http://schemas.microsoft.com/office/drawing/2014/main" id="{CAD99C5D-4073-4B3A-B157-BD33CDCEB087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0198" y="2081987"/>
            <a:ext cx="8743605" cy="41602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434830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AA16B7AC-F676-4F67-8813-4F8F68AAD7D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254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="" xmlns:a16="http://schemas.microsoft.com/office/drawing/2014/main" id="{AA16B7AC-F676-4F67-8813-4F8F68AAD7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="" xmlns:a16="http://schemas.microsoft.com/office/drawing/2014/main" id="{260A3D96-399B-450E-B597-24C3AA9AE05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US" sz="240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="" xmlns:a16="http://schemas.microsoft.com/office/drawing/2014/main" id="{48D13E25-DCE9-4BCE-806B-429683B77FA6}"/>
              </a:ext>
            </a:extLst>
          </p:cNvPr>
          <p:cNvSpPr txBox="1"/>
          <p:nvPr/>
        </p:nvSpPr>
        <p:spPr>
          <a:xfrm>
            <a:off x="244474" y="1301507"/>
            <a:ext cx="6840220" cy="249299"/>
          </a:xfrm>
          <a:prstGeom prst="rect">
            <a:avLst/>
          </a:prstGeom>
          <a:noFill/>
          <a:ln w="6350" cap="flat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A5FFFF"/>
                </a:solidFill>
              </a14:hiddenFill>
            </a:ext>
          </a:extLst>
        </p:spPr>
        <p:txBody>
          <a:bodyPr vert="horz" wrap="square" lIns="365760" tIns="0" rIns="0" bIns="0" rtlCol="0" anchor="t" anchorCtr="0">
            <a:sp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2"/>
              </a:buClr>
            </a:pP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Machine Learning Modeling and Evaluation</a:t>
            </a:r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7956AB31-F718-491D-AAC7-99EB166076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4507" y="493495"/>
            <a:ext cx="7604094" cy="338554"/>
          </a:xfrm>
        </p:spPr>
        <p:txBody>
          <a:bodyPr/>
          <a:lstStyle/>
          <a:p>
            <a:r>
              <a:rPr lang="en-US" b="1" dirty="0"/>
              <a:t>Framework</a:t>
            </a:r>
          </a:p>
        </p:txBody>
      </p:sp>
      <p:sp>
        <p:nvSpPr>
          <p:cNvPr id="5" name="Oval 4">
            <a:extLst>
              <a:ext uri="{FF2B5EF4-FFF2-40B4-BE49-F238E27FC236}">
                <a16:creationId xmlns="" xmlns:a16="http://schemas.microsoft.com/office/drawing/2014/main" id="{3D60A96E-A8F3-4D57-873D-4053E79B24CA}"/>
              </a:ext>
            </a:extLst>
          </p:cNvPr>
          <p:cNvSpPr/>
          <p:nvPr/>
        </p:nvSpPr>
        <p:spPr>
          <a:xfrm>
            <a:off x="246380" y="1273567"/>
            <a:ext cx="279400" cy="279400"/>
          </a:xfrm>
          <a:prstGeom prst="ellipse">
            <a:avLst/>
          </a:prstGeom>
          <a:solidFill>
            <a:schemeClr val="accent1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1600" b="1" dirty="0">
                <a:solidFill>
                  <a:schemeClr val="bg1"/>
                </a:solidFill>
                <a:latin typeface="Arial" panose="020B0604020202020204" pitchFamily="34" charset="0"/>
                <a:cs typeface="Arial" pitchFamily="34" charset="0"/>
              </a:rPr>
              <a:t>5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="" xmlns:a16="http://schemas.microsoft.com/office/drawing/2014/main" id="{0BBEB72A-2139-4645-915E-CEC28070B56D}"/>
              </a:ext>
            </a:extLst>
          </p:cNvPr>
          <p:cNvGrpSpPr/>
          <p:nvPr/>
        </p:nvGrpSpPr>
        <p:grpSpPr>
          <a:xfrm>
            <a:off x="7877395" y="1225848"/>
            <a:ext cx="937795" cy="385342"/>
            <a:chOff x="7877395" y="1225848"/>
            <a:chExt cx="937795" cy="385342"/>
          </a:xfrm>
        </p:grpSpPr>
        <p:sp>
          <p:nvSpPr>
            <p:cNvPr id="12" name="Isosceles Triangle 11">
              <a:extLst>
                <a:ext uri="{FF2B5EF4-FFF2-40B4-BE49-F238E27FC236}">
                  <a16:creationId xmlns="" xmlns:a16="http://schemas.microsoft.com/office/drawing/2014/main" id="{35B3CE62-F491-498C-8FB7-E66CFD69DB95}"/>
                </a:ext>
              </a:extLst>
            </p:cNvPr>
            <p:cNvSpPr>
              <a:spLocks noChangeAspect="1"/>
            </p:cNvSpPr>
            <p:nvPr/>
          </p:nvSpPr>
          <p:spPr bwMode="gray">
            <a:xfrm rot="9927096">
              <a:off x="8132907" y="1349645"/>
              <a:ext cx="73611" cy="63458"/>
            </a:xfrm>
            <a:prstGeom prst="triangle">
              <a:avLst/>
            </a:prstGeom>
            <a:solidFill>
              <a:schemeClr val="bg2"/>
            </a:solidFill>
            <a:ln w="9525">
              <a:solidFill>
                <a:srgbClr val="007F7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050" dirty="0">
                <a:solidFill>
                  <a:schemeClr val="tx1"/>
                </a:solidFill>
              </a:endParaRPr>
            </a:p>
          </p:txBody>
        </p:sp>
        <p:sp>
          <p:nvSpPr>
            <p:cNvPr id="13" name="Oval 12">
              <a:extLst>
                <a:ext uri="{FF2B5EF4-FFF2-40B4-BE49-F238E27FC236}">
                  <a16:creationId xmlns="" xmlns:a16="http://schemas.microsoft.com/office/drawing/2014/main" id="{D5057345-1014-4E3D-8249-CA3762D4EBD7}"/>
                </a:ext>
              </a:extLst>
            </p:cNvPr>
            <p:cNvSpPr/>
            <p:nvPr/>
          </p:nvSpPr>
          <p:spPr>
            <a:xfrm>
              <a:off x="8002635" y="1243852"/>
              <a:ext cx="50253" cy="50252"/>
            </a:xfrm>
            <a:prstGeom prst="ellipse">
              <a:avLst/>
            </a:prstGeom>
            <a:solidFill>
              <a:schemeClr val="bg2"/>
            </a:solidFill>
            <a:ln w="12700" cap="flat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 b="1" dirty="0">
                <a:solidFill>
                  <a:schemeClr val="bg1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14" name="Oval 13">
              <a:extLst>
                <a:ext uri="{FF2B5EF4-FFF2-40B4-BE49-F238E27FC236}">
                  <a16:creationId xmlns="" xmlns:a16="http://schemas.microsoft.com/office/drawing/2014/main" id="{63F9707F-DBB8-47E1-9D38-404826C77867}"/>
                </a:ext>
              </a:extLst>
            </p:cNvPr>
            <p:cNvSpPr/>
            <p:nvPr/>
          </p:nvSpPr>
          <p:spPr>
            <a:xfrm>
              <a:off x="8530035" y="1349312"/>
              <a:ext cx="212364" cy="212364"/>
            </a:xfrm>
            <a:prstGeom prst="ellipse">
              <a:avLst/>
            </a:prstGeom>
            <a:solidFill>
              <a:schemeClr val="accent5"/>
            </a:solidFill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ot="0" spcFirstLastPara="0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15" name="Arc 14">
              <a:extLst>
                <a:ext uri="{FF2B5EF4-FFF2-40B4-BE49-F238E27FC236}">
                  <a16:creationId xmlns="" xmlns:a16="http://schemas.microsoft.com/office/drawing/2014/main" id="{83A64A2A-0C53-4047-8B19-03F3FE3B04D9}"/>
                </a:ext>
              </a:extLst>
            </p:cNvPr>
            <p:cNvSpPr/>
            <p:nvPr/>
          </p:nvSpPr>
          <p:spPr bwMode="gray">
            <a:xfrm>
              <a:off x="8486575" y="1267966"/>
              <a:ext cx="283644" cy="247796"/>
            </a:xfrm>
            <a:prstGeom prst="arc">
              <a:avLst>
                <a:gd name="adj1" fmla="val 11178900"/>
                <a:gd name="adj2" fmla="val 21075396"/>
              </a:avLst>
            </a:prstGeom>
            <a:ln w="19050" cap="flat">
              <a:solidFill>
                <a:schemeClr val="accent5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100" dirty="0"/>
            </a:p>
          </p:txBody>
        </p:sp>
        <p:sp>
          <p:nvSpPr>
            <p:cNvPr id="16" name="Isosceles Triangle 15">
              <a:extLst>
                <a:ext uri="{FF2B5EF4-FFF2-40B4-BE49-F238E27FC236}">
                  <a16:creationId xmlns="" xmlns:a16="http://schemas.microsoft.com/office/drawing/2014/main" id="{AD34A29D-9581-4661-BAC6-DFB4DF1F5397}"/>
                </a:ext>
              </a:extLst>
            </p:cNvPr>
            <p:cNvSpPr>
              <a:spLocks noChangeAspect="1"/>
            </p:cNvSpPr>
            <p:nvPr/>
          </p:nvSpPr>
          <p:spPr bwMode="gray">
            <a:xfrm rot="9927096">
              <a:off x="8734789" y="1347929"/>
              <a:ext cx="73611" cy="63458"/>
            </a:xfrm>
            <a:prstGeom prst="triangle">
              <a:avLst/>
            </a:prstGeom>
            <a:solidFill>
              <a:schemeClr val="accent5"/>
            </a:solidFill>
            <a:ln w="952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050" dirty="0">
                <a:solidFill>
                  <a:schemeClr val="tx1"/>
                </a:solidFill>
              </a:endParaRPr>
            </a:p>
          </p:txBody>
        </p:sp>
        <p:sp>
          <p:nvSpPr>
            <p:cNvPr id="17" name="Oval 16">
              <a:extLst>
                <a:ext uri="{FF2B5EF4-FFF2-40B4-BE49-F238E27FC236}">
                  <a16:creationId xmlns="" xmlns:a16="http://schemas.microsoft.com/office/drawing/2014/main" id="{BFF74F25-EB5E-4527-8581-0E164F89C80F}"/>
                </a:ext>
              </a:extLst>
            </p:cNvPr>
            <p:cNvSpPr/>
            <p:nvPr/>
          </p:nvSpPr>
          <p:spPr>
            <a:xfrm>
              <a:off x="8611091" y="1243852"/>
              <a:ext cx="50253" cy="50252"/>
            </a:xfrm>
            <a:prstGeom prst="ellipse">
              <a:avLst/>
            </a:prstGeom>
            <a:solidFill>
              <a:schemeClr val="accent5"/>
            </a:solidFill>
            <a:ln w="12700" cap="flat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 b="1" dirty="0">
                <a:solidFill>
                  <a:schemeClr val="bg1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="" xmlns:a16="http://schemas.microsoft.com/office/drawing/2014/main" id="{00A129B6-615D-417E-A5FF-BF0A72E04226}"/>
                </a:ext>
              </a:extLst>
            </p:cNvPr>
            <p:cNvSpPr/>
            <p:nvPr/>
          </p:nvSpPr>
          <p:spPr>
            <a:xfrm>
              <a:off x="8486575" y="1225848"/>
              <a:ext cx="328615" cy="385342"/>
            </a:xfrm>
            <a:prstGeom prst="rect">
              <a:avLst/>
            </a:prstGeom>
            <a:solidFill>
              <a:schemeClr val="bg1">
                <a:alpha val="80000"/>
              </a:schemeClr>
            </a:solidFill>
            <a:ln w="6350" cap="flat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900"/>
                </a:spcBef>
              </a:pPr>
              <a:endParaRPr lang="en-US" sz="140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9" name="Oval 18">
              <a:extLst>
                <a:ext uri="{FF2B5EF4-FFF2-40B4-BE49-F238E27FC236}">
                  <a16:creationId xmlns="" xmlns:a16="http://schemas.microsoft.com/office/drawing/2014/main" id="{3E98A2CE-5146-4C5F-A545-6FDD7370DFB0}"/>
                </a:ext>
              </a:extLst>
            </p:cNvPr>
            <p:cNvSpPr/>
            <p:nvPr/>
          </p:nvSpPr>
          <p:spPr>
            <a:xfrm>
              <a:off x="7921579" y="1349312"/>
              <a:ext cx="212364" cy="212364"/>
            </a:xfrm>
            <a:prstGeom prst="ellipse">
              <a:avLst/>
            </a:prstGeom>
            <a:solidFill>
              <a:schemeClr val="bg2"/>
            </a:solidFill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ot="0" spcFirstLastPara="0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20" name="Arc 19">
              <a:extLst>
                <a:ext uri="{FF2B5EF4-FFF2-40B4-BE49-F238E27FC236}">
                  <a16:creationId xmlns="" xmlns:a16="http://schemas.microsoft.com/office/drawing/2014/main" id="{A0AB8420-2770-4899-AC43-A47624E481BC}"/>
                </a:ext>
              </a:extLst>
            </p:cNvPr>
            <p:cNvSpPr/>
            <p:nvPr/>
          </p:nvSpPr>
          <p:spPr bwMode="gray">
            <a:xfrm>
              <a:off x="7883769" y="1267966"/>
              <a:ext cx="283644" cy="247796"/>
            </a:xfrm>
            <a:prstGeom prst="arc">
              <a:avLst>
                <a:gd name="adj1" fmla="val 11178900"/>
                <a:gd name="adj2" fmla="val 21075396"/>
              </a:avLst>
            </a:prstGeom>
            <a:ln w="19050" cap="flat">
              <a:solidFill>
                <a:schemeClr val="bg2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100" dirty="0"/>
            </a:p>
          </p:txBody>
        </p:sp>
        <p:sp>
          <p:nvSpPr>
            <p:cNvPr id="21" name="Rectangle 20">
              <a:extLst>
                <a:ext uri="{FF2B5EF4-FFF2-40B4-BE49-F238E27FC236}">
                  <a16:creationId xmlns="" xmlns:a16="http://schemas.microsoft.com/office/drawing/2014/main" id="{33C5B095-13E5-455C-9204-B2BD9ABC7DCF}"/>
                </a:ext>
              </a:extLst>
            </p:cNvPr>
            <p:cNvSpPr/>
            <p:nvPr/>
          </p:nvSpPr>
          <p:spPr>
            <a:xfrm>
              <a:off x="7877395" y="1225848"/>
              <a:ext cx="328615" cy="385342"/>
            </a:xfrm>
            <a:prstGeom prst="rect">
              <a:avLst/>
            </a:prstGeom>
            <a:solidFill>
              <a:schemeClr val="bg1">
                <a:alpha val="80000"/>
              </a:schemeClr>
            </a:solidFill>
            <a:ln w="6350" cap="flat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900"/>
                </a:spcBef>
              </a:pPr>
              <a:endParaRPr lang="en-US" sz="140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2" name="Oval 21">
              <a:extLst>
                <a:ext uri="{FF2B5EF4-FFF2-40B4-BE49-F238E27FC236}">
                  <a16:creationId xmlns="" xmlns:a16="http://schemas.microsoft.com/office/drawing/2014/main" id="{22C1417D-C0DF-425F-B1EA-C0A7EC164858}"/>
                </a:ext>
              </a:extLst>
            </p:cNvPr>
            <p:cNvSpPr/>
            <p:nvPr/>
          </p:nvSpPr>
          <p:spPr>
            <a:xfrm>
              <a:off x="8225098" y="1244357"/>
              <a:ext cx="212364" cy="212364"/>
            </a:xfrm>
            <a:prstGeom prst="ellipse">
              <a:avLst/>
            </a:prstGeom>
            <a:solidFill>
              <a:schemeClr val="accent1"/>
            </a:solidFill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ot="0" spcFirstLastPara="0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23" name="Arc 22">
              <a:extLst>
                <a:ext uri="{FF2B5EF4-FFF2-40B4-BE49-F238E27FC236}">
                  <a16:creationId xmlns="" xmlns:a16="http://schemas.microsoft.com/office/drawing/2014/main" id="{6A0208D0-2202-4068-9629-F81575FE5B60}"/>
                </a:ext>
              </a:extLst>
            </p:cNvPr>
            <p:cNvSpPr/>
            <p:nvPr/>
          </p:nvSpPr>
          <p:spPr bwMode="gray">
            <a:xfrm flipV="1">
              <a:off x="8184095" y="1313981"/>
              <a:ext cx="283644" cy="247373"/>
            </a:xfrm>
            <a:prstGeom prst="arc">
              <a:avLst>
                <a:gd name="adj1" fmla="val 11178900"/>
                <a:gd name="adj2" fmla="val 21075396"/>
              </a:avLst>
            </a:prstGeom>
            <a:ln w="19050" cap="flat">
              <a:solidFill>
                <a:schemeClr val="accent1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100" dirty="0"/>
            </a:p>
          </p:txBody>
        </p:sp>
        <p:sp>
          <p:nvSpPr>
            <p:cNvPr id="24" name="Isosceles Triangle 23">
              <a:extLst>
                <a:ext uri="{FF2B5EF4-FFF2-40B4-BE49-F238E27FC236}">
                  <a16:creationId xmlns="" xmlns:a16="http://schemas.microsoft.com/office/drawing/2014/main" id="{401D8938-53A8-4EF6-9FC7-7B0105B2302E}"/>
                </a:ext>
              </a:extLst>
            </p:cNvPr>
            <p:cNvSpPr>
              <a:spLocks noChangeAspect="1"/>
            </p:cNvSpPr>
            <p:nvPr/>
          </p:nvSpPr>
          <p:spPr bwMode="gray">
            <a:xfrm rot="11672904" flipV="1">
              <a:off x="8432310" y="1418179"/>
              <a:ext cx="73611" cy="63349"/>
            </a:xfrm>
            <a:prstGeom prst="triangle">
              <a:avLst/>
            </a:prstGeom>
            <a:solidFill>
              <a:schemeClr val="accent1"/>
            </a:solidFill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050" dirty="0">
                <a:solidFill>
                  <a:schemeClr val="tx1"/>
                </a:solidFill>
              </a:endParaRPr>
            </a:p>
          </p:txBody>
        </p:sp>
        <p:sp>
          <p:nvSpPr>
            <p:cNvPr id="25" name="Oval 24">
              <a:extLst>
                <a:ext uri="{FF2B5EF4-FFF2-40B4-BE49-F238E27FC236}">
                  <a16:creationId xmlns="" xmlns:a16="http://schemas.microsoft.com/office/drawing/2014/main" id="{98170558-834B-4009-B86E-FFC6DBC68739}"/>
                </a:ext>
              </a:extLst>
            </p:cNvPr>
            <p:cNvSpPr/>
            <p:nvPr/>
          </p:nvSpPr>
          <p:spPr>
            <a:xfrm>
              <a:off x="8306154" y="1537095"/>
              <a:ext cx="50253" cy="50252"/>
            </a:xfrm>
            <a:prstGeom prst="ellipse">
              <a:avLst/>
            </a:prstGeom>
            <a:solidFill>
              <a:schemeClr val="accent1"/>
            </a:solidFill>
            <a:ln w="12700" cap="flat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 b="1" dirty="0">
                <a:solidFill>
                  <a:schemeClr val="bg1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</p:grpSp>
      <p:sp>
        <p:nvSpPr>
          <p:cNvPr id="28" name="Rectangle 27">
            <a:extLst>
              <a:ext uri="{FF2B5EF4-FFF2-40B4-BE49-F238E27FC236}">
                <a16:creationId xmlns="" xmlns:a16="http://schemas.microsoft.com/office/drawing/2014/main" id="{8CB181B4-F7F7-46DD-8436-013077DF9C04}"/>
              </a:ext>
            </a:extLst>
          </p:cNvPr>
          <p:cNvSpPr/>
          <p:nvPr/>
        </p:nvSpPr>
        <p:spPr>
          <a:xfrm>
            <a:off x="246381" y="1640823"/>
            <a:ext cx="8646794" cy="996090"/>
          </a:xfrm>
          <a:prstGeom prst="rect">
            <a:avLst/>
          </a:prstGeom>
          <a:noFill/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97212" indent="-97212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1200" dirty="0" err="1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XGBoost</a:t>
            </a:r>
            <a:endParaRPr lang="en-US" sz="12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27" name="Picture 26" descr="Screen Shot 2020-05-21 at 7.17.59 PM (2).png">
            <a:extLst>
              <a:ext uri="{FF2B5EF4-FFF2-40B4-BE49-F238E27FC236}">
                <a16:creationId xmlns="" xmlns:a16="http://schemas.microsoft.com/office/drawing/2014/main" id="{99F96E63-E27A-4360-B750-CB25C1BCF75F}"/>
              </a:ext>
            </a:extLst>
          </p:cNvPr>
          <p:cNvPicPr preferRelativeResize="0">
            <a:picLocks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952" t="25485" r="30264" b="5698"/>
          <a:stretch/>
        </p:blipFill>
        <p:spPr>
          <a:xfrm>
            <a:off x="1435100" y="2057400"/>
            <a:ext cx="6257223" cy="46847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850337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AA16B7AC-F676-4F67-8813-4F8F68AAD7D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278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="" xmlns:a16="http://schemas.microsoft.com/office/drawing/2014/main" id="{AA16B7AC-F676-4F67-8813-4F8F68AAD7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="" xmlns:a16="http://schemas.microsoft.com/office/drawing/2014/main" id="{260A3D96-399B-450E-B597-24C3AA9AE05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US" sz="240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="" xmlns:a16="http://schemas.microsoft.com/office/drawing/2014/main" id="{48D13E25-DCE9-4BCE-806B-429683B77FA6}"/>
              </a:ext>
            </a:extLst>
          </p:cNvPr>
          <p:cNvSpPr txBox="1"/>
          <p:nvPr/>
        </p:nvSpPr>
        <p:spPr>
          <a:xfrm>
            <a:off x="244474" y="1301507"/>
            <a:ext cx="6840220" cy="249299"/>
          </a:xfrm>
          <a:prstGeom prst="rect">
            <a:avLst/>
          </a:prstGeom>
          <a:noFill/>
          <a:ln w="6350" cap="flat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A5FFFF"/>
                </a:solidFill>
              </a14:hiddenFill>
            </a:ext>
          </a:extLst>
        </p:spPr>
        <p:txBody>
          <a:bodyPr vert="horz" wrap="square" lIns="365760" tIns="0" rIns="0" bIns="0" rtlCol="0" anchor="t" anchorCtr="0">
            <a:sp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2"/>
              </a:buClr>
            </a:pP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Machine Learning Modeling and Evaluation</a:t>
            </a:r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7956AB31-F718-491D-AAC7-99EB166076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4507" y="493495"/>
            <a:ext cx="7604094" cy="338554"/>
          </a:xfrm>
        </p:spPr>
        <p:txBody>
          <a:bodyPr/>
          <a:lstStyle/>
          <a:p>
            <a:r>
              <a:rPr lang="en-US" b="1" dirty="0"/>
              <a:t>Framework</a:t>
            </a:r>
          </a:p>
        </p:txBody>
      </p:sp>
      <p:sp>
        <p:nvSpPr>
          <p:cNvPr id="5" name="Oval 4">
            <a:extLst>
              <a:ext uri="{FF2B5EF4-FFF2-40B4-BE49-F238E27FC236}">
                <a16:creationId xmlns="" xmlns:a16="http://schemas.microsoft.com/office/drawing/2014/main" id="{3D60A96E-A8F3-4D57-873D-4053E79B24CA}"/>
              </a:ext>
            </a:extLst>
          </p:cNvPr>
          <p:cNvSpPr/>
          <p:nvPr/>
        </p:nvSpPr>
        <p:spPr>
          <a:xfrm>
            <a:off x="246380" y="1273567"/>
            <a:ext cx="279400" cy="279400"/>
          </a:xfrm>
          <a:prstGeom prst="ellipse">
            <a:avLst/>
          </a:prstGeom>
          <a:solidFill>
            <a:schemeClr val="accent1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1600" b="1" dirty="0">
                <a:solidFill>
                  <a:schemeClr val="bg1"/>
                </a:solidFill>
                <a:latin typeface="Arial" panose="020B0604020202020204" pitchFamily="34" charset="0"/>
                <a:cs typeface="Arial" pitchFamily="34" charset="0"/>
              </a:rPr>
              <a:t>5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="" xmlns:a16="http://schemas.microsoft.com/office/drawing/2014/main" id="{0BBEB72A-2139-4645-915E-CEC28070B56D}"/>
              </a:ext>
            </a:extLst>
          </p:cNvPr>
          <p:cNvGrpSpPr/>
          <p:nvPr/>
        </p:nvGrpSpPr>
        <p:grpSpPr>
          <a:xfrm>
            <a:off x="7877395" y="1225848"/>
            <a:ext cx="937795" cy="385342"/>
            <a:chOff x="7877395" y="1225848"/>
            <a:chExt cx="937795" cy="385342"/>
          </a:xfrm>
        </p:grpSpPr>
        <p:sp>
          <p:nvSpPr>
            <p:cNvPr id="12" name="Isosceles Triangle 11">
              <a:extLst>
                <a:ext uri="{FF2B5EF4-FFF2-40B4-BE49-F238E27FC236}">
                  <a16:creationId xmlns="" xmlns:a16="http://schemas.microsoft.com/office/drawing/2014/main" id="{35B3CE62-F491-498C-8FB7-E66CFD69DB95}"/>
                </a:ext>
              </a:extLst>
            </p:cNvPr>
            <p:cNvSpPr>
              <a:spLocks noChangeAspect="1"/>
            </p:cNvSpPr>
            <p:nvPr/>
          </p:nvSpPr>
          <p:spPr bwMode="gray">
            <a:xfrm rot="9927096">
              <a:off x="8132907" y="1349645"/>
              <a:ext cx="73611" cy="63458"/>
            </a:xfrm>
            <a:prstGeom prst="triangle">
              <a:avLst/>
            </a:prstGeom>
            <a:solidFill>
              <a:schemeClr val="bg2"/>
            </a:solidFill>
            <a:ln w="9525">
              <a:solidFill>
                <a:srgbClr val="007F7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050" dirty="0">
                <a:solidFill>
                  <a:schemeClr val="tx1"/>
                </a:solidFill>
              </a:endParaRPr>
            </a:p>
          </p:txBody>
        </p:sp>
        <p:sp>
          <p:nvSpPr>
            <p:cNvPr id="13" name="Oval 12">
              <a:extLst>
                <a:ext uri="{FF2B5EF4-FFF2-40B4-BE49-F238E27FC236}">
                  <a16:creationId xmlns="" xmlns:a16="http://schemas.microsoft.com/office/drawing/2014/main" id="{D5057345-1014-4E3D-8249-CA3762D4EBD7}"/>
                </a:ext>
              </a:extLst>
            </p:cNvPr>
            <p:cNvSpPr/>
            <p:nvPr/>
          </p:nvSpPr>
          <p:spPr>
            <a:xfrm>
              <a:off x="8002635" y="1243852"/>
              <a:ext cx="50253" cy="50252"/>
            </a:xfrm>
            <a:prstGeom prst="ellipse">
              <a:avLst/>
            </a:prstGeom>
            <a:solidFill>
              <a:schemeClr val="bg2"/>
            </a:solidFill>
            <a:ln w="12700" cap="flat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 b="1" dirty="0">
                <a:solidFill>
                  <a:schemeClr val="bg1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14" name="Oval 13">
              <a:extLst>
                <a:ext uri="{FF2B5EF4-FFF2-40B4-BE49-F238E27FC236}">
                  <a16:creationId xmlns="" xmlns:a16="http://schemas.microsoft.com/office/drawing/2014/main" id="{63F9707F-DBB8-47E1-9D38-404826C77867}"/>
                </a:ext>
              </a:extLst>
            </p:cNvPr>
            <p:cNvSpPr/>
            <p:nvPr/>
          </p:nvSpPr>
          <p:spPr>
            <a:xfrm>
              <a:off x="8530035" y="1349312"/>
              <a:ext cx="212364" cy="212364"/>
            </a:xfrm>
            <a:prstGeom prst="ellipse">
              <a:avLst/>
            </a:prstGeom>
            <a:solidFill>
              <a:schemeClr val="accent5"/>
            </a:solidFill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ot="0" spcFirstLastPara="0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15" name="Arc 14">
              <a:extLst>
                <a:ext uri="{FF2B5EF4-FFF2-40B4-BE49-F238E27FC236}">
                  <a16:creationId xmlns="" xmlns:a16="http://schemas.microsoft.com/office/drawing/2014/main" id="{83A64A2A-0C53-4047-8B19-03F3FE3B04D9}"/>
                </a:ext>
              </a:extLst>
            </p:cNvPr>
            <p:cNvSpPr/>
            <p:nvPr/>
          </p:nvSpPr>
          <p:spPr bwMode="gray">
            <a:xfrm>
              <a:off x="8486575" y="1267966"/>
              <a:ext cx="283644" cy="247796"/>
            </a:xfrm>
            <a:prstGeom prst="arc">
              <a:avLst>
                <a:gd name="adj1" fmla="val 11178900"/>
                <a:gd name="adj2" fmla="val 21075396"/>
              </a:avLst>
            </a:prstGeom>
            <a:ln w="19050" cap="flat">
              <a:solidFill>
                <a:schemeClr val="accent5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100" dirty="0"/>
            </a:p>
          </p:txBody>
        </p:sp>
        <p:sp>
          <p:nvSpPr>
            <p:cNvPr id="16" name="Isosceles Triangle 15">
              <a:extLst>
                <a:ext uri="{FF2B5EF4-FFF2-40B4-BE49-F238E27FC236}">
                  <a16:creationId xmlns="" xmlns:a16="http://schemas.microsoft.com/office/drawing/2014/main" id="{AD34A29D-9581-4661-BAC6-DFB4DF1F5397}"/>
                </a:ext>
              </a:extLst>
            </p:cNvPr>
            <p:cNvSpPr>
              <a:spLocks noChangeAspect="1"/>
            </p:cNvSpPr>
            <p:nvPr/>
          </p:nvSpPr>
          <p:spPr bwMode="gray">
            <a:xfrm rot="9927096">
              <a:off x="8734789" y="1347929"/>
              <a:ext cx="73611" cy="63458"/>
            </a:xfrm>
            <a:prstGeom prst="triangle">
              <a:avLst/>
            </a:prstGeom>
            <a:solidFill>
              <a:schemeClr val="accent5"/>
            </a:solidFill>
            <a:ln w="952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050" dirty="0">
                <a:solidFill>
                  <a:schemeClr val="tx1"/>
                </a:solidFill>
              </a:endParaRPr>
            </a:p>
          </p:txBody>
        </p:sp>
        <p:sp>
          <p:nvSpPr>
            <p:cNvPr id="17" name="Oval 16">
              <a:extLst>
                <a:ext uri="{FF2B5EF4-FFF2-40B4-BE49-F238E27FC236}">
                  <a16:creationId xmlns="" xmlns:a16="http://schemas.microsoft.com/office/drawing/2014/main" id="{BFF74F25-EB5E-4527-8581-0E164F89C80F}"/>
                </a:ext>
              </a:extLst>
            </p:cNvPr>
            <p:cNvSpPr/>
            <p:nvPr/>
          </p:nvSpPr>
          <p:spPr>
            <a:xfrm>
              <a:off x="8611091" y="1243852"/>
              <a:ext cx="50253" cy="50252"/>
            </a:xfrm>
            <a:prstGeom prst="ellipse">
              <a:avLst/>
            </a:prstGeom>
            <a:solidFill>
              <a:schemeClr val="accent5"/>
            </a:solidFill>
            <a:ln w="12700" cap="flat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 b="1" dirty="0">
                <a:solidFill>
                  <a:schemeClr val="bg1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="" xmlns:a16="http://schemas.microsoft.com/office/drawing/2014/main" id="{00A129B6-615D-417E-A5FF-BF0A72E04226}"/>
                </a:ext>
              </a:extLst>
            </p:cNvPr>
            <p:cNvSpPr/>
            <p:nvPr/>
          </p:nvSpPr>
          <p:spPr>
            <a:xfrm>
              <a:off x="8486575" y="1225848"/>
              <a:ext cx="328615" cy="385342"/>
            </a:xfrm>
            <a:prstGeom prst="rect">
              <a:avLst/>
            </a:prstGeom>
            <a:solidFill>
              <a:schemeClr val="bg1">
                <a:alpha val="80000"/>
              </a:schemeClr>
            </a:solidFill>
            <a:ln w="6350" cap="flat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900"/>
                </a:spcBef>
              </a:pPr>
              <a:endParaRPr lang="en-US" sz="140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9" name="Oval 18">
              <a:extLst>
                <a:ext uri="{FF2B5EF4-FFF2-40B4-BE49-F238E27FC236}">
                  <a16:creationId xmlns="" xmlns:a16="http://schemas.microsoft.com/office/drawing/2014/main" id="{3E98A2CE-5146-4C5F-A545-6FDD7370DFB0}"/>
                </a:ext>
              </a:extLst>
            </p:cNvPr>
            <p:cNvSpPr/>
            <p:nvPr/>
          </p:nvSpPr>
          <p:spPr>
            <a:xfrm>
              <a:off x="7921579" y="1349312"/>
              <a:ext cx="212364" cy="212364"/>
            </a:xfrm>
            <a:prstGeom prst="ellipse">
              <a:avLst/>
            </a:prstGeom>
            <a:solidFill>
              <a:schemeClr val="bg2"/>
            </a:solidFill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ot="0" spcFirstLastPara="0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20" name="Arc 19">
              <a:extLst>
                <a:ext uri="{FF2B5EF4-FFF2-40B4-BE49-F238E27FC236}">
                  <a16:creationId xmlns="" xmlns:a16="http://schemas.microsoft.com/office/drawing/2014/main" id="{A0AB8420-2770-4899-AC43-A47624E481BC}"/>
                </a:ext>
              </a:extLst>
            </p:cNvPr>
            <p:cNvSpPr/>
            <p:nvPr/>
          </p:nvSpPr>
          <p:spPr bwMode="gray">
            <a:xfrm>
              <a:off x="7883769" y="1267966"/>
              <a:ext cx="283644" cy="247796"/>
            </a:xfrm>
            <a:prstGeom prst="arc">
              <a:avLst>
                <a:gd name="adj1" fmla="val 11178900"/>
                <a:gd name="adj2" fmla="val 21075396"/>
              </a:avLst>
            </a:prstGeom>
            <a:ln w="19050" cap="flat">
              <a:solidFill>
                <a:schemeClr val="bg2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100" dirty="0"/>
            </a:p>
          </p:txBody>
        </p:sp>
        <p:sp>
          <p:nvSpPr>
            <p:cNvPr id="21" name="Rectangle 20">
              <a:extLst>
                <a:ext uri="{FF2B5EF4-FFF2-40B4-BE49-F238E27FC236}">
                  <a16:creationId xmlns="" xmlns:a16="http://schemas.microsoft.com/office/drawing/2014/main" id="{33C5B095-13E5-455C-9204-B2BD9ABC7DCF}"/>
                </a:ext>
              </a:extLst>
            </p:cNvPr>
            <p:cNvSpPr/>
            <p:nvPr/>
          </p:nvSpPr>
          <p:spPr>
            <a:xfrm>
              <a:off x="7877395" y="1225848"/>
              <a:ext cx="328615" cy="385342"/>
            </a:xfrm>
            <a:prstGeom prst="rect">
              <a:avLst/>
            </a:prstGeom>
            <a:solidFill>
              <a:schemeClr val="bg1">
                <a:alpha val="80000"/>
              </a:schemeClr>
            </a:solidFill>
            <a:ln w="6350" cap="flat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900"/>
                </a:spcBef>
              </a:pPr>
              <a:endParaRPr lang="en-US" sz="140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2" name="Oval 21">
              <a:extLst>
                <a:ext uri="{FF2B5EF4-FFF2-40B4-BE49-F238E27FC236}">
                  <a16:creationId xmlns="" xmlns:a16="http://schemas.microsoft.com/office/drawing/2014/main" id="{22C1417D-C0DF-425F-B1EA-C0A7EC164858}"/>
                </a:ext>
              </a:extLst>
            </p:cNvPr>
            <p:cNvSpPr/>
            <p:nvPr/>
          </p:nvSpPr>
          <p:spPr>
            <a:xfrm>
              <a:off x="8225098" y="1244357"/>
              <a:ext cx="212364" cy="212364"/>
            </a:xfrm>
            <a:prstGeom prst="ellipse">
              <a:avLst/>
            </a:prstGeom>
            <a:solidFill>
              <a:schemeClr val="accent1"/>
            </a:solidFill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ot="0" spcFirstLastPara="0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23" name="Arc 22">
              <a:extLst>
                <a:ext uri="{FF2B5EF4-FFF2-40B4-BE49-F238E27FC236}">
                  <a16:creationId xmlns="" xmlns:a16="http://schemas.microsoft.com/office/drawing/2014/main" id="{6A0208D0-2202-4068-9629-F81575FE5B60}"/>
                </a:ext>
              </a:extLst>
            </p:cNvPr>
            <p:cNvSpPr/>
            <p:nvPr/>
          </p:nvSpPr>
          <p:spPr bwMode="gray">
            <a:xfrm flipV="1">
              <a:off x="8184095" y="1313981"/>
              <a:ext cx="283644" cy="247373"/>
            </a:xfrm>
            <a:prstGeom prst="arc">
              <a:avLst>
                <a:gd name="adj1" fmla="val 11178900"/>
                <a:gd name="adj2" fmla="val 21075396"/>
              </a:avLst>
            </a:prstGeom>
            <a:ln w="19050" cap="flat">
              <a:solidFill>
                <a:schemeClr val="accent1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100" dirty="0"/>
            </a:p>
          </p:txBody>
        </p:sp>
        <p:sp>
          <p:nvSpPr>
            <p:cNvPr id="24" name="Isosceles Triangle 23">
              <a:extLst>
                <a:ext uri="{FF2B5EF4-FFF2-40B4-BE49-F238E27FC236}">
                  <a16:creationId xmlns="" xmlns:a16="http://schemas.microsoft.com/office/drawing/2014/main" id="{401D8938-53A8-4EF6-9FC7-7B0105B2302E}"/>
                </a:ext>
              </a:extLst>
            </p:cNvPr>
            <p:cNvSpPr>
              <a:spLocks noChangeAspect="1"/>
            </p:cNvSpPr>
            <p:nvPr/>
          </p:nvSpPr>
          <p:spPr bwMode="gray">
            <a:xfrm rot="11672904" flipV="1">
              <a:off x="8432310" y="1418179"/>
              <a:ext cx="73611" cy="63349"/>
            </a:xfrm>
            <a:prstGeom prst="triangle">
              <a:avLst/>
            </a:prstGeom>
            <a:solidFill>
              <a:schemeClr val="accent1"/>
            </a:solidFill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050" dirty="0">
                <a:solidFill>
                  <a:schemeClr val="tx1"/>
                </a:solidFill>
              </a:endParaRPr>
            </a:p>
          </p:txBody>
        </p:sp>
        <p:sp>
          <p:nvSpPr>
            <p:cNvPr id="25" name="Oval 24">
              <a:extLst>
                <a:ext uri="{FF2B5EF4-FFF2-40B4-BE49-F238E27FC236}">
                  <a16:creationId xmlns="" xmlns:a16="http://schemas.microsoft.com/office/drawing/2014/main" id="{98170558-834B-4009-B86E-FFC6DBC68739}"/>
                </a:ext>
              </a:extLst>
            </p:cNvPr>
            <p:cNvSpPr/>
            <p:nvPr/>
          </p:nvSpPr>
          <p:spPr>
            <a:xfrm>
              <a:off x="8306154" y="1537095"/>
              <a:ext cx="50253" cy="50252"/>
            </a:xfrm>
            <a:prstGeom prst="ellipse">
              <a:avLst/>
            </a:prstGeom>
            <a:solidFill>
              <a:schemeClr val="accent1"/>
            </a:solidFill>
            <a:ln w="12700" cap="flat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 b="1" dirty="0">
                <a:solidFill>
                  <a:schemeClr val="bg1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</p:grpSp>
      <p:pic>
        <p:nvPicPr>
          <p:cNvPr id="26" name="Picture 25" descr="img.png">
            <a:extLst>
              <a:ext uri="{FF2B5EF4-FFF2-40B4-BE49-F238E27FC236}">
                <a16:creationId xmlns="" xmlns:a16="http://schemas.microsoft.com/office/drawing/2014/main" id="{C53830C3-2C1D-459D-B7B1-FACCC9B64E56}"/>
              </a:ext>
            </a:extLst>
          </p:cNvPr>
          <p:cNvPicPr preferRelativeResize="0">
            <a:picLocks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3200" y="2082800"/>
            <a:ext cx="8743605" cy="4160224"/>
          </a:xfrm>
          <a:prstGeom prst="rect">
            <a:avLst/>
          </a:prstGeom>
        </p:spPr>
      </p:pic>
      <p:sp>
        <p:nvSpPr>
          <p:cNvPr id="29" name="Rectangle 28">
            <a:extLst>
              <a:ext uri="{FF2B5EF4-FFF2-40B4-BE49-F238E27FC236}">
                <a16:creationId xmlns="" xmlns:a16="http://schemas.microsoft.com/office/drawing/2014/main" id="{B1B5D2F4-750B-4229-8508-A7066E53E75E}"/>
              </a:ext>
            </a:extLst>
          </p:cNvPr>
          <p:cNvSpPr/>
          <p:nvPr/>
        </p:nvSpPr>
        <p:spPr>
          <a:xfrm>
            <a:off x="246381" y="1640823"/>
            <a:ext cx="8646794" cy="996090"/>
          </a:xfrm>
          <a:prstGeom prst="rect">
            <a:avLst/>
          </a:prstGeom>
          <a:noFill/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97212" indent="-97212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1200" dirty="0" err="1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XGBoost</a:t>
            </a:r>
            <a:endParaRPr lang="en-US" sz="12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9956967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AA16B7AC-F676-4F67-8813-4F8F68AAD7D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444560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350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="" xmlns:a16="http://schemas.microsoft.com/office/drawing/2014/main" id="{AA16B7AC-F676-4F67-8813-4F8F68AAD7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="" xmlns:a16="http://schemas.microsoft.com/office/drawing/2014/main" id="{260A3D96-399B-450E-B597-24C3AA9AE05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US" sz="240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="" xmlns:a16="http://schemas.microsoft.com/office/drawing/2014/main" id="{948A2FB1-4C70-4234-A301-2EDCD6277EF6}"/>
              </a:ext>
            </a:extLst>
          </p:cNvPr>
          <p:cNvSpPr txBox="1"/>
          <p:nvPr/>
        </p:nvSpPr>
        <p:spPr>
          <a:xfrm>
            <a:off x="244473" y="1628140"/>
            <a:ext cx="8570717" cy="447302"/>
          </a:xfrm>
          <a:prstGeom prst="rect">
            <a:avLst/>
          </a:prstGeom>
          <a:noFill/>
          <a:ln w="6350" cap="flat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A5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2"/>
              </a:buClr>
            </a:pPr>
            <a:endParaRPr lang="en-US" sz="16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2"/>
              </a:buClr>
            </a:pPr>
            <a:r>
              <a:rPr 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Accumulated Models Scores</a:t>
            </a:r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95308147"/>
              </p:ext>
            </p:extLst>
          </p:nvPr>
        </p:nvGraphicFramePr>
        <p:xfrm>
          <a:off x="244507" y="2255103"/>
          <a:ext cx="8570682" cy="1854200"/>
        </p:xfrm>
        <a:graphic>
          <a:graphicData uri="http://schemas.openxmlformats.org/drawingml/2006/table">
            <a:tbl>
              <a:tblPr firstRow="1" bandRow="1">
                <a:tableStyleId>{FABFCF23-3B69-468F-B69F-88F6DE6A72F2}</a:tableStyleId>
              </a:tblPr>
              <a:tblGrid>
                <a:gridCol w="2599301"/>
                <a:gridCol w="1404156"/>
                <a:gridCol w="1080120"/>
                <a:gridCol w="1116124"/>
                <a:gridCol w="1260140"/>
                <a:gridCol w="1110841"/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Model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Accuracy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AUC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Recall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Precision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F1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b="1" dirty="0" smtClean="0"/>
                        <a:t>KNN</a:t>
                      </a:r>
                      <a:endParaRPr lang="en-US" sz="14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0.871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0.869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0.849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0.856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0.852</a:t>
                      </a:r>
                      <a:endParaRPr lang="en-US" sz="14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b="1" dirty="0" smtClean="0"/>
                        <a:t>Logistic Regression</a:t>
                      </a:r>
                      <a:endParaRPr lang="en-US" sz="14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0.82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0.813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0.76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0.816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0.787</a:t>
                      </a:r>
                      <a:endParaRPr lang="en-US" sz="14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b="1" dirty="0" smtClean="0"/>
                        <a:t>Random Forest</a:t>
                      </a:r>
                      <a:endParaRPr lang="en-US" sz="14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0.955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0.953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0.939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0.958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0.948</a:t>
                      </a:r>
                      <a:endParaRPr lang="en-US" sz="14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b="1" dirty="0" err="1" smtClean="0"/>
                        <a:t>XGBoost</a:t>
                      </a:r>
                      <a:endParaRPr lang="en-US" sz="14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0.953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0.951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0.936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0.956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0.946</a:t>
                      </a:r>
                      <a:endParaRPr lang="en-US" sz="1400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6" name="Rectangle 5"/>
          <p:cNvSpPr/>
          <p:nvPr/>
        </p:nvSpPr>
        <p:spPr>
          <a:xfrm>
            <a:off x="238917" y="3356992"/>
            <a:ext cx="8570684" cy="756084"/>
          </a:xfrm>
          <a:prstGeom prst="rect">
            <a:avLst/>
          </a:prstGeom>
          <a:solidFill>
            <a:srgbClr val="C0504D">
              <a:alpha val="0"/>
            </a:srgbClr>
          </a:solidFill>
          <a:ln>
            <a:solidFill>
              <a:srgbClr val="FF0000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US" sz="1400" dirty="0" err="1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1" name="Title 1">
            <a:extLst>
              <a:ext uri="{FF2B5EF4-FFF2-40B4-BE49-F238E27FC236}">
                <a16:creationId xmlns="" xmlns:a16="http://schemas.microsoft.com/office/drawing/2014/main" id="{7956AB31-F718-491D-AAC7-99EB16607684}"/>
              </a:ext>
            </a:extLst>
          </p:cNvPr>
          <p:cNvSpPr txBox="1">
            <a:spLocks/>
          </p:cNvSpPr>
          <p:nvPr/>
        </p:nvSpPr>
        <p:spPr>
          <a:xfrm>
            <a:off x="396907" y="645895"/>
            <a:ext cx="7604094" cy="338554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0" kern="1200" baseline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en-US" b="1" dirty="0" smtClean="0"/>
              <a:t>Framework</a:t>
            </a:r>
            <a:endParaRPr lang="en-US" b="1" dirty="0"/>
          </a:p>
        </p:txBody>
      </p:sp>
      <p:grpSp>
        <p:nvGrpSpPr>
          <p:cNvPr id="47" name="Group 46">
            <a:extLst>
              <a:ext uri="{FF2B5EF4-FFF2-40B4-BE49-F238E27FC236}">
                <a16:creationId xmlns="" xmlns:a16="http://schemas.microsoft.com/office/drawing/2014/main" id="{0BBEB72A-2139-4645-915E-CEC28070B56D}"/>
              </a:ext>
            </a:extLst>
          </p:cNvPr>
          <p:cNvGrpSpPr/>
          <p:nvPr/>
        </p:nvGrpSpPr>
        <p:grpSpPr>
          <a:xfrm>
            <a:off x="7877395" y="1225848"/>
            <a:ext cx="937795" cy="385342"/>
            <a:chOff x="7877395" y="1225848"/>
            <a:chExt cx="937795" cy="385342"/>
          </a:xfrm>
        </p:grpSpPr>
        <p:sp>
          <p:nvSpPr>
            <p:cNvPr id="48" name="Isosceles Triangle 47">
              <a:extLst>
                <a:ext uri="{FF2B5EF4-FFF2-40B4-BE49-F238E27FC236}">
                  <a16:creationId xmlns="" xmlns:a16="http://schemas.microsoft.com/office/drawing/2014/main" id="{35B3CE62-F491-498C-8FB7-E66CFD69DB95}"/>
                </a:ext>
              </a:extLst>
            </p:cNvPr>
            <p:cNvSpPr>
              <a:spLocks noChangeAspect="1"/>
            </p:cNvSpPr>
            <p:nvPr/>
          </p:nvSpPr>
          <p:spPr bwMode="gray">
            <a:xfrm rot="9927096">
              <a:off x="8132907" y="1349645"/>
              <a:ext cx="73611" cy="63458"/>
            </a:xfrm>
            <a:prstGeom prst="triangle">
              <a:avLst/>
            </a:prstGeom>
            <a:solidFill>
              <a:schemeClr val="bg2"/>
            </a:solidFill>
            <a:ln w="9525">
              <a:solidFill>
                <a:srgbClr val="007F7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050" dirty="0">
                <a:solidFill>
                  <a:schemeClr val="tx1"/>
                </a:solidFill>
              </a:endParaRPr>
            </a:p>
          </p:txBody>
        </p:sp>
        <p:sp>
          <p:nvSpPr>
            <p:cNvPr id="49" name="Oval 48">
              <a:extLst>
                <a:ext uri="{FF2B5EF4-FFF2-40B4-BE49-F238E27FC236}">
                  <a16:creationId xmlns="" xmlns:a16="http://schemas.microsoft.com/office/drawing/2014/main" id="{D5057345-1014-4E3D-8249-CA3762D4EBD7}"/>
                </a:ext>
              </a:extLst>
            </p:cNvPr>
            <p:cNvSpPr/>
            <p:nvPr/>
          </p:nvSpPr>
          <p:spPr>
            <a:xfrm>
              <a:off x="8002635" y="1243852"/>
              <a:ext cx="50253" cy="50252"/>
            </a:xfrm>
            <a:prstGeom prst="ellipse">
              <a:avLst/>
            </a:prstGeom>
            <a:solidFill>
              <a:schemeClr val="bg2"/>
            </a:solidFill>
            <a:ln w="12700" cap="flat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 b="1" dirty="0">
                <a:solidFill>
                  <a:schemeClr val="bg1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50" name="Oval 49">
              <a:extLst>
                <a:ext uri="{FF2B5EF4-FFF2-40B4-BE49-F238E27FC236}">
                  <a16:creationId xmlns="" xmlns:a16="http://schemas.microsoft.com/office/drawing/2014/main" id="{63F9707F-DBB8-47E1-9D38-404826C77867}"/>
                </a:ext>
              </a:extLst>
            </p:cNvPr>
            <p:cNvSpPr/>
            <p:nvPr/>
          </p:nvSpPr>
          <p:spPr>
            <a:xfrm>
              <a:off x="8530035" y="1349312"/>
              <a:ext cx="212364" cy="212364"/>
            </a:xfrm>
            <a:prstGeom prst="ellipse">
              <a:avLst/>
            </a:prstGeom>
            <a:solidFill>
              <a:schemeClr val="accent5"/>
            </a:solidFill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ot="0" spcFirstLastPara="0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51" name="Arc 50">
              <a:extLst>
                <a:ext uri="{FF2B5EF4-FFF2-40B4-BE49-F238E27FC236}">
                  <a16:creationId xmlns="" xmlns:a16="http://schemas.microsoft.com/office/drawing/2014/main" id="{83A64A2A-0C53-4047-8B19-03F3FE3B04D9}"/>
                </a:ext>
              </a:extLst>
            </p:cNvPr>
            <p:cNvSpPr/>
            <p:nvPr/>
          </p:nvSpPr>
          <p:spPr bwMode="gray">
            <a:xfrm>
              <a:off x="8486575" y="1267966"/>
              <a:ext cx="283644" cy="247796"/>
            </a:xfrm>
            <a:prstGeom prst="arc">
              <a:avLst>
                <a:gd name="adj1" fmla="val 11178900"/>
                <a:gd name="adj2" fmla="val 21075396"/>
              </a:avLst>
            </a:prstGeom>
            <a:ln w="19050" cap="flat">
              <a:solidFill>
                <a:schemeClr val="accent5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100" dirty="0"/>
            </a:p>
          </p:txBody>
        </p:sp>
        <p:sp>
          <p:nvSpPr>
            <p:cNvPr id="52" name="Isosceles Triangle 51">
              <a:extLst>
                <a:ext uri="{FF2B5EF4-FFF2-40B4-BE49-F238E27FC236}">
                  <a16:creationId xmlns="" xmlns:a16="http://schemas.microsoft.com/office/drawing/2014/main" id="{AD34A29D-9581-4661-BAC6-DFB4DF1F5397}"/>
                </a:ext>
              </a:extLst>
            </p:cNvPr>
            <p:cNvSpPr>
              <a:spLocks noChangeAspect="1"/>
            </p:cNvSpPr>
            <p:nvPr/>
          </p:nvSpPr>
          <p:spPr bwMode="gray">
            <a:xfrm rot="9927096">
              <a:off x="8734789" y="1347929"/>
              <a:ext cx="73611" cy="63458"/>
            </a:xfrm>
            <a:prstGeom prst="triangle">
              <a:avLst/>
            </a:prstGeom>
            <a:solidFill>
              <a:schemeClr val="accent5"/>
            </a:solidFill>
            <a:ln w="952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050" dirty="0">
                <a:solidFill>
                  <a:schemeClr val="tx1"/>
                </a:solidFill>
              </a:endParaRPr>
            </a:p>
          </p:txBody>
        </p:sp>
        <p:sp>
          <p:nvSpPr>
            <p:cNvPr id="53" name="Oval 52">
              <a:extLst>
                <a:ext uri="{FF2B5EF4-FFF2-40B4-BE49-F238E27FC236}">
                  <a16:creationId xmlns="" xmlns:a16="http://schemas.microsoft.com/office/drawing/2014/main" id="{BFF74F25-EB5E-4527-8581-0E164F89C80F}"/>
                </a:ext>
              </a:extLst>
            </p:cNvPr>
            <p:cNvSpPr/>
            <p:nvPr/>
          </p:nvSpPr>
          <p:spPr>
            <a:xfrm>
              <a:off x="8611091" y="1243852"/>
              <a:ext cx="50253" cy="50252"/>
            </a:xfrm>
            <a:prstGeom prst="ellipse">
              <a:avLst/>
            </a:prstGeom>
            <a:solidFill>
              <a:schemeClr val="accent5"/>
            </a:solidFill>
            <a:ln w="12700" cap="flat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 b="1" dirty="0">
                <a:solidFill>
                  <a:schemeClr val="bg1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54" name="Rectangle 53">
              <a:extLst>
                <a:ext uri="{FF2B5EF4-FFF2-40B4-BE49-F238E27FC236}">
                  <a16:creationId xmlns="" xmlns:a16="http://schemas.microsoft.com/office/drawing/2014/main" id="{00A129B6-615D-417E-A5FF-BF0A72E04226}"/>
                </a:ext>
              </a:extLst>
            </p:cNvPr>
            <p:cNvSpPr/>
            <p:nvPr/>
          </p:nvSpPr>
          <p:spPr>
            <a:xfrm>
              <a:off x="8486575" y="1225848"/>
              <a:ext cx="328615" cy="385342"/>
            </a:xfrm>
            <a:prstGeom prst="rect">
              <a:avLst/>
            </a:prstGeom>
            <a:solidFill>
              <a:schemeClr val="bg1">
                <a:alpha val="80000"/>
              </a:schemeClr>
            </a:solidFill>
            <a:ln w="6350" cap="flat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900"/>
                </a:spcBef>
              </a:pPr>
              <a:endParaRPr lang="en-US" sz="140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55" name="Oval 54">
              <a:extLst>
                <a:ext uri="{FF2B5EF4-FFF2-40B4-BE49-F238E27FC236}">
                  <a16:creationId xmlns="" xmlns:a16="http://schemas.microsoft.com/office/drawing/2014/main" id="{3E98A2CE-5146-4C5F-A545-6FDD7370DFB0}"/>
                </a:ext>
              </a:extLst>
            </p:cNvPr>
            <p:cNvSpPr/>
            <p:nvPr/>
          </p:nvSpPr>
          <p:spPr>
            <a:xfrm>
              <a:off x="7921579" y="1349312"/>
              <a:ext cx="212364" cy="212364"/>
            </a:xfrm>
            <a:prstGeom prst="ellipse">
              <a:avLst/>
            </a:prstGeom>
            <a:solidFill>
              <a:schemeClr val="bg2"/>
            </a:solidFill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ot="0" spcFirstLastPara="0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56" name="Arc 55">
              <a:extLst>
                <a:ext uri="{FF2B5EF4-FFF2-40B4-BE49-F238E27FC236}">
                  <a16:creationId xmlns="" xmlns:a16="http://schemas.microsoft.com/office/drawing/2014/main" id="{A0AB8420-2770-4899-AC43-A47624E481BC}"/>
                </a:ext>
              </a:extLst>
            </p:cNvPr>
            <p:cNvSpPr/>
            <p:nvPr/>
          </p:nvSpPr>
          <p:spPr bwMode="gray">
            <a:xfrm>
              <a:off x="7883769" y="1267966"/>
              <a:ext cx="283644" cy="247796"/>
            </a:xfrm>
            <a:prstGeom prst="arc">
              <a:avLst>
                <a:gd name="adj1" fmla="val 11178900"/>
                <a:gd name="adj2" fmla="val 21075396"/>
              </a:avLst>
            </a:prstGeom>
            <a:ln w="19050" cap="flat">
              <a:solidFill>
                <a:schemeClr val="bg2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100" dirty="0"/>
            </a:p>
          </p:txBody>
        </p:sp>
        <p:sp>
          <p:nvSpPr>
            <p:cNvPr id="57" name="Rectangle 56">
              <a:extLst>
                <a:ext uri="{FF2B5EF4-FFF2-40B4-BE49-F238E27FC236}">
                  <a16:creationId xmlns="" xmlns:a16="http://schemas.microsoft.com/office/drawing/2014/main" id="{33C5B095-13E5-455C-9204-B2BD9ABC7DCF}"/>
                </a:ext>
              </a:extLst>
            </p:cNvPr>
            <p:cNvSpPr/>
            <p:nvPr/>
          </p:nvSpPr>
          <p:spPr>
            <a:xfrm>
              <a:off x="7877395" y="1225848"/>
              <a:ext cx="328615" cy="385342"/>
            </a:xfrm>
            <a:prstGeom prst="rect">
              <a:avLst/>
            </a:prstGeom>
            <a:solidFill>
              <a:schemeClr val="bg1">
                <a:alpha val="80000"/>
              </a:schemeClr>
            </a:solidFill>
            <a:ln w="6350" cap="flat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900"/>
                </a:spcBef>
              </a:pPr>
              <a:endParaRPr lang="en-US" sz="140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58" name="Oval 57">
              <a:extLst>
                <a:ext uri="{FF2B5EF4-FFF2-40B4-BE49-F238E27FC236}">
                  <a16:creationId xmlns="" xmlns:a16="http://schemas.microsoft.com/office/drawing/2014/main" id="{22C1417D-C0DF-425F-B1EA-C0A7EC164858}"/>
                </a:ext>
              </a:extLst>
            </p:cNvPr>
            <p:cNvSpPr/>
            <p:nvPr/>
          </p:nvSpPr>
          <p:spPr>
            <a:xfrm>
              <a:off x="8225098" y="1244357"/>
              <a:ext cx="212364" cy="212364"/>
            </a:xfrm>
            <a:prstGeom prst="ellipse">
              <a:avLst/>
            </a:prstGeom>
            <a:solidFill>
              <a:schemeClr val="accent1"/>
            </a:solidFill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ot="0" spcFirstLastPara="0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59" name="Arc 58">
              <a:extLst>
                <a:ext uri="{FF2B5EF4-FFF2-40B4-BE49-F238E27FC236}">
                  <a16:creationId xmlns="" xmlns:a16="http://schemas.microsoft.com/office/drawing/2014/main" id="{6A0208D0-2202-4068-9629-F81575FE5B60}"/>
                </a:ext>
              </a:extLst>
            </p:cNvPr>
            <p:cNvSpPr/>
            <p:nvPr/>
          </p:nvSpPr>
          <p:spPr bwMode="gray">
            <a:xfrm flipV="1">
              <a:off x="8184095" y="1313981"/>
              <a:ext cx="283644" cy="247373"/>
            </a:xfrm>
            <a:prstGeom prst="arc">
              <a:avLst>
                <a:gd name="adj1" fmla="val 11178900"/>
                <a:gd name="adj2" fmla="val 21075396"/>
              </a:avLst>
            </a:prstGeom>
            <a:ln w="19050" cap="flat">
              <a:solidFill>
                <a:schemeClr val="accent1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100" dirty="0"/>
            </a:p>
          </p:txBody>
        </p:sp>
        <p:sp>
          <p:nvSpPr>
            <p:cNvPr id="60" name="Isosceles Triangle 59">
              <a:extLst>
                <a:ext uri="{FF2B5EF4-FFF2-40B4-BE49-F238E27FC236}">
                  <a16:creationId xmlns="" xmlns:a16="http://schemas.microsoft.com/office/drawing/2014/main" id="{401D8938-53A8-4EF6-9FC7-7B0105B2302E}"/>
                </a:ext>
              </a:extLst>
            </p:cNvPr>
            <p:cNvSpPr>
              <a:spLocks noChangeAspect="1"/>
            </p:cNvSpPr>
            <p:nvPr/>
          </p:nvSpPr>
          <p:spPr bwMode="gray">
            <a:xfrm rot="11672904" flipV="1">
              <a:off x="8432310" y="1418179"/>
              <a:ext cx="73611" cy="63349"/>
            </a:xfrm>
            <a:prstGeom prst="triangle">
              <a:avLst/>
            </a:prstGeom>
            <a:solidFill>
              <a:schemeClr val="accent1"/>
            </a:solidFill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050" dirty="0">
                <a:solidFill>
                  <a:schemeClr val="tx1"/>
                </a:solidFill>
              </a:endParaRPr>
            </a:p>
          </p:txBody>
        </p:sp>
        <p:sp>
          <p:nvSpPr>
            <p:cNvPr id="61" name="Oval 60">
              <a:extLst>
                <a:ext uri="{FF2B5EF4-FFF2-40B4-BE49-F238E27FC236}">
                  <a16:creationId xmlns="" xmlns:a16="http://schemas.microsoft.com/office/drawing/2014/main" id="{98170558-834B-4009-B86E-FFC6DBC68739}"/>
                </a:ext>
              </a:extLst>
            </p:cNvPr>
            <p:cNvSpPr/>
            <p:nvPr/>
          </p:nvSpPr>
          <p:spPr>
            <a:xfrm>
              <a:off x="8306154" y="1537095"/>
              <a:ext cx="50253" cy="50252"/>
            </a:xfrm>
            <a:prstGeom prst="ellipse">
              <a:avLst/>
            </a:prstGeom>
            <a:solidFill>
              <a:schemeClr val="accent1"/>
            </a:solidFill>
            <a:ln w="12700" cap="flat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 b="1" dirty="0">
                <a:solidFill>
                  <a:schemeClr val="bg1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</p:grpSp>
      <p:sp>
        <p:nvSpPr>
          <p:cNvPr id="62" name="TextBox 61">
            <a:extLst>
              <a:ext uri="{FF2B5EF4-FFF2-40B4-BE49-F238E27FC236}">
                <a16:creationId xmlns="" xmlns:a16="http://schemas.microsoft.com/office/drawing/2014/main" id="{48D13E25-DCE9-4BCE-806B-429683B77FA6}"/>
              </a:ext>
            </a:extLst>
          </p:cNvPr>
          <p:cNvSpPr txBox="1"/>
          <p:nvPr/>
        </p:nvSpPr>
        <p:spPr>
          <a:xfrm>
            <a:off x="244474" y="1301507"/>
            <a:ext cx="6840220" cy="249299"/>
          </a:xfrm>
          <a:prstGeom prst="rect">
            <a:avLst/>
          </a:prstGeom>
          <a:noFill/>
          <a:ln w="6350" cap="flat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A5FFFF"/>
                </a:solidFill>
              </a14:hiddenFill>
            </a:ext>
          </a:extLst>
        </p:spPr>
        <p:txBody>
          <a:bodyPr vert="horz" wrap="square" lIns="365760" tIns="0" rIns="0" bIns="0" rtlCol="0" anchor="t" anchorCtr="0">
            <a:sp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2"/>
              </a:buClr>
            </a:pP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Machine Learning Modeling and Evaluation</a:t>
            </a:r>
          </a:p>
        </p:txBody>
      </p:sp>
      <p:sp>
        <p:nvSpPr>
          <p:cNvPr id="63" name="Oval 62">
            <a:extLst>
              <a:ext uri="{FF2B5EF4-FFF2-40B4-BE49-F238E27FC236}">
                <a16:creationId xmlns="" xmlns:a16="http://schemas.microsoft.com/office/drawing/2014/main" id="{3D60A96E-A8F3-4D57-873D-4053E79B24CA}"/>
              </a:ext>
            </a:extLst>
          </p:cNvPr>
          <p:cNvSpPr/>
          <p:nvPr/>
        </p:nvSpPr>
        <p:spPr>
          <a:xfrm>
            <a:off x="246380" y="1273567"/>
            <a:ext cx="279400" cy="279400"/>
          </a:xfrm>
          <a:prstGeom prst="ellipse">
            <a:avLst/>
          </a:prstGeom>
          <a:solidFill>
            <a:schemeClr val="accent1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1600" b="1" dirty="0">
                <a:solidFill>
                  <a:schemeClr val="bg1"/>
                </a:solidFill>
                <a:latin typeface="Arial" panose="020B0604020202020204" pitchFamily="34" charset="0"/>
                <a:cs typeface="Arial" pitchFamily="34" charset="0"/>
              </a:rPr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89419849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3" name="Object 132" hidden="1">
            <a:extLst>
              <a:ext uri="{FF2B5EF4-FFF2-40B4-BE49-F238E27FC236}">
                <a16:creationId xmlns="" xmlns:a16="http://schemas.microsoft.com/office/drawing/2014/main" id="{67FAAD67-D119-4BEC-B5ED-E8AA6DFE040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641254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62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133" name="Object 132" hidden="1">
                        <a:extLst>
                          <a:ext uri="{FF2B5EF4-FFF2-40B4-BE49-F238E27FC236}">
                            <a16:creationId xmlns="" xmlns:a16="http://schemas.microsoft.com/office/drawing/2014/main" id="{67FAAD67-D119-4BEC-B5ED-E8AA6DFE04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4" name="Rectangle 133" hidden="1">
            <a:extLst>
              <a:ext uri="{FF2B5EF4-FFF2-40B4-BE49-F238E27FC236}">
                <a16:creationId xmlns="" xmlns:a16="http://schemas.microsoft.com/office/drawing/2014/main" id="{C1292CEB-CAEB-4A09-89A1-C043E8CE62E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US" sz="240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35CDF147-DE5D-446A-9913-2D1AD79295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Project Approach</a:t>
            </a:r>
            <a:endParaRPr lang="en-US" dirty="0"/>
          </a:p>
        </p:txBody>
      </p:sp>
      <p:sp>
        <p:nvSpPr>
          <p:cNvPr id="28" name="Oval 27">
            <a:extLst>
              <a:ext uri="{FF2B5EF4-FFF2-40B4-BE49-F238E27FC236}">
                <a16:creationId xmlns="" xmlns:a16="http://schemas.microsoft.com/office/drawing/2014/main" id="{87824148-6A72-4F9F-A0A6-0A508CED1EE1}"/>
              </a:ext>
            </a:extLst>
          </p:cNvPr>
          <p:cNvSpPr/>
          <p:nvPr/>
        </p:nvSpPr>
        <p:spPr>
          <a:xfrm>
            <a:off x="6069411" y="2998760"/>
            <a:ext cx="1728703" cy="1728703"/>
          </a:xfrm>
          <a:prstGeom prst="ellipse">
            <a:avLst/>
          </a:prstGeom>
          <a:solidFill>
            <a:schemeClr val="accent5"/>
          </a:solidFill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ot="0" spcFirstLastPara="0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sp>
        <p:nvSpPr>
          <p:cNvPr id="29" name="Oval 28">
            <a:extLst>
              <a:ext uri="{FF2B5EF4-FFF2-40B4-BE49-F238E27FC236}">
                <a16:creationId xmlns="" xmlns:a16="http://schemas.microsoft.com/office/drawing/2014/main" id="{1190F67D-0CF4-46B0-8066-686A7B5B95E5}"/>
              </a:ext>
            </a:extLst>
          </p:cNvPr>
          <p:cNvSpPr/>
          <p:nvPr/>
        </p:nvSpPr>
        <p:spPr>
          <a:xfrm>
            <a:off x="3587139" y="2144396"/>
            <a:ext cx="1728703" cy="1728703"/>
          </a:xfrm>
          <a:prstGeom prst="ellipse">
            <a:avLst/>
          </a:prstGeom>
          <a:solidFill>
            <a:schemeClr val="accent1"/>
          </a:solidFill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ot="0" spcFirstLastPara="0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sp>
        <p:nvSpPr>
          <p:cNvPr id="30" name="Isosceles Triangle 29">
            <a:extLst>
              <a:ext uri="{FF2B5EF4-FFF2-40B4-BE49-F238E27FC236}">
                <a16:creationId xmlns="" xmlns:a16="http://schemas.microsoft.com/office/drawing/2014/main" id="{A2636B51-B98E-479C-ACCB-9D1E452BE4A5}"/>
              </a:ext>
            </a:extLst>
          </p:cNvPr>
          <p:cNvSpPr>
            <a:spLocks noChangeAspect="1"/>
          </p:cNvSpPr>
          <p:nvPr/>
        </p:nvSpPr>
        <p:spPr bwMode="gray">
          <a:xfrm rot="9927096">
            <a:off x="2836681" y="3001470"/>
            <a:ext cx="599214" cy="516567"/>
          </a:xfrm>
          <a:prstGeom prst="triangle">
            <a:avLst/>
          </a:prstGeom>
          <a:solidFill>
            <a:schemeClr val="bg2"/>
          </a:solidFill>
          <a:ln w="9525">
            <a:solidFill>
              <a:srgbClr val="007F7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050" dirty="0">
              <a:solidFill>
                <a:schemeClr val="tx1"/>
              </a:solidFill>
            </a:endParaRPr>
          </a:p>
        </p:txBody>
      </p:sp>
      <p:sp>
        <p:nvSpPr>
          <p:cNvPr id="31" name="Arc 30">
            <a:extLst>
              <a:ext uri="{FF2B5EF4-FFF2-40B4-BE49-F238E27FC236}">
                <a16:creationId xmlns="" xmlns:a16="http://schemas.microsoft.com/office/drawing/2014/main" id="{E780FD80-6FC6-48AA-9077-82F066E9D683}"/>
              </a:ext>
            </a:extLst>
          </p:cNvPr>
          <p:cNvSpPr/>
          <p:nvPr/>
        </p:nvSpPr>
        <p:spPr bwMode="gray">
          <a:xfrm>
            <a:off x="5715630" y="2336581"/>
            <a:ext cx="2308937" cy="2017135"/>
          </a:xfrm>
          <a:prstGeom prst="arc">
            <a:avLst>
              <a:gd name="adj1" fmla="val 11178900"/>
              <a:gd name="adj2" fmla="val 21075396"/>
            </a:avLst>
          </a:prstGeom>
          <a:ln w="76200" cap="flat">
            <a:solidFill>
              <a:schemeClr val="accent5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100" dirty="0"/>
          </a:p>
        </p:txBody>
      </p:sp>
      <p:sp>
        <p:nvSpPr>
          <p:cNvPr id="32" name="Isosceles Triangle 31">
            <a:extLst>
              <a:ext uri="{FF2B5EF4-FFF2-40B4-BE49-F238E27FC236}">
                <a16:creationId xmlns="" xmlns:a16="http://schemas.microsoft.com/office/drawing/2014/main" id="{E878A3A1-B095-4B35-8BEF-9A296271F2B7}"/>
              </a:ext>
            </a:extLst>
          </p:cNvPr>
          <p:cNvSpPr>
            <a:spLocks noChangeAspect="1"/>
          </p:cNvSpPr>
          <p:nvPr/>
        </p:nvSpPr>
        <p:spPr bwMode="gray">
          <a:xfrm rot="9927096">
            <a:off x="7736160" y="2987500"/>
            <a:ext cx="599214" cy="516567"/>
          </a:xfrm>
          <a:prstGeom prst="triangle">
            <a:avLst/>
          </a:prstGeom>
          <a:solidFill>
            <a:schemeClr val="accent5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050" dirty="0">
              <a:solidFill>
                <a:schemeClr val="tx1"/>
              </a:solidFill>
            </a:endParaRPr>
          </a:p>
        </p:txBody>
      </p:sp>
      <p:sp>
        <p:nvSpPr>
          <p:cNvPr id="33" name="Arc 32">
            <a:extLst>
              <a:ext uri="{FF2B5EF4-FFF2-40B4-BE49-F238E27FC236}">
                <a16:creationId xmlns="" xmlns:a16="http://schemas.microsoft.com/office/drawing/2014/main" id="{B875F3B4-9CCB-40A8-810D-4BF69FAF9FAD}"/>
              </a:ext>
            </a:extLst>
          </p:cNvPr>
          <p:cNvSpPr/>
          <p:nvPr/>
        </p:nvSpPr>
        <p:spPr bwMode="gray">
          <a:xfrm flipV="1">
            <a:off x="3253365" y="2711157"/>
            <a:ext cx="2308937" cy="2013693"/>
          </a:xfrm>
          <a:prstGeom prst="arc">
            <a:avLst>
              <a:gd name="adj1" fmla="val 11178900"/>
              <a:gd name="adj2" fmla="val 21075396"/>
            </a:avLst>
          </a:prstGeom>
          <a:ln w="76200" cap="flat">
            <a:solidFill>
              <a:schemeClr val="accent1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100" dirty="0"/>
          </a:p>
        </p:txBody>
      </p:sp>
      <p:sp>
        <p:nvSpPr>
          <p:cNvPr id="34" name="Isosceles Triangle 33">
            <a:extLst>
              <a:ext uri="{FF2B5EF4-FFF2-40B4-BE49-F238E27FC236}">
                <a16:creationId xmlns="" xmlns:a16="http://schemas.microsoft.com/office/drawing/2014/main" id="{6B7B21F7-A3C6-4766-B174-77BD59953425}"/>
              </a:ext>
            </a:extLst>
          </p:cNvPr>
          <p:cNvSpPr>
            <a:spLocks noChangeAspect="1"/>
          </p:cNvSpPr>
          <p:nvPr/>
        </p:nvSpPr>
        <p:spPr bwMode="gray">
          <a:xfrm rot="11672904" flipV="1">
            <a:off x="5273897" y="3559357"/>
            <a:ext cx="599214" cy="515682"/>
          </a:xfrm>
          <a:prstGeom prst="triangle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050" dirty="0">
              <a:solidFill>
                <a:schemeClr val="tx1"/>
              </a:solidFill>
            </a:endParaRPr>
          </a:p>
        </p:txBody>
      </p:sp>
      <p:sp>
        <p:nvSpPr>
          <p:cNvPr id="35" name="Oval 34">
            <a:extLst>
              <a:ext uri="{FF2B5EF4-FFF2-40B4-BE49-F238E27FC236}">
                <a16:creationId xmlns="" xmlns:a16="http://schemas.microsoft.com/office/drawing/2014/main" id="{C2194CA8-1889-4F67-A43B-565915E0E95E}"/>
              </a:ext>
            </a:extLst>
          </p:cNvPr>
          <p:cNvSpPr/>
          <p:nvPr/>
        </p:nvSpPr>
        <p:spPr>
          <a:xfrm>
            <a:off x="1116412" y="2998760"/>
            <a:ext cx="1728703" cy="1728703"/>
          </a:xfrm>
          <a:prstGeom prst="ellipse">
            <a:avLst/>
          </a:prstGeom>
          <a:solidFill>
            <a:schemeClr val="bg2"/>
          </a:solidFill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ot="0" spcFirstLastPara="0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sp>
        <p:nvSpPr>
          <p:cNvPr id="36" name="Arc 35">
            <a:extLst>
              <a:ext uri="{FF2B5EF4-FFF2-40B4-BE49-F238E27FC236}">
                <a16:creationId xmlns="" xmlns:a16="http://schemas.microsoft.com/office/drawing/2014/main" id="{D86C7BFD-47E3-48E1-BB36-6393FB4626B1}"/>
              </a:ext>
            </a:extLst>
          </p:cNvPr>
          <p:cNvSpPr/>
          <p:nvPr/>
        </p:nvSpPr>
        <p:spPr bwMode="gray">
          <a:xfrm>
            <a:off x="808627" y="2336581"/>
            <a:ext cx="2308937" cy="2017135"/>
          </a:xfrm>
          <a:prstGeom prst="arc">
            <a:avLst>
              <a:gd name="adj1" fmla="val 11178900"/>
              <a:gd name="adj2" fmla="val 21075396"/>
            </a:avLst>
          </a:prstGeom>
          <a:ln w="76200" cap="flat">
            <a:solidFill>
              <a:schemeClr val="bg2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100" dirty="0"/>
          </a:p>
        </p:txBody>
      </p:sp>
      <p:sp>
        <p:nvSpPr>
          <p:cNvPr id="38" name="Oval 37">
            <a:extLst>
              <a:ext uri="{FF2B5EF4-FFF2-40B4-BE49-F238E27FC236}">
                <a16:creationId xmlns="" xmlns:a16="http://schemas.microsoft.com/office/drawing/2014/main" id="{B2AE6010-38E3-4388-A61A-F10E9AB1D2FE}"/>
              </a:ext>
            </a:extLst>
          </p:cNvPr>
          <p:cNvSpPr/>
          <p:nvPr/>
        </p:nvSpPr>
        <p:spPr>
          <a:xfrm>
            <a:off x="1776229" y="2140285"/>
            <a:ext cx="409070" cy="409070"/>
          </a:xfrm>
          <a:prstGeom prst="ellipse">
            <a:avLst/>
          </a:prstGeom>
          <a:solidFill>
            <a:schemeClr val="bg2"/>
          </a:solidFill>
          <a:ln w="38100" cap="flat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b="1" dirty="0">
                <a:solidFill>
                  <a:schemeClr val="bg1"/>
                </a:solidFill>
                <a:latin typeface="Arial" panose="020B0604020202020204" pitchFamily="34" charset="0"/>
                <a:cs typeface="Arial" pitchFamily="34" charset="0"/>
              </a:rPr>
              <a:t>1</a:t>
            </a:r>
          </a:p>
        </p:txBody>
      </p:sp>
      <p:sp>
        <p:nvSpPr>
          <p:cNvPr id="39" name="Oval 38">
            <a:extLst>
              <a:ext uri="{FF2B5EF4-FFF2-40B4-BE49-F238E27FC236}">
                <a16:creationId xmlns="" xmlns:a16="http://schemas.microsoft.com/office/drawing/2014/main" id="{E9607955-BD9B-4DE0-AA07-27CD9D933E0A}"/>
              </a:ext>
            </a:extLst>
          </p:cNvPr>
          <p:cNvSpPr/>
          <p:nvPr/>
        </p:nvSpPr>
        <p:spPr>
          <a:xfrm>
            <a:off x="4246956" y="4527368"/>
            <a:ext cx="409070" cy="409070"/>
          </a:xfrm>
          <a:prstGeom prst="ellipse">
            <a:avLst/>
          </a:prstGeom>
          <a:solidFill>
            <a:schemeClr val="accent1"/>
          </a:solidFill>
          <a:ln w="38100" cap="flat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b="1" dirty="0">
                <a:solidFill>
                  <a:schemeClr val="bg1"/>
                </a:solidFill>
                <a:latin typeface="Arial" panose="020B0604020202020204" pitchFamily="34" charset="0"/>
                <a:cs typeface="Arial" pitchFamily="34" charset="0"/>
              </a:rPr>
              <a:t>2</a:t>
            </a:r>
          </a:p>
        </p:txBody>
      </p:sp>
      <p:sp>
        <p:nvSpPr>
          <p:cNvPr id="40" name="Oval 39">
            <a:extLst>
              <a:ext uri="{FF2B5EF4-FFF2-40B4-BE49-F238E27FC236}">
                <a16:creationId xmlns="" xmlns:a16="http://schemas.microsoft.com/office/drawing/2014/main" id="{C07A9833-91CD-4FEF-B3FE-12A10A37FDB0}"/>
              </a:ext>
            </a:extLst>
          </p:cNvPr>
          <p:cNvSpPr/>
          <p:nvPr/>
        </p:nvSpPr>
        <p:spPr>
          <a:xfrm>
            <a:off x="6729228" y="2140285"/>
            <a:ext cx="409070" cy="409070"/>
          </a:xfrm>
          <a:prstGeom prst="ellipse">
            <a:avLst/>
          </a:prstGeom>
          <a:solidFill>
            <a:schemeClr val="accent5"/>
          </a:solidFill>
          <a:ln w="38100" cap="flat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b="1" dirty="0">
                <a:solidFill>
                  <a:schemeClr val="bg1"/>
                </a:solidFill>
                <a:latin typeface="Arial" panose="020B0604020202020204" pitchFamily="34" charset="0"/>
                <a:cs typeface="Arial" pitchFamily="34" charset="0"/>
              </a:rPr>
              <a:t>3</a:t>
            </a:r>
          </a:p>
        </p:txBody>
      </p:sp>
      <p:pic>
        <p:nvPicPr>
          <p:cNvPr id="41" name="Graphic 40">
            <a:extLst>
              <a:ext uri="{FF2B5EF4-FFF2-40B4-BE49-F238E27FC236}">
                <a16:creationId xmlns="" xmlns:a16="http://schemas.microsoft.com/office/drawing/2014/main" id="{418F4A3F-8CDB-4C8E-B90D-CFC5975ED574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=""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571804" y="3501153"/>
            <a:ext cx="723917" cy="723917"/>
          </a:xfrm>
          <a:prstGeom prst="rect">
            <a:avLst/>
          </a:prstGeom>
        </p:spPr>
      </p:pic>
      <p:pic>
        <p:nvPicPr>
          <p:cNvPr id="42" name="Graphic 41">
            <a:extLst>
              <a:ext uri="{FF2B5EF4-FFF2-40B4-BE49-F238E27FC236}">
                <a16:creationId xmlns="" xmlns:a16="http://schemas.microsoft.com/office/drawing/2014/main" id="{B5F2C498-848D-4305-A276-9EC4707D8FFC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=""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547807" y="3430157"/>
            <a:ext cx="865908" cy="865908"/>
          </a:xfrm>
          <a:prstGeom prst="rect">
            <a:avLst/>
          </a:prstGeom>
        </p:spPr>
      </p:pic>
      <p:grpSp>
        <p:nvGrpSpPr>
          <p:cNvPr id="43" name="Group 42">
            <a:extLst>
              <a:ext uri="{FF2B5EF4-FFF2-40B4-BE49-F238E27FC236}">
                <a16:creationId xmlns="" xmlns:a16="http://schemas.microsoft.com/office/drawing/2014/main" id="{13F80DFF-3D21-4ED3-94DE-AC089570B62B}"/>
              </a:ext>
            </a:extLst>
          </p:cNvPr>
          <p:cNvGrpSpPr/>
          <p:nvPr/>
        </p:nvGrpSpPr>
        <p:grpSpPr>
          <a:xfrm>
            <a:off x="4010000" y="2578461"/>
            <a:ext cx="882980" cy="860573"/>
            <a:chOff x="-1081088" y="4164013"/>
            <a:chExt cx="750888" cy="731837"/>
          </a:xfrm>
          <a:solidFill>
            <a:schemeClr val="bg1"/>
          </a:solidFill>
        </p:grpSpPr>
        <p:sp>
          <p:nvSpPr>
            <p:cNvPr id="44" name="Freeform 428">
              <a:extLst>
                <a:ext uri="{FF2B5EF4-FFF2-40B4-BE49-F238E27FC236}">
                  <a16:creationId xmlns="" xmlns:a16="http://schemas.microsoft.com/office/drawing/2014/main" id="{3077BB71-7325-4E02-B69C-83C31ADE04E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882650" y="4610100"/>
              <a:ext cx="174625" cy="176212"/>
            </a:xfrm>
            <a:custGeom>
              <a:avLst/>
              <a:gdLst>
                <a:gd name="T0" fmla="*/ 23 w 46"/>
                <a:gd name="T1" fmla="*/ 46 h 46"/>
                <a:gd name="T2" fmla="*/ 0 w 46"/>
                <a:gd name="T3" fmla="*/ 23 h 46"/>
                <a:gd name="T4" fmla="*/ 7 w 46"/>
                <a:gd name="T5" fmla="*/ 7 h 46"/>
                <a:gd name="T6" fmla="*/ 23 w 46"/>
                <a:gd name="T7" fmla="*/ 0 h 46"/>
                <a:gd name="T8" fmla="*/ 46 w 46"/>
                <a:gd name="T9" fmla="*/ 23 h 46"/>
                <a:gd name="T10" fmla="*/ 39 w 46"/>
                <a:gd name="T11" fmla="*/ 39 h 46"/>
                <a:gd name="T12" fmla="*/ 23 w 46"/>
                <a:gd name="T13" fmla="*/ 46 h 46"/>
                <a:gd name="T14" fmla="*/ 23 w 46"/>
                <a:gd name="T15" fmla="*/ 12 h 46"/>
                <a:gd name="T16" fmla="*/ 15 w 46"/>
                <a:gd name="T17" fmla="*/ 15 h 46"/>
                <a:gd name="T18" fmla="*/ 12 w 46"/>
                <a:gd name="T19" fmla="*/ 23 h 46"/>
                <a:gd name="T20" fmla="*/ 23 w 46"/>
                <a:gd name="T21" fmla="*/ 34 h 46"/>
                <a:gd name="T22" fmla="*/ 31 w 46"/>
                <a:gd name="T23" fmla="*/ 31 h 46"/>
                <a:gd name="T24" fmla="*/ 34 w 46"/>
                <a:gd name="T25" fmla="*/ 23 h 46"/>
                <a:gd name="T26" fmla="*/ 23 w 46"/>
                <a:gd name="T27" fmla="*/ 12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6" h="46">
                  <a:moveTo>
                    <a:pt x="23" y="46"/>
                  </a:moveTo>
                  <a:cubicBezTo>
                    <a:pt x="10" y="46"/>
                    <a:pt x="0" y="36"/>
                    <a:pt x="0" y="23"/>
                  </a:cubicBezTo>
                  <a:cubicBezTo>
                    <a:pt x="0" y="17"/>
                    <a:pt x="2" y="11"/>
                    <a:pt x="7" y="7"/>
                  </a:cubicBezTo>
                  <a:cubicBezTo>
                    <a:pt x="11" y="3"/>
                    <a:pt x="17" y="0"/>
                    <a:pt x="23" y="0"/>
                  </a:cubicBezTo>
                  <a:cubicBezTo>
                    <a:pt x="35" y="0"/>
                    <a:pt x="46" y="10"/>
                    <a:pt x="46" y="23"/>
                  </a:cubicBezTo>
                  <a:cubicBezTo>
                    <a:pt x="46" y="29"/>
                    <a:pt x="43" y="35"/>
                    <a:pt x="39" y="39"/>
                  </a:cubicBezTo>
                  <a:cubicBezTo>
                    <a:pt x="35" y="44"/>
                    <a:pt x="29" y="46"/>
                    <a:pt x="23" y="46"/>
                  </a:cubicBezTo>
                  <a:close/>
                  <a:moveTo>
                    <a:pt x="23" y="12"/>
                  </a:moveTo>
                  <a:cubicBezTo>
                    <a:pt x="20" y="12"/>
                    <a:pt x="17" y="13"/>
                    <a:pt x="15" y="15"/>
                  </a:cubicBezTo>
                  <a:cubicBezTo>
                    <a:pt x="13" y="17"/>
                    <a:pt x="12" y="20"/>
                    <a:pt x="12" y="23"/>
                  </a:cubicBezTo>
                  <a:cubicBezTo>
                    <a:pt x="12" y="29"/>
                    <a:pt x="17" y="34"/>
                    <a:pt x="23" y="34"/>
                  </a:cubicBezTo>
                  <a:cubicBezTo>
                    <a:pt x="26" y="34"/>
                    <a:pt x="28" y="33"/>
                    <a:pt x="31" y="31"/>
                  </a:cubicBezTo>
                  <a:cubicBezTo>
                    <a:pt x="33" y="29"/>
                    <a:pt x="34" y="26"/>
                    <a:pt x="34" y="23"/>
                  </a:cubicBezTo>
                  <a:cubicBezTo>
                    <a:pt x="34" y="17"/>
                    <a:pt x="29" y="12"/>
                    <a:pt x="23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5" name="Freeform 429">
              <a:extLst>
                <a:ext uri="{FF2B5EF4-FFF2-40B4-BE49-F238E27FC236}">
                  <a16:creationId xmlns="" xmlns:a16="http://schemas.microsoft.com/office/drawing/2014/main" id="{6F56A7B9-4577-4230-B257-B627A7659518}"/>
                </a:ext>
              </a:extLst>
            </p:cNvPr>
            <p:cNvSpPr>
              <a:spLocks/>
            </p:cNvSpPr>
            <p:nvPr/>
          </p:nvSpPr>
          <p:spPr bwMode="auto">
            <a:xfrm>
              <a:off x="-822325" y="4373563"/>
              <a:ext cx="282575" cy="255587"/>
            </a:xfrm>
            <a:custGeom>
              <a:avLst/>
              <a:gdLst>
                <a:gd name="T0" fmla="*/ 12 w 74"/>
                <a:gd name="T1" fmla="*/ 67 h 67"/>
                <a:gd name="T2" fmla="*/ 0 w 74"/>
                <a:gd name="T3" fmla="*/ 66 h 67"/>
                <a:gd name="T4" fmla="*/ 72 w 74"/>
                <a:gd name="T5" fmla="*/ 0 h 67"/>
                <a:gd name="T6" fmla="*/ 74 w 74"/>
                <a:gd name="T7" fmla="*/ 12 h 67"/>
                <a:gd name="T8" fmla="*/ 12 w 74"/>
                <a:gd name="T9" fmla="*/ 67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4" h="67">
                  <a:moveTo>
                    <a:pt x="12" y="67"/>
                  </a:moveTo>
                  <a:cubicBezTo>
                    <a:pt x="0" y="66"/>
                    <a:pt x="0" y="66"/>
                    <a:pt x="0" y="66"/>
                  </a:cubicBezTo>
                  <a:cubicBezTo>
                    <a:pt x="0" y="65"/>
                    <a:pt x="8" y="9"/>
                    <a:pt x="72" y="0"/>
                  </a:cubicBezTo>
                  <a:cubicBezTo>
                    <a:pt x="74" y="12"/>
                    <a:pt x="74" y="12"/>
                    <a:pt x="74" y="12"/>
                  </a:cubicBezTo>
                  <a:cubicBezTo>
                    <a:pt x="19" y="20"/>
                    <a:pt x="12" y="67"/>
                    <a:pt x="12" y="6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6" name="Freeform 430">
              <a:extLst>
                <a:ext uri="{FF2B5EF4-FFF2-40B4-BE49-F238E27FC236}">
                  <a16:creationId xmlns="" xmlns:a16="http://schemas.microsoft.com/office/drawing/2014/main" id="{63598791-8162-4D18-B263-BE6DF3BA4E06}"/>
                </a:ext>
              </a:extLst>
            </p:cNvPr>
            <p:cNvSpPr>
              <a:spLocks/>
            </p:cNvSpPr>
            <p:nvPr/>
          </p:nvSpPr>
          <p:spPr bwMode="auto">
            <a:xfrm>
              <a:off x="-703263" y="4324350"/>
              <a:ext cx="188913" cy="209550"/>
            </a:xfrm>
            <a:custGeom>
              <a:avLst/>
              <a:gdLst>
                <a:gd name="T0" fmla="*/ 17 w 50"/>
                <a:gd name="T1" fmla="*/ 55 h 55"/>
                <a:gd name="T2" fmla="*/ 13 w 50"/>
                <a:gd name="T3" fmla="*/ 53 h 55"/>
                <a:gd name="T4" fmla="*/ 12 w 50"/>
                <a:gd name="T5" fmla="*/ 45 h 55"/>
                <a:gd name="T6" fmla="*/ 33 w 50"/>
                <a:gd name="T7" fmla="*/ 21 h 55"/>
                <a:gd name="T8" fmla="*/ 5 w 50"/>
                <a:gd name="T9" fmla="*/ 12 h 55"/>
                <a:gd name="T10" fmla="*/ 1 w 50"/>
                <a:gd name="T11" fmla="*/ 5 h 55"/>
                <a:gd name="T12" fmla="*/ 8 w 50"/>
                <a:gd name="T13" fmla="*/ 1 h 55"/>
                <a:gd name="T14" fmla="*/ 46 w 50"/>
                <a:gd name="T15" fmla="*/ 13 h 55"/>
                <a:gd name="T16" fmla="*/ 50 w 50"/>
                <a:gd name="T17" fmla="*/ 17 h 55"/>
                <a:gd name="T18" fmla="*/ 48 w 50"/>
                <a:gd name="T19" fmla="*/ 22 h 55"/>
                <a:gd name="T20" fmla="*/ 21 w 50"/>
                <a:gd name="T21" fmla="*/ 53 h 55"/>
                <a:gd name="T22" fmla="*/ 17 w 50"/>
                <a:gd name="T23" fmla="*/ 5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0" h="55">
                  <a:moveTo>
                    <a:pt x="17" y="55"/>
                  </a:moveTo>
                  <a:cubicBezTo>
                    <a:pt x="15" y="55"/>
                    <a:pt x="14" y="54"/>
                    <a:pt x="13" y="53"/>
                  </a:cubicBezTo>
                  <a:cubicBezTo>
                    <a:pt x="10" y="51"/>
                    <a:pt x="10" y="47"/>
                    <a:pt x="12" y="45"/>
                  </a:cubicBezTo>
                  <a:cubicBezTo>
                    <a:pt x="33" y="21"/>
                    <a:pt x="33" y="21"/>
                    <a:pt x="33" y="21"/>
                  </a:cubicBezTo>
                  <a:cubicBezTo>
                    <a:pt x="5" y="12"/>
                    <a:pt x="5" y="12"/>
                    <a:pt x="5" y="12"/>
                  </a:cubicBezTo>
                  <a:cubicBezTo>
                    <a:pt x="2" y="11"/>
                    <a:pt x="0" y="8"/>
                    <a:pt x="1" y="5"/>
                  </a:cubicBezTo>
                  <a:cubicBezTo>
                    <a:pt x="2" y="1"/>
                    <a:pt x="5" y="0"/>
                    <a:pt x="8" y="1"/>
                  </a:cubicBezTo>
                  <a:cubicBezTo>
                    <a:pt x="46" y="13"/>
                    <a:pt x="46" y="13"/>
                    <a:pt x="46" y="13"/>
                  </a:cubicBezTo>
                  <a:cubicBezTo>
                    <a:pt x="48" y="13"/>
                    <a:pt x="49" y="15"/>
                    <a:pt x="50" y="17"/>
                  </a:cubicBezTo>
                  <a:cubicBezTo>
                    <a:pt x="50" y="19"/>
                    <a:pt x="50" y="21"/>
                    <a:pt x="48" y="22"/>
                  </a:cubicBezTo>
                  <a:cubicBezTo>
                    <a:pt x="21" y="53"/>
                    <a:pt x="21" y="53"/>
                    <a:pt x="21" y="53"/>
                  </a:cubicBezTo>
                  <a:cubicBezTo>
                    <a:pt x="20" y="54"/>
                    <a:pt x="18" y="55"/>
                    <a:pt x="17" y="5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7" name="Freeform 431">
              <a:extLst>
                <a:ext uri="{FF2B5EF4-FFF2-40B4-BE49-F238E27FC236}">
                  <a16:creationId xmlns="" xmlns:a16="http://schemas.microsoft.com/office/drawing/2014/main" id="{744E241D-AF29-4E2D-9BC6-0A2832C29252}"/>
                </a:ext>
              </a:extLst>
            </p:cNvPr>
            <p:cNvSpPr>
              <a:spLocks/>
            </p:cNvSpPr>
            <p:nvPr/>
          </p:nvSpPr>
          <p:spPr bwMode="auto">
            <a:xfrm>
              <a:off x="-681038" y="4572000"/>
              <a:ext cx="163513" cy="165100"/>
            </a:xfrm>
            <a:custGeom>
              <a:avLst/>
              <a:gdLst>
                <a:gd name="T0" fmla="*/ 84 w 103"/>
                <a:gd name="T1" fmla="*/ 104 h 104"/>
                <a:gd name="T2" fmla="*/ 0 w 103"/>
                <a:gd name="T3" fmla="*/ 20 h 104"/>
                <a:gd name="T4" fmla="*/ 22 w 103"/>
                <a:gd name="T5" fmla="*/ 0 h 104"/>
                <a:gd name="T6" fmla="*/ 103 w 103"/>
                <a:gd name="T7" fmla="*/ 84 h 104"/>
                <a:gd name="T8" fmla="*/ 84 w 103"/>
                <a:gd name="T9" fmla="*/ 104 h 104"/>
                <a:gd name="T10" fmla="*/ 84 w 103"/>
                <a:gd name="T11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3" h="104">
                  <a:moveTo>
                    <a:pt x="84" y="104"/>
                  </a:moveTo>
                  <a:lnTo>
                    <a:pt x="0" y="20"/>
                  </a:lnTo>
                  <a:lnTo>
                    <a:pt x="22" y="0"/>
                  </a:lnTo>
                  <a:lnTo>
                    <a:pt x="103" y="84"/>
                  </a:lnTo>
                  <a:lnTo>
                    <a:pt x="84" y="104"/>
                  </a:lnTo>
                  <a:lnTo>
                    <a:pt x="84" y="10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8" name="Freeform 432">
              <a:extLst>
                <a:ext uri="{FF2B5EF4-FFF2-40B4-BE49-F238E27FC236}">
                  <a16:creationId xmlns="" xmlns:a16="http://schemas.microsoft.com/office/drawing/2014/main" id="{D5F4A646-28B2-4C9E-91BC-054EB3DA21FF}"/>
                </a:ext>
              </a:extLst>
            </p:cNvPr>
            <p:cNvSpPr>
              <a:spLocks/>
            </p:cNvSpPr>
            <p:nvPr/>
          </p:nvSpPr>
          <p:spPr bwMode="auto">
            <a:xfrm>
              <a:off x="-681038" y="4572000"/>
              <a:ext cx="166688" cy="165100"/>
            </a:xfrm>
            <a:custGeom>
              <a:avLst/>
              <a:gdLst>
                <a:gd name="T0" fmla="*/ 19 w 105"/>
                <a:gd name="T1" fmla="*/ 104 h 104"/>
                <a:gd name="T2" fmla="*/ 0 w 105"/>
                <a:gd name="T3" fmla="*/ 82 h 104"/>
                <a:gd name="T4" fmla="*/ 84 w 105"/>
                <a:gd name="T5" fmla="*/ 0 h 104"/>
                <a:gd name="T6" fmla="*/ 105 w 105"/>
                <a:gd name="T7" fmla="*/ 22 h 104"/>
                <a:gd name="T8" fmla="*/ 19 w 105"/>
                <a:gd name="T9" fmla="*/ 104 h 104"/>
                <a:gd name="T10" fmla="*/ 19 w 105"/>
                <a:gd name="T11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5" h="104">
                  <a:moveTo>
                    <a:pt x="19" y="104"/>
                  </a:moveTo>
                  <a:lnTo>
                    <a:pt x="0" y="82"/>
                  </a:lnTo>
                  <a:lnTo>
                    <a:pt x="84" y="0"/>
                  </a:lnTo>
                  <a:lnTo>
                    <a:pt x="105" y="22"/>
                  </a:lnTo>
                  <a:lnTo>
                    <a:pt x="19" y="104"/>
                  </a:lnTo>
                  <a:lnTo>
                    <a:pt x="19" y="10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9" name="Freeform 433">
              <a:extLst>
                <a:ext uri="{FF2B5EF4-FFF2-40B4-BE49-F238E27FC236}">
                  <a16:creationId xmlns="" xmlns:a16="http://schemas.microsoft.com/office/drawing/2014/main" id="{E6A07AB5-2D40-4037-996A-9DB493749CC2}"/>
                </a:ext>
              </a:extLst>
            </p:cNvPr>
            <p:cNvSpPr>
              <a:spLocks/>
            </p:cNvSpPr>
            <p:nvPr/>
          </p:nvSpPr>
          <p:spPr bwMode="auto">
            <a:xfrm>
              <a:off x="-947738" y="4351338"/>
              <a:ext cx="163513" cy="168275"/>
            </a:xfrm>
            <a:custGeom>
              <a:avLst/>
              <a:gdLst>
                <a:gd name="T0" fmla="*/ 84 w 103"/>
                <a:gd name="T1" fmla="*/ 106 h 106"/>
                <a:gd name="T2" fmla="*/ 0 w 103"/>
                <a:gd name="T3" fmla="*/ 22 h 106"/>
                <a:gd name="T4" fmla="*/ 22 w 103"/>
                <a:gd name="T5" fmla="*/ 0 h 106"/>
                <a:gd name="T6" fmla="*/ 103 w 103"/>
                <a:gd name="T7" fmla="*/ 86 h 106"/>
                <a:gd name="T8" fmla="*/ 84 w 103"/>
                <a:gd name="T9" fmla="*/ 106 h 106"/>
                <a:gd name="T10" fmla="*/ 84 w 103"/>
                <a:gd name="T11" fmla="*/ 106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3" h="106">
                  <a:moveTo>
                    <a:pt x="84" y="106"/>
                  </a:moveTo>
                  <a:lnTo>
                    <a:pt x="0" y="22"/>
                  </a:lnTo>
                  <a:lnTo>
                    <a:pt x="22" y="0"/>
                  </a:lnTo>
                  <a:lnTo>
                    <a:pt x="103" y="86"/>
                  </a:lnTo>
                  <a:lnTo>
                    <a:pt x="84" y="106"/>
                  </a:lnTo>
                  <a:lnTo>
                    <a:pt x="84" y="10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50" name="Freeform 434">
              <a:extLst>
                <a:ext uri="{FF2B5EF4-FFF2-40B4-BE49-F238E27FC236}">
                  <a16:creationId xmlns="" xmlns:a16="http://schemas.microsoft.com/office/drawing/2014/main" id="{ACCD8950-5BB3-416A-B328-C1FC4FCB6A09}"/>
                </a:ext>
              </a:extLst>
            </p:cNvPr>
            <p:cNvSpPr>
              <a:spLocks/>
            </p:cNvSpPr>
            <p:nvPr/>
          </p:nvSpPr>
          <p:spPr bwMode="auto">
            <a:xfrm>
              <a:off x="-947738" y="4354513"/>
              <a:ext cx="168275" cy="165100"/>
            </a:xfrm>
            <a:custGeom>
              <a:avLst/>
              <a:gdLst>
                <a:gd name="T0" fmla="*/ 19 w 106"/>
                <a:gd name="T1" fmla="*/ 104 h 104"/>
                <a:gd name="T2" fmla="*/ 0 w 106"/>
                <a:gd name="T3" fmla="*/ 82 h 104"/>
                <a:gd name="T4" fmla="*/ 84 w 106"/>
                <a:gd name="T5" fmla="*/ 0 h 104"/>
                <a:gd name="T6" fmla="*/ 106 w 106"/>
                <a:gd name="T7" fmla="*/ 20 h 104"/>
                <a:gd name="T8" fmla="*/ 19 w 106"/>
                <a:gd name="T9" fmla="*/ 104 h 104"/>
                <a:gd name="T10" fmla="*/ 19 w 106"/>
                <a:gd name="T11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6" h="104">
                  <a:moveTo>
                    <a:pt x="19" y="104"/>
                  </a:moveTo>
                  <a:lnTo>
                    <a:pt x="0" y="82"/>
                  </a:lnTo>
                  <a:lnTo>
                    <a:pt x="84" y="0"/>
                  </a:lnTo>
                  <a:lnTo>
                    <a:pt x="106" y="20"/>
                  </a:lnTo>
                  <a:lnTo>
                    <a:pt x="19" y="104"/>
                  </a:lnTo>
                  <a:lnTo>
                    <a:pt x="19" y="10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51" name="Freeform 435">
              <a:extLst>
                <a:ext uri="{FF2B5EF4-FFF2-40B4-BE49-F238E27FC236}">
                  <a16:creationId xmlns="" xmlns:a16="http://schemas.microsoft.com/office/drawing/2014/main" id="{6BF3D10D-25AC-4DDB-883E-93544D2851A7}"/>
                </a:ext>
              </a:extLst>
            </p:cNvPr>
            <p:cNvSpPr>
              <a:spLocks/>
            </p:cNvSpPr>
            <p:nvPr/>
          </p:nvSpPr>
          <p:spPr bwMode="auto">
            <a:xfrm>
              <a:off x="-1081088" y="4164013"/>
              <a:ext cx="731838" cy="731837"/>
            </a:xfrm>
            <a:custGeom>
              <a:avLst/>
              <a:gdLst>
                <a:gd name="T0" fmla="*/ 187 w 192"/>
                <a:gd name="T1" fmla="*/ 65 h 192"/>
                <a:gd name="T2" fmla="*/ 174 w 192"/>
                <a:gd name="T3" fmla="*/ 71 h 192"/>
                <a:gd name="T4" fmla="*/ 171 w 192"/>
                <a:gd name="T5" fmla="*/ 71 h 192"/>
                <a:gd name="T6" fmla="*/ 176 w 192"/>
                <a:gd name="T7" fmla="*/ 96 h 192"/>
                <a:gd name="T8" fmla="*/ 96 w 192"/>
                <a:gd name="T9" fmla="*/ 176 h 192"/>
                <a:gd name="T10" fmla="*/ 16 w 192"/>
                <a:gd name="T11" fmla="*/ 96 h 192"/>
                <a:gd name="T12" fmla="*/ 96 w 192"/>
                <a:gd name="T13" fmla="*/ 16 h 192"/>
                <a:gd name="T14" fmla="*/ 159 w 192"/>
                <a:gd name="T15" fmla="*/ 47 h 192"/>
                <a:gd name="T16" fmla="*/ 171 w 192"/>
                <a:gd name="T17" fmla="*/ 37 h 192"/>
                <a:gd name="T18" fmla="*/ 96 w 192"/>
                <a:gd name="T19" fmla="*/ 0 h 192"/>
                <a:gd name="T20" fmla="*/ 0 w 192"/>
                <a:gd name="T21" fmla="*/ 96 h 192"/>
                <a:gd name="T22" fmla="*/ 96 w 192"/>
                <a:gd name="T23" fmla="*/ 192 h 192"/>
                <a:gd name="T24" fmla="*/ 192 w 192"/>
                <a:gd name="T25" fmla="*/ 96 h 192"/>
                <a:gd name="T26" fmla="*/ 187 w 192"/>
                <a:gd name="T27" fmla="*/ 65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92" h="192">
                  <a:moveTo>
                    <a:pt x="187" y="65"/>
                  </a:moveTo>
                  <a:cubicBezTo>
                    <a:pt x="184" y="69"/>
                    <a:pt x="179" y="71"/>
                    <a:pt x="174" y="71"/>
                  </a:cubicBezTo>
                  <a:cubicBezTo>
                    <a:pt x="173" y="71"/>
                    <a:pt x="172" y="71"/>
                    <a:pt x="171" y="71"/>
                  </a:cubicBezTo>
                  <a:cubicBezTo>
                    <a:pt x="174" y="78"/>
                    <a:pt x="176" y="87"/>
                    <a:pt x="176" y="96"/>
                  </a:cubicBezTo>
                  <a:cubicBezTo>
                    <a:pt x="176" y="140"/>
                    <a:pt x="140" y="176"/>
                    <a:pt x="96" y="176"/>
                  </a:cubicBezTo>
                  <a:cubicBezTo>
                    <a:pt x="52" y="176"/>
                    <a:pt x="16" y="140"/>
                    <a:pt x="16" y="96"/>
                  </a:cubicBezTo>
                  <a:cubicBezTo>
                    <a:pt x="16" y="52"/>
                    <a:pt x="52" y="16"/>
                    <a:pt x="96" y="16"/>
                  </a:cubicBezTo>
                  <a:cubicBezTo>
                    <a:pt x="121" y="16"/>
                    <a:pt x="144" y="28"/>
                    <a:pt x="159" y="47"/>
                  </a:cubicBezTo>
                  <a:cubicBezTo>
                    <a:pt x="161" y="42"/>
                    <a:pt x="166" y="38"/>
                    <a:pt x="171" y="37"/>
                  </a:cubicBezTo>
                  <a:cubicBezTo>
                    <a:pt x="154" y="14"/>
                    <a:pt x="126" y="0"/>
                    <a:pt x="96" y="0"/>
                  </a:cubicBezTo>
                  <a:cubicBezTo>
                    <a:pt x="43" y="0"/>
                    <a:pt x="0" y="43"/>
                    <a:pt x="0" y="96"/>
                  </a:cubicBezTo>
                  <a:cubicBezTo>
                    <a:pt x="0" y="149"/>
                    <a:pt x="43" y="192"/>
                    <a:pt x="96" y="192"/>
                  </a:cubicBezTo>
                  <a:cubicBezTo>
                    <a:pt x="149" y="192"/>
                    <a:pt x="192" y="149"/>
                    <a:pt x="192" y="96"/>
                  </a:cubicBezTo>
                  <a:cubicBezTo>
                    <a:pt x="192" y="85"/>
                    <a:pt x="190" y="75"/>
                    <a:pt x="187" y="6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52" name="Freeform 436">
              <a:extLst>
                <a:ext uri="{FF2B5EF4-FFF2-40B4-BE49-F238E27FC236}">
                  <a16:creationId xmlns="" xmlns:a16="http://schemas.microsoft.com/office/drawing/2014/main" id="{7C7A2345-0D98-4F8E-B1E7-6065313C447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506413" y="4283075"/>
              <a:ext cx="176213" cy="174625"/>
            </a:xfrm>
            <a:custGeom>
              <a:avLst/>
              <a:gdLst>
                <a:gd name="T0" fmla="*/ 23 w 46"/>
                <a:gd name="T1" fmla="*/ 46 h 46"/>
                <a:gd name="T2" fmla="*/ 7 w 46"/>
                <a:gd name="T3" fmla="*/ 39 h 46"/>
                <a:gd name="T4" fmla="*/ 0 w 46"/>
                <a:gd name="T5" fmla="*/ 23 h 46"/>
                <a:gd name="T6" fmla="*/ 7 w 46"/>
                <a:gd name="T7" fmla="*/ 7 h 46"/>
                <a:gd name="T8" fmla="*/ 23 w 46"/>
                <a:gd name="T9" fmla="*/ 0 h 46"/>
                <a:gd name="T10" fmla="*/ 46 w 46"/>
                <a:gd name="T11" fmla="*/ 23 h 46"/>
                <a:gd name="T12" fmla="*/ 39 w 46"/>
                <a:gd name="T13" fmla="*/ 39 h 46"/>
                <a:gd name="T14" fmla="*/ 23 w 46"/>
                <a:gd name="T15" fmla="*/ 46 h 46"/>
                <a:gd name="T16" fmla="*/ 23 w 46"/>
                <a:gd name="T17" fmla="*/ 12 h 46"/>
                <a:gd name="T18" fmla="*/ 15 w 46"/>
                <a:gd name="T19" fmla="*/ 15 h 46"/>
                <a:gd name="T20" fmla="*/ 12 w 46"/>
                <a:gd name="T21" fmla="*/ 23 h 46"/>
                <a:gd name="T22" fmla="*/ 15 w 46"/>
                <a:gd name="T23" fmla="*/ 31 h 46"/>
                <a:gd name="T24" fmla="*/ 31 w 46"/>
                <a:gd name="T25" fmla="*/ 31 h 46"/>
                <a:gd name="T26" fmla="*/ 34 w 46"/>
                <a:gd name="T27" fmla="*/ 23 h 46"/>
                <a:gd name="T28" fmla="*/ 23 w 46"/>
                <a:gd name="T29" fmla="*/ 12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6" h="46">
                  <a:moveTo>
                    <a:pt x="23" y="46"/>
                  </a:moveTo>
                  <a:cubicBezTo>
                    <a:pt x="17" y="46"/>
                    <a:pt x="11" y="43"/>
                    <a:pt x="7" y="39"/>
                  </a:cubicBezTo>
                  <a:cubicBezTo>
                    <a:pt x="3" y="35"/>
                    <a:pt x="0" y="29"/>
                    <a:pt x="0" y="23"/>
                  </a:cubicBezTo>
                  <a:cubicBezTo>
                    <a:pt x="0" y="17"/>
                    <a:pt x="3" y="11"/>
                    <a:pt x="7" y="7"/>
                  </a:cubicBezTo>
                  <a:cubicBezTo>
                    <a:pt x="11" y="2"/>
                    <a:pt x="17" y="0"/>
                    <a:pt x="23" y="0"/>
                  </a:cubicBezTo>
                  <a:cubicBezTo>
                    <a:pt x="36" y="0"/>
                    <a:pt x="46" y="10"/>
                    <a:pt x="46" y="23"/>
                  </a:cubicBezTo>
                  <a:cubicBezTo>
                    <a:pt x="46" y="29"/>
                    <a:pt x="44" y="35"/>
                    <a:pt x="39" y="39"/>
                  </a:cubicBezTo>
                  <a:cubicBezTo>
                    <a:pt x="35" y="43"/>
                    <a:pt x="29" y="46"/>
                    <a:pt x="23" y="46"/>
                  </a:cubicBezTo>
                  <a:close/>
                  <a:moveTo>
                    <a:pt x="23" y="12"/>
                  </a:moveTo>
                  <a:cubicBezTo>
                    <a:pt x="20" y="12"/>
                    <a:pt x="18" y="13"/>
                    <a:pt x="15" y="15"/>
                  </a:cubicBezTo>
                  <a:cubicBezTo>
                    <a:pt x="13" y="17"/>
                    <a:pt x="12" y="20"/>
                    <a:pt x="12" y="23"/>
                  </a:cubicBezTo>
                  <a:cubicBezTo>
                    <a:pt x="12" y="26"/>
                    <a:pt x="13" y="29"/>
                    <a:pt x="15" y="31"/>
                  </a:cubicBezTo>
                  <a:cubicBezTo>
                    <a:pt x="20" y="35"/>
                    <a:pt x="27" y="35"/>
                    <a:pt x="31" y="31"/>
                  </a:cubicBezTo>
                  <a:cubicBezTo>
                    <a:pt x="33" y="28"/>
                    <a:pt x="34" y="26"/>
                    <a:pt x="34" y="23"/>
                  </a:cubicBezTo>
                  <a:cubicBezTo>
                    <a:pt x="34" y="17"/>
                    <a:pt x="29" y="12"/>
                    <a:pt x="23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135" name="Rectangle 134">
            <a:extLst>
              <a:ext uri="{FF2B5EF4-FFF2-40B4-BE49-F238E27FC236}">
                <a16:creationId xmlns="" xmlns:a16="http://schemas.microsoft.com/office/drawing/2014/main" id="{31F3F082-A9A1-4C6B-80A7-BABF66812CA3}"/>
              </a:ext>
            </a:extLst>
          </p:cNvPr>
          <p:cNvSpPr/>
          <p:nvPr/>
        </p:nvSpPr>
        <p:spPr>
          <a:xfrm>
            <a:off x="900626" y="5104929"/>
            <a:ext cx="2160270" cy="539837"/>
          </a:xfrm>
          <a:prstGeom prst="rect">
            <a:avLst/>
          </a:prstGeom>
          <a:noFill/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r>
              <a:rPr lang="en-US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Problem Definition</a:t>
            </a:r>
          </a:p>
        </p:txBody>
      </p:sp>
      <p:sp>
        <p:nvSpPr>
          <p:cNvPr id="136" name="Rectangle 135">
            <a:extLst>
              <a:ext uri="{FF2B5EF4-FFF2-40B4-BE49-F238E27FC236}">
                <a16:creationId xmlns="" xmlns:a16="http://schemas.microsoft.com/office/drawing/2014/main" id="{52F13A59-E657-4FD9-AE3E-83C5187CE969}"/>
              </a:ext>
            </a:extLst>
          </p:cNvPr>
          <p:cNvSpPr/>
          <p:nvPr/>
        </p:nvSpPr>
        <p:spPr>
          <a:xfrm>
            <a:off x="3374155" y="5104929"/>
            <a:ext cx="2160270" cy="539837"/>
          </a:xfrm>
          <a:prstGeom prst="rect">
            <a:avLst/>
          </a:prstGeom>
          <a:noFill/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r>
              <a:rPr lang="en-US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Framework</a:t>
            </a:r>
          </a:p>
        </p:txBody>
      </p:sp>
      <p:sp>
        <p:nvSpPr>
          <p:cNvPr id="137" name="Rectangle 136">
            <a:extLst>
              <a:ext uri="{FF2B5EF4-FFF2-40B4-BE49-F238E27FC236}">
                <a16:creationId xmlns="" xmlns:a16="http://schemas.microsoft.com/office/drawing/2014/main" id="{CF793D19-054C-4991-B7B2-D70F8DD51E0B}"/>
              </a:ext>
            </a:extLst>
          </p:cNvPr>
          <p:cNvSpPr/>
          <p:nvPr/>
        </p:nvSpPr>
        <p:spPr>
          <a:xfrm>
            <a:off x="5847684" y="5104929"/>
            <a:ext cx="2160270" cy="539837"/>
          </a:xfrm>
          <a:prstGeom prst="rect">
            <a:avLst/>
          </a:prstGeom>
          <a:noFill/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r>
              <a:rPr lang="en-US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Key Results</a:t>
            </a:r>
          </a:p>
        </p:txBody>
      </p:sp>
      <p:sp>
        <p:nvSpPr>
          <p:cNvPr id="191" name="Rectangle 190">
            <a:extLst>
              <a:ext uri="{FF2B5EF4-FFF2-40B4-BE49-F238E27FC236}">
                <a16:creationId xmlns="" xmlns:a16="http://schemas.microsoft.com/office/drawing/2014/main" id="{BC4D71C4-BE3B-475D-BE66-DCEF75E080AA}"/>
              </a:ext>
            </a:extLst>
          </p:cNvPr>
          <p:cNvSpPr/>
          <p:nvPr/>
        </p:nvSpPr>
        <p:spPr>
          <a:xfrm>
            <a:off x="-23106" y="5644766"/>
            <a:ext cx="9167106" cy="1213234"/>
          </a:xfrm>
          <a:prstGeom prst="rect">
            <a:avLst/>
          </a:prstGeom>
          <a:solidFill>
            <a:schemeClr val="accent1">
              <a:lumMod val="20000"/>
              <a:lumOff val="80000"/>
              <a:alpha val="30000"/>
            </a:schemeClr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900"/>
              </a:spcBef>
              <a:spcAft>
                <a:spcPts val="600"/>
              </a:spcAft>
            </a:pPr>
            <a:endParaRPr lang="en-US" sz="1400" b="1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92" name="Google Shape;203;p26">
            <a:extLst>
              <a:ext uri="{FF2B5EF4-FFF2-40B4-BE49-F238E27FC236}">
                <a16:creationId xmlns="" xmlns:a16="http://schemas.microsoft.com/office/drawing/2014/main" id="{D63327E9-1C6D-4C5A-BC74-28C8FD15503C}"/>
              </a:ext>
            </a:extLst>
          </p:cNvPr>
          <p:cNvSpPr/>
          <p:nvPr/>
        </p:nvSpPr>
        <p:spPr>
          <a:xfrm rot="10800000" flipV="1">
            <a:off x="-23106" y="5806843"/>
            <a:ext cx="1663467" cy="1077630"/>
          </a:xfrm>
          <a:custGeom>
            <a:avLst/>
            <a:gdLst/>
            <a:ahLst/>
            <a:cxnLst/>
            <a:rect l="l" t="t" r="r" b="b"/>
            <a:pathLst>
              <a:path w="88563" h="57373" extrusionOk="0">
                <a:moveTo>
                  <a:pt x="77406" y="1"/>
                </a:moveTo>
                <a:cubicBezTo>
                  <a:pt x="73923" y="1"/>
                  <a:pt x="70569" y="1636"/>
                  <a:pt x="68428" y="4533"/>
                </a:cubicBezTo>
                <a:cubicBezTo>
                  <a:pt x="66354" y="2849"/>
                  <a:pt x="63871" y="2037"/>
                  <a:pt x="61410" y="2037"/>
                </a:cubicBezTo>
                <a:cubicBezTo>
                  <a:pt x="57939" y="2037"/>
                  <a:pt x="54510" y="3652"/>
                  <a:pt x="52326" y="6713"/>
                </a:cubicBezTo>
                <a:cubicBezTo>
                  <a:pt x="50354" y="3053"/>
                  <a:pt x="46550" y="846"/>
                  <a:pt x="42494" y="846"/>
                </a:cubicBezTo>
                <a:cubicBezTo>
                  <a:pt x="41870" y="846"/>
                  <a:pt x="41240" y="898"/>
                  <a:pt x="40610" y="1005"/>
                </a:cubicBezTo>
                <a:cubicBezTo>
                  <a:pt x="35883" y="1822"/>
                  <a:pt x="32205" y="5555"/>
                  <a:pt x="31469" y="10296"/>
                </a:cubicBezTo>
                <a:cubicBezTo>
                  <a:pt x="29397" y="8536"/>
                  <a:pt x="26838" y="7653"/>
                  <a:pt x="24274" y="7653"/>
                </a:cubicBezTo>
                <a:cubicBezTo>
                  <a:pt x="21817" y="7653"/>
                  <a:pt x="19356" y="8464"/>
                  <a:pt x="17315" y="10091"/>
                </a:cubicBezTo>
                <a:cubicBezTo>
                  <a:pt x="13160" y="13415"/>
                  <a:pt x="11921" y="19218"/>
                  <a:pt x="14373" y="23945"/>
                </a:cubicBezTo>
                <a:cubicBezTo>
                  <a:pt x="10504" y="26302"/>
                  <a:pt x="8447" y="30770"/>
                  <a:pt x="9183" y="35252"/>
                </a:cubicBezTo>
                <a:cubicBezTo>
                  <a:pt x="3883" y="36206"/>
                  <a:pt x="28" y="40810"/>
                  <a:pt x="15" y="46205"/>
                </a:cubicBezTo>
                <a:cubicBezTo>
                  <a:pt x="1" y="51586"/>
                  <a:pt x="3829" y="56204"/>
                  <a:pt x="9128" y="57198"/>
                </a:cubicBezTo>
                <a:lnTo>
                  <a:pt x="9155" y="57198"/>
                </a:lnTo>
                <a:cubicBezTo>
                  <a:pt x="9817" y="57315"/>
                  <a:pt x="10485" y="57373"/>
                  <a:pt x="11154" y="57373"/>
                </a:cubicBezTo>
                <a:cubicBezTo>
                  <a:pt x="11739" y="57373"/>
                  <a:pt x="12323" y="57328"/>
                  <a:pt x="12902" y="57239"/>
                </a:cubicBezTo>
                <a:cubicBezTo>
                  <a:pt x="16726" y="57262"/>
                  <a:pt x="23112" y="57271"/>
                  <a:pt x="30601" y="57271"/>
                </a:cubicBezTo>
                <a:cubicBezTo>
                  <a:pt x="54137" y="57271"/>
                  <a:pt x="88562" y="57185"/>
                  <a:pt x="88562" y="57185"/>
                </a:cubicBezTo>
                <a:lnTo>
                  <a:pt x="88562" y="10377"/>
                </a:lnTo>
                <a:lnTo>
                  <a:pt x="88535" y="10377"/>
                </a:lnTo>
                <a:cubicBezTo>
                  <a:pt x="88208" y="5718"/>
                  <a:pt x="85007" y="1740"/>
                  <a:pt x="80525" y="446"/>
                </a:cubicBezTo>
                <a:cubicBezTo>
                  <a:pt x="79493" y="146"/>
                  <a:pt x="78444" y="1"/>
                  <a:pt x="77406" y="1"/>
                </a:cubicBezTo>
                <a:close/>
              </a:path>
            </a:pathLst>
          </a:custGeom>
          <a:solidFill>
            <a:schemeClr val="accent1"/>
          </a:solidFill>
          <a:ln w="9525" cap="flat" cmpd="sng">
            <a:noFill/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 </a:t>
            </a:r>
            <a:endParaRPr/>
          </a:p>
        </p:txBody>
      </p:sp>
      <p:grpSp>
        <p:nvGrpSpPr>
          <p:cNvPr id="193" name="Google Shape;245;p28">
            <a:extLst>
              <a:ext uri="{FF2B5EF4-FFF2-40B4-BE49-F238E27FC236}">
                <a16:creationId xmlns="" xmlns:a16="http://schemas.microsoft.com/office/drawing/2014/main" id="{9EBD7600-9898-4138-B85D-DEF7755CFCEC}"/>
              </a:ext>
            </a:extLst>
          </p:cNvPr>
          <p:cNvGrpSpPr/>
          <p:nvPr/>
        </p:nvGrpSpPr>
        <p:grpSpPr>
          <a:xfrm>
            <a:off x="90019" y="5836842"/>
            <a:ext cx="2911982" cy="761934"/>
            <a:chOff x="5703550" y="3997650"/>
            <a:chExt cx="5242652" cy="1394210"/>
          </a:xfrm>
        </p:grpSpPr>
        <p:sp>
          <p:nvSpPr>
            <p:cNvPr id="194" name="Google Shape;246;p28">
              <a:extLst>
                <a:ext uri="{FF2B5EF4-FFF2-40B4-BE49-F238E27FC236}">
                  <a16:creationId xmlns="" xmlns:a16="http://schemas.microsoft.com/office/drawing/2014/main" id="{81E6EE36-E34C-4086-827A-84D121B589EA}"/>
                </a:ext>
              </a:extLst>
            </p:cNvPr>
            <p:cNvSpPr/>
            <p:nvPr/>
          </p:nvSpPr>
          <p:spPr>
            <a:xfrm>
              <a:off x="8092864" y="5081599"/>
              <a:ext cx="110708" cy="74583"/>
            </a:xfrm>
            <a:custGeom>
              <a:avLst/>
              <a:gdLst/>
              <a:ahLst/>
              <a:cxnLst/>
              <a:rect l="l" t="t" r="r" b="b"/>
              <a:pathLst>
                <a:path w="1235" h="832" extrusionOk="0">
                  <a:moveTo>
                    <a:pt x="201" y="0"/>
                  </a:moveTo>
                  <a:cubicBezTo>
                    <a:pt x="80" y="0"/>
                    <a:pt x="0" y="165"/>
                    <a:pt x="117" y="256"/>
                  </a:cubicBezTo>
                  <a:lnTo>
                    <a:pt x="1005" y="809"/>
                  </a:lnTo>
                  <a:cubicBezTo>
                    <a:pt x="1029" y="824"/>
                    <a:pt x="1055" y="831"/>
                    <a:pt x="1082" y="831"/>
                  </a:cubicBezTo>
                  <a:cubicBezTo>
                    <a:pt x="1128" y="831"/>
                    <a:pt x="1173" y="809"/>
                    <a:pt x="1199" y="768"/>
                  </a:cubicBezTo>
                  <a:lnTo>
                    <a:pt x="1193" y="768"/>
                  </a:lnTo>
                  <a:cubicBezTo>
                    <a:pt x="1235" y="697"/>
                    <a:pt x="1217" y="615"/>
                    <a:pt x="1152" y="574"/>
                  </a:cubicBezTo>
                  <a:lnTo>
                    <a:pt x="264" y="15"/>
                  </a:lnTo>
                  <a:cubicBezTo>
                    <a:pt x="242" y="5"/>
                    <a:pt x="221" y="0"/>
                    <a:pt x="201" y="0"/>
                  </a:cubicBezTo>
                  <a:close/>
                </a:path>
              </a:pathLst>
            </a:custGeom>
            <a:solidFill>
              <a:srgbClr val="C7C7C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5" name="Google Shape;247;p28">
              <a:extLst>
                <a:ext uri="{FF2B5EF4-FFF2-40B4-BE49-F238E27FC236}">
                  <a16:creationId xmlns="" xmlns:a16="http://schemas.microsoft.com/office/drawing/2014/main" id="{5170C0D4-25C0-40A8-9C02-E953927D70A8}"/>
                </a:ext>
              </a:extLst>
            </p:cNvPr>
            <p:cNvSpPr/>
            <p:nvPr/>
          </p:nvSpPr>
          <p:spPr>
            <a:xfrm>
              <a:off x="8273224" y="5039916"/>
              <a:ext cx="110708" cy="74941"/>
            </a:xfrm>
            <a:custGeom>
              <a:avLst/>
              <a:gdLst/>
              <a:ahLst/>
              <a:cxnLst/>
              <a:rect l="l" t="t" r="r" b="b"/>
              <a:pathLst>
                <a:path w="1235" h="836" extrusionOk="0">
                  <a:moveTo>
                    <a:pt x="201" y="0"/>
                  </a:moveTo>
                  <a:cubicBezTo>
                    <a:pt x="80" y="0"/>
                    <a:pt x="1" y="165"/>
                    <a:pt x="117" y="256"/>
                  </a:cubicBezTo>
                  <a:lnTo>
                    <a:pt x="1005" y="815"/>
                  </a:lnTo>
                  <a:cubicBezTo>
                    <a:pt x="1027" y="829"/>
                    <a:pt x="1052" y="835"/>
                    <a:pt x="1077" y="835"/>
                  </a:cubicBezTo>
                  <a:cubicBezTo>
                    <a:pt x="1124" y="835"/>
                    <a:pt x="1172" y="811"/>
                    <a:pt x="1199" y="768"/>
                  </a:cubicBezTo>
                  <a:cubicBezTo>
                    <a:pt x="1235" y="703"/>
                    <a:pt x="1217" y="615"/>
                    <a:pt x="1152" y="580"/>
                  </a:cubicBezTo>
                  <a:lnTo>
                    <a:pt x="264" y="15"/>
                  </a:lnTo>
                  <a:cubicBezTo>
                    <a:pt x="242" y="5"/>
                    <a:pt x="221" y="0"/>
                    <a:pt x="201" y="0"/>
                  </a:cubicBezTo>
                  <a:close/>
                </a:path>
              </a:pathLst>
            </a:custGeom>
            <a:solidFill>
              <a:srgbClr val="C7C7C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6" name="Google Shape;248;p28">
              <a:extLst>
                <a:ext uri="{FF2B5EF4-FFF2-40B4-BE49-F238E27FC236}">
                  <a16:creationId xmlns="" xmlns:a16="http://schemas.microsoft.com/office/drawing/2014/main" id="{F304F150-B1FA-4BAD-AF12-5C805037D6A1}"/>
                </a:ext>
              </a:extLst>
            </p:cNvPr>
            <p:cNvSpPr/>
            <p:nvPr/>
          </p:nvSpPr>
          <p:spPr>
            <a:xfrm>
              <a:off x="10358294" y="4572434"/>
              <a:ext cx="111067" cy="74762"/>
            </a:xfrm>
            <a:custGeom>
              <a:avLst/>
              <a:gdLst/>
              <a:ahLst/>
              <a:cxnLst/>
              <a:rect l="l" t="t" r="r" b="b"/>
              <a:pathLst>
                <a:path w="1239" h="834" extrusionOk="0">
                  <a:moveTo>
                    <a:pt x="202" y="1"/>
                  </a:moveTo>
                  <a:cubicBezTo>
                    <a:pt x="81" y="1"/>
                    <a:pt x="0" y="168"/>
                    <a:pt x="121" y="258"/>
                  </a:cubicBezTo>
                  <a:lnTo>
                    <a:pt x="1009" y="811"/>
                  </a:lnTo>
                  <a:cubicBezTo>
                    <a:pt x="1033" y="826"/>
                    <a:pt x="1059" y="833"/>
                    <a:pt x="1086" y="833"/>
                  </a:cubicBezTo>
                  <a:cubicBezTo>
                    <a:pt x="1132" y="833"/>
                    <a:pt x="1177" y="811"/>
                    <a:pt x="1203" y="770"/>
                  </a:cubicBezTo>
                  <a:lnTo>
                    <a:pt x="1197" y="770"/>
                  </a:lnTo>
                  <a:cubicBezTo>
                    <a:pt x="1239" y="705"/>
                    <a:pt x="1221" y="617"/>
                    <a:pt x="1156" y="576"/>
                  </a:cubicBezTo>
                  <a:lnTo>
                    <a:pt x="268" y="17"/>
                  </a:lnTo>
                  <a:cubicBezTo>
                    <a:pt x="245" y="6"/>
                    <a:pt x="223" y="1"/>
                    <a:pt x="202" y="1"/>
                  </a:cubicBezTo>
                  <a:close/>
                </a:path>
              </a:pathLst>
            </a:custGeom>
            <a:solidFill>
              <a:srgbClr val="C7C7C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7" name="Google Shape;249;p28">
              <a:extLst>
                <a:ext uri="{FF2B5EF4-FFF2-40B4-BE49-F238E27FC236}">
                  <a16:creationId xmlns="" xmlns:a16="http://schemas.microsoft.com/office/drawing/2014/main" id="{1D198EA7-6CDB-474B-A59B-56BC89BDA928}"/>
                </a:ext>
              </a:extLst>
            </p:cNvPr>
            <p:cNvSpPr/>
            <p:nvPr/>
          </p:nvSpPr>
          <p:spPr>
            <a:xfrm>
              <a:off x="5703550" y="3997650"/>
              <a:ext cx="5242652" cy="1394210"/>
            </a:xfrm>
            <a:custGeom>
              <a:avLst/>
              <a:gdLst/>
              <a:ahLst/>
              <a:cxnLst/>
              <a:rect l="l" t="t" r="r" b="b"/>
              <a:pathLst>
                <a:path w="58484" h="15553" extrusionOk="0">
                  <a:moveTo>
                    <a:pt x="52875" y="0"/>
                  </a:moveTo>
                  <a:cubicBezTo>
                    <a:pt x="51801" y="0"/>
                    <a:pt x="50051" y="239"/>
                    <a:pt x="47128" y="975"/>
                  </a:cubicBezTo>
                  <a:cubicBezTo>
                    <a:pt x="46687" y="1092"/>
                    <a:pt x="46298" y="1198"/>
                    <a:pt x="45957" y="1310"/>
                  </a:cubicBezTo>
                  <a:lnTo>
                    <a:pt x="45069" y="1516"/>
                  </a:lnTo>
                  <a:lnTo>
                    <a:pt x="16939" y="7976"/>
                  </a:lnTo>
                  <a:cubicBezTo>
                    <a:pt x="16622" y="8020"/>
                    <a:pt x="16192" y="8061"/>
                    <a:pt x="15682" y="8061"/>
                  </a:cubicBezTo>
                  <a:cubicBezTo>
                    <a:pt x="14466" y="8061"/>
                    <a:pt x="12798" y="7829"/>
                    <a:pt x="11132" y="6847"/>
                  </a:cubicBezTo>
                  <a:cubicBezTo>
                    <a:pt x="7467" y="4693"/>
                    <a:pt x="2836" y="1404"/>
                    <a:pt x="2836" y="1404"/>
                  </a:cubicBezTo>
                  <a:lnTo>
                    <a:pt x="0" y="2057"/>
                  </a:lnTo>
                  <a:lnTo>
                    <a:pt x="6407" y="11477"/>
                  </a:lnTo>
                  <a:lnTo>
                    <a:pt x="6402" y="11471"/>
                  </a:lnTo>
                  <a:cubicBezTo>
                    <a:pt x="3966" y="12601"/>
                    <a:pt x="2571" y="13672"/>
                    <a:pt x="2748" y="14454"/>
                  </a:cubicBezTo>
                  <a:cubicBezTo>
                    <a:pt x="2918" y="15193"/>
                    <a:pt x="4459" y="15553"/>
                    <a:pt x="6887" y="15553"/>
                  </a:cubicBezTo>
                  <a:cubicBezTo>
                    <a:pt x="9488" y="15553"/>
                    <a:pt x="13107" y="15140"/>
                    <a:pt x="17151" y="14336"/>
                  </a:cubicBezTo>
                  <a:cubicBezTo>
                    <a:pt x="17276" y="14357"/>
                    <a:pt x="17401" y="14367"/>
                    <a:pt x="17526" y="14367"/>
                  </a:cubicBezTo>
                  <a:cubicBezTo>
                    <a:pt x="17688" y="14367"/>
                    <a:pt x="17850" y="14350"/>
                    <a:pt x="18010" y="14313"/>
                  </a:cubicBezTo>
                  <a:lnTo>
                    <a:pt x="45581" y="7988"/>
                  </a:lnTo>
                  <a:cubicBezTo>
                    <a:pt x="47010" y="7865"/>
                    <a:pt x="48428" y="7641"/>
                    <a:pt x="49823" y="7317"/>
                  </a:cubicBezTo>
                  <a:cubicBezTo>
                    <a:pt x="54747" y="6188"/>
                    <a:pt x="58483" y="4158"/>
                    <a:pt x="58172" y="2781"/>
                  </a:cubicBezTo>
                  <a:cubicBezTo>
                    <a:pt x="58072" y="2346"/>
                    <a:pt x="57566" y="2022"/>
                    <a:pt x="56765" y="1828"/>
                  </a:cubicBezTo>
                  <a:cubicBezTo>
                    <a:pt x="56236" y="1557"/>
                    <a:pt x="55124" y="987"/>
                    <a:pt x="54818" y="734"/>
                  </a:cubicBezTo>
                  <a:cubicBezTo>
                    <a:pt x="54575" y="533"/>
                    <a:pt x="54479" y="0"/>
                    <a:pt x="52875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8" name="Google Shape;250;p28">
              <a:extLst>
                <a:ext uri="{FF2B5EF4-FFF2-40B4-BE49-F238E27FC236}">
                  <a16:creationId xmlns="" xmlns:a16="http://schemas.microsoft.com/office/drawing/2014/main" id="{06C1A758-30E5-4CF7-8C62-F1B6E7F9AAFE}"/>
                </a:ext>
              </a:extLst>
            </p:cNvPr>
            <p:cNvSpPr/>
            <p:nvPr/>
          </p:nvSpPr>
          <p:spPr>
            <a:xfrm>
              <a:off x="10071619" y="4176486"/>
              <a:ext cx="66515" cy="63646"/>
            </a:xfrm>
            <a:custGeom>
              <a:avLst/>
              <a:gdLst/>
              <a:ahLst/>
              <a:cxnLst/>
              <a:rect l="l" t="t" r="r" b="b"/>
              <a:pathLst>
                <a:path w="742" h="710" extrusionOk="0">
                  <a:moveTo>
                    <a:pt x="491" y="0"/>
                  </a:moveTo>
                  <a:cubicBezTo>
                    <a:pt x="481" y="0"/>
                    <a:pt x="470" y="1"/>
                    <a:pt x="459" y="4"/>
                  </a:cubicBezTo>
                  <a:lnTo>
                    <a:pt x="136" y="80"/>
                  </a:lnTo>
                  <a:cubicBezTo>
                    <a:pt x="53" y="98"/>
                    <a:pt x="0" y="180"/>
                    <a:pt x="18" y="262"/>
                  </a:cubicBezTo>
                  <a:lnTo>
                    <a:pt x="95" y="586"/>
                  </a:lnTo>
                  <a:cubicBezTo>
                    <a:pt x="109" y="660"/>
                    <a:pt x="170" y="709"/>
                    <a:pt x="237" y="709"/>
                  </a:cubicBezTo>
                  <a:cubicBezTo>
                    <a:pt x="250" y="709"/>
                    <a:pt x="264" y="707"/>
                    <a:pt x="277" y="704"/>
                  </a:cubicBezTo>
                  <a:lnTo>
                    <a:pt x="601" y="633"/>
                  </a:lnTo>
                  <a:cubicBezTo>
                    <a:pt x="689" y="610"/>
                    <a:pt x="742" y="527"/>
                    <a:pt x="718" y="445"/>
                  </a:cubicBezTo>
                  <a:lnTo>
                    <a:pt x="648" y="121"/>
                  </a:lnTo>
                  <a:cubicBezTo>
                    <a:pt x="627" y="50"/>
                    <a:pt x="562" y="0"/>
                    <a:pt x="491" y="0"/>
                  </a:cubicBezTo>
                  <a:close/>
                </a:path>
              </a:pathLst>
            </a:custGeom>
            <a:solidFill>
              <a:srgbClr val="4A6CB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9" name="Google Shape;251;p28">
              <a:extLst>
                <a:ext uri="{FF2B5EF4-FFF2-40B4-BE49-F238E27FC236}">
                  <a16:creationId xmlns="" xmlns:a16="http://schemas.microsoft.com/office/drawing/2014/main" id="{BBE87F45-9A42-46E6-B48C-6658B9EB2114}"/>
                </a:ext>
              </a:extLst>
            </p:cNvPr>
            <p:cNvSpPr/>
            <p:nvPr/>
          </p:nvSpPr>
          <p:spPr>
            <a:xfrm>
              <a:off x="9941907" y="4204902"/>
              <a:ext cx="66515" cy="64005"/>
            </a:xfrm>
            <a:custGeom>
              <a:avLst/>
              <a:gdLst/>
              <a:ahLst/>
              <a:cxnLst/>
              <a:rect l="l" t="t" r="r" b="b"/>
              <a:pathLst>
                <a:path w="742" h="714" extrusionOk="0">
                  <a:moveTo>
                    <a:pt x="493" y="1"/>
                  </a:moveTo>
                  <a:cubicBezTo>
                    <a:pt x="482" y="1"/>
                    <a:pt x="470" y="2"/>
                    <a:pt x="459" y="4"/>
                  </a:cubicBezTo>
                  <a:lnTo>
                    <a:pt x="135" y="81"/>
                  </a:lnTo>
                  <a:cubicBezTo>
                    <a:pt x="53" y="98"/>
                    <a:pt x="0" y="187"/>
                    <a:pt x="18" y="269"/>
                  </a:cubicBezTo>
                  <a:lnTo>
                    <a:pt x="94" y="593"/>
                  </a:lnTo>
                  <a:cubicBezTo>
                    <a:pt x="110" y="664"/>
                    <a:pt x="178" y="714"/>
                    <a:pt x="250" y="714"/>
                  </a:cubicBezTo>
                  <a:cubicBezTo>
                    <a:pt x="261" y="714"/>
                    <a:pt x="272" y="713"/>
                    <a:pt x="282" y="710"/>
                  </a:cubicBezTo>
                  <a:lnTo>
                    <a:pt x="606" y="634"/>
                  </a:lnTo>
                  <a:cubicBezTo>
                    <a:pt x="688" y="616"/>
                    <a:pt x="741" y="534"/>
                    <a:pt x="724" y="446"/>
                  </a:cubicBezTo>
                  <a:lnTo>
                    <a:pt x="647" y="122"/>
                  </a:lnTo>
                  <a:cubicBezTo>
                    <a:pt x="632" y="50"/>
                    <a:pt x="568" y="1"/>
                    <a:pt x="493" y="1"/>
                  </a:cubicBezTo>
                  <a:close/>
                </a:path>
              </a:pathLst>
            </a:custGeom>
            <a:solidFill>
              <a:srgbClr val="4A6CB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0" name="Google Shape;252;p28">
              <a:extLst>
                <a:ext uri="{FF2B5EF4-FFF2-40B4-BE49-F238E27FC236}">
                  <a16:creationId xmlns="" xmlns:a16="http://schemas.microsoft.com/office/drawing/2014/main" id="{005A87C1-919F-4160-A640-D54B25016C5B}"/>
                </a:ext>
              </a:extLst>
            </p:cNvPr>
            <p:cNvSpPr/>
            <p:nvPr/>
          </p:nvSpPr>
          <p:spPr>
            <a:xfrm>
              <a:off x="9812106" y="4235022"/>
              <a:ext cx="66515" cy="63646"/>
            </a:xfrm>
            <a:custGeom>
              <a:avLst/>
              <a:gdLst/>
              <a:ahLst/>
              <a:cxnLst/>
              <a:rect l="l" t="t" r="r" b="b"/>
              <a:pathLst>
                <a:path w="742" h="710" extrusionOk="0">
                  <a:moveTo>
                    <a:pt x="494" y="0"/>
                  </a:moveTo>
                  <a:cubicBezTo>
                    <a:pt x="482" y="0"/>
                    <a:pt x="471" y="1"/>
                    <a:pt x="460" y="4"/>
                  </a:cubicBezTo>
                  <a:lnTo>
                    <a:pt x="136" y="80"/>
                  </a:lnTo>
                  <a:cubicBezTo>
                    <a:pt x="54" y="98"/>
                    <a:pt x="1" y="180"/>
                    <a:pt x="18" y="263"/>
                  </a:cubicBezTo>
                  <a:lnTo>
                    <a:pt x="95" y="586"/>
                  </a:lnTo>
                  <a:cubicBezTo>
                    <a:pt x="110" y="660"/>
                    <a:pt x="170" y="709"/>
                    <a:pt x="241" y="709"/>
                  </a:cubicBezTo>
                  <a:cubicBezTo>
                    <a:pt x="255" y="709"/>
                    <a:pt x="269" y="708"/>
                    <a:pt x="283" y="704"/>
                  </a:cubicBezTo>
                  <a:lnTo>
                    <a:pt x="607" y="633"/>
                  </a:lnTo>
                  <a:cubicBezTo>
                    <a:pt x="689" y="610"/>
                    <a:pt x="742" y="527"/>
                    <a:pt x="724" y="445"/>
                  </a:cubicBezTo>
                  <a:lnTo>
                    <a:pt x="648" y="121"/>
                  </a:lnTo>
                  <a:cubicBezTo>
                    <a:pt x="632" y="50"/>
                    <a:pt x="568" y="0"/>
                    <a:pt x="494" y="0"/>
                  </a:cubicBezTo>
                  <a:close/>
                </a:path>
              </a:pathLst>
            </a:custGeom>
            <a:solidFill>
              <a:srgbClr val="4A6CB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1" name="Google Shape;253;p28">
              <a:extLst>
                <a:ext uri="{FF2B5EF4-FFF2-40B4-BE49-F238E27FC236}">
                  <a16:creationId xmlns="" xmlns:a16="http://schemas.microsoft.com/office/drawing/2014/main" id="{9AE2FF4D-704D-451E-B88A-C350959720C0}"/>
                </a:ext>
              </a:extLst>
            </p:cNvPr>
            <p:cNvSpPr/>
            <p:nvPr/>
          </p:nvSpPr>
          <p:spPr>
            <a:xfrm>
              <a:off x="9681856" y="4266127"/>
              <a:ext cx="66515" cy="63646"/>
            </a:xfrm>
            <a:custGeom>
              <a:avLst/>
              <a:gdLst/>
              <a:ahLst/>
              <a:cxnLst/>
              <a:rect l="l" t="t" r="r" b="b"/>
              <a:pathLst>
                <a:path w="742" h="710" extrusionOk="0">
                  <a:moveTo>
                    <a:pt x="493" y="0"/>
                  </a:moveTo>
                  <a:cubicBezTo>
                    <a:pt x="482" y="0"/>
                    <a:pt x="471" y="1"/>
                    <a:pt x="459" y="4"/>
                  </a:cubicBezTo>
                  <a:lnTo>
                    <a:pt x="136" y="80"/>
                  </a:lnTo>
                  <a:cubicBezTo>
                    <a:pt x="53" y="98"/>
                    <a:pt x="0" y="180"/>
                    <a:pt x="24" y="263"/>
                  </a:cubicBezTo>
                  <a:lnTo>
                    <a:pt x="95" y="586"/>
                  </a:lnTo>
                  <a:cubicBezTo>
                    <a:pt x="109" y="660"/>
                    <a:pt x="174" y="710"/>
                    <a:pt x="243" y="710"/>
                  </a:cubicBezTo>
                  <a:cubicBezTo>
                    <a:pt x="256" y="710"/>
                    <a:pt x="270" y="708"/>
                    <a:pt x="283" y="704"/>
                  </a:cubicBezTo>
                  <a:lnTo>
                    <a:pt x="606" y="633"/>
                  </a:lnTo>
                  <a:cubicBezTo>
                    <a:pt x="689" y="610"/>
                    <a:pt x="742" y="527"/>
                    <a:pt x="724" y="445"/>
                  </a:cubicBezTo>
                  <a:lnTo>
                    <a:pt x="648" y="121"/>
                  </a:lnTo>
                  <a:cubicBezTo>
                    <a:pt x="632" y="50"/>
                    <a:pt x="568" y="0"/>
                    <a:pt x="493" y="0"/>
                  </a:cubicBezTo>
                  <a:close/>
                </a:path>
              </a:pathLst>
            </a:custGeom>
            <a:solidFill>
              <a:srgbClr val="4A6CB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2" name="Google Shape;254;p28">
              <a:extLst>
                <a:ext uri="{FF2B5EF4-FFF2-40B4-BE49-F238E27FC236}">
                  <a16:creationId xmlns="" xmlns:a16="http://schemas.microsoft.com/office/drawing/2014/main" id="{B57D6F5A-92AF-482C-9D34-6806133DDC0F}"/>
                </a:ext>
              </a:extLst>
            </p:cNvPr>
            <p:cNvSpPr/>
            <p:nvPr/>
          </p:nvSpPr>
          <p:spPr>
            <a:xfrm>
              <a:off x="9552593" y="4294634"/>
              <a:ext cx="66604" cy="63646"/>
            </a:xfrm>
            <a:custGeom>
              <a:avLst/>
              <a:gdLst/>
              <a:ahLst/>
              <a:cxnLst/>
              <a:rect l="l" t="t" r="r" b="b"/>
              <a:pathLst>
                <a:path w="743" h="710" extrusionOk="0">
                  <a:moveTo>
                    <a:pt x="492" y="0"/>
                  </a:moveTo>
                  <a:cubicBezTo>
                    <a:pt x="481" y="0"/>
                    <a:pt x="471" y="1"/>
                    <a:pt x="460" y="3"/>
                  </a:cubicBezTo>
                  <a:lnTo>
                    <a:pt x="136" y="80"/>
                  </a:lnTo>
                  <a:cubicBezTo>
                    <a:pt x="54" y="98"/>
                    <a:pt x="1" y="180"/>
                    <a:pt x="19" y="262"/>
                  </a:cubicBezTo>
                  <a:lnTo>
                    <a:pt x="95" y="586"/>
                  </a:lnTo>
                  <a:cubicBezTo>
                    <a:pt x="110" y="660"/>
                    <a:pt x="170" y="709"/>
                    <a:pt x="241" y="709"/>
                  </a:cubicBezTo>
                  <a:cubicBezTo>
                    <a:pt x="255" y="709"/>
                    <a:pt x="269" y="707"/>
                    <a:pt x="283" y="704"/>
                  </a:cubicBezTo>
                  <a:lnTo>
                    <a:pt x="607" y="633"/>
                  </a:lnTo>
                  <a:cubicBezTo>
                    <a:pt x="689" y="610"/>
                    <a:pt x="742" y="527"/>
                    <a:pt x="725" y="445"/>
                  </a:cubicBezTo>
                  <a:lnTo>
                    <a:pt x="648" y="121"/>
                  </a:lnTo>
                  <a:cubicBezTo>
                    <a:pt x="633" y="49"/>
                    <a:pt x="564" y="0"/>
                    <a:pt x="492" y="0"/>
                  </a:cubicBezTo>
                  <a:close/>
                </a:path>
              </a:pathLst>
            </a:custGeom>
            <a:solidFill>
              <a:srgbClr val="4A6CB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3" name="Google Shape;255;p28">
              <a:extLst>
                <a:ext uri="{FF2B5EF4-FFF2-40B4-BE49-F238E27FC236}">
                  <a16:creationId xmlns="" xmlns:a16="http://schemas.microsoft.com/office/drawing/2014/main" id="{BF002E80-2767-402D-A536-CF884684333E}"/>
                </a:ext>
              </a:extLst>
            </p:cNvPr>
            <p:cNvSpPr/>
            <p:nvPr/>
          </p:nvSpPr>
          <p:spPr>
            <a:xfrm>
              <a:off x="9422881" y="4324484"/>
              <a:ext cx="66515" cy="63646"/>
            </a:xfrm>
            <a:custGeom>
              <a:avLst/>
              <a:gdLst/>
              <a:ahLst/>
              <a:cxnLst/>
              <a:rect l="l" t="t" r="r" b="b"/>
              <a:pathLst>
                <a:path w="742" h="710" extrusionOk="0">
                  <a:moveTo>
                    <a:pt x="499" y="0"/>
                  </a:moveTo>
                  <a:cubicBezTo>
                    <a:pt x="486" y="0"/>
                    <a:pt x="473" y="2"/>
                    <a:pt x="459" y="6"/>
                  </a:cubicBezTo>
                  <a:lnTo>
                    <a:pt x="136" y="76"/>
                  </a:lnTo>
                  <a:cubicBezTo>
                    <a:pt x="53" y="94"/>
                    <a:pt x="1" y="182"/>
                    <a:pt x="18" y="265"/>
                  </a:cubicBezTo>
                  <a:lnTo>
                    <a:pt x="95" y="588"/>
                  </a:lnTo>
                  <a:cubicBezTo>
                    <a:pt x="110" y="660"/>
                    <a:pt x="174" y="709"/>
                    <a:pt x="245" y="709"/>
                  </a:cubicBezTo>
                  <a:cubicBezTo>
                    <a:pt x="256" y="709"/>
                    <a:pt x="266" y="708"/>
                    <a:pt x="277" y="706"/>
                  </a:cubicBezTo>
                  <a:lnTo>
                    <a:pt x="601" y="630"/>
                  </a:lnTo>
                  <a:cubicBezTo>
                    <a:pt x="689" y="612"/>
                    <a:pt x="742" y="529"/>
                    <a:pt x="718" y="441"/>
                  </a:cubicBezTo>
                  <a:lnTo>
                    <a:pt x="648" y="118"/>
                  </a:lnTo>
                  <a:cubicBezTo>
                    <a:pt x="628" y="49"/>
                    <a:pt x="567" y="0"/>
                    <a:pt x="499" y="0"/>
                  </a:cubicBezTo>
                  <a:close/>
                </a:path>
              </a:pathLst>
            </a:custGeom>
            <a:solidFill>
              <a:srgbClr val="4A6CB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4" name="Google Shape;256;p28">
              <a:extLst>
                <a:ext uri="{FF2B5EF4-FFF2-40B4-BE49-F238E27FC236}">
                  <a16:creationId xmlns="" xmlns:a16="http://schemas.microsoft.com/office/drawing/2014/main" id="{9D8E1891-5D94-4E99-A3BE-51B60A85A759}"/>
                </a:ext>
              </a:extLst>
            </p:cNvPr>
            <p:cNvSpPr/>
            <p:nvPr/>
          </p:nvSpPr>
          <p:spPr>
            <a:xfrm>
              <a:off x="9292631" y="4355590"/>
              <a:ext cx="66515" cy="63646"/>
            </a:xfrm>
            <a:custGeom>
              <a:avLst/>
              <a:gdLst/>
              <a:ahLst/>
              <a:cxnLst/>
              <a:rect l="l" t="t" r="r" b="b"/>
              <a:pathLst>
                <a:path w="742" h="710" extrusionOk="0">
                  <a:moveTo>
                    <a:pt x="499" y="0"/>
                  </a:moveTo>
                  <a:cubicBezTo>
                    <a:pt x="486" y="0"/>
                    <a:pt x="473" y="2"/>
                    <a:pt x="459" y="6"/>
                  </a:cubicBezTo>
                  <a:lnTo>
                    <a:pt x="136" y="77"/>
                  </a:lnTo>
                  <a:cubicBezTo>
                    <a:pt x="53" y="94"/>
                    <a:pt x="0" y="182"/>
                    <a:pt x="18" y="265"/>
                  </a:cubicBezTo>
                  <a:lnTo>
                    <a:pt x="94" y="588"/>
                  </a:lnTo>
                  <a:cubicBezTo>
                    <a:pt x="110" y="660"/>
                    <a:pt x="174" y="710"/>
                    <a:pt x="245" y="710"/>
                  </a:cubicBezTo>
                  <a:cubicBezTo>
                    <a:pt x="255" y="710"/>
                    <a:pt x="266" y="708"/>
                    <a:pt x="277" y="706"/>
                  </a:cubicBezTo>
                  <a:lnTo>
                    <a:pt x="600" y="630"/>
                  </a:lnTo>
                  <a:cubicBezTo>
                    <a:pt x="689" y="612"/>
                    <a:pt x="742" y="530"/>
                    <a:pt x="718" y="441"/>
                  </a:cubicBezTo>
                  <a:lnTo>
                    <a:pt x="647" y="118"/>
                  </a:lnTo>
                  <a:cubicBezTo>
                    <a:pt x="628" y="49"/>
                    <a:pt x="567" y="0"/>
                    <a:pt x="499" y="0"/>
                  </a:cubicBezTo>
                  <a:close/>
                </a:path>
              </a:pathLst>
            </a:custGeom>
            <a:solidFill>
              <a:srgbClr val="4A6CB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5" name="Google Shape;257;p28">
              <a:extLst>
                <a:ext uri="{FF2B5EF4-FFF2-40B4-BE49-F238E27FC236}">
                  <a16:creationId xmlns="" xmlns:a16="http://schemas.microsoft.com/office/drawing/2014/main" id="{01F515A5-EB6A-4C6E-A12C-C6C4EB4A07F7}"/>
                </a:ext>
              </a:extLst>
            </p:cNvPr>
            <p:cNvSpPr/>
            <p:nvPr/>
          </p:nvSpPr>
          <p:spPr>
            <a:xfrm>
              <a:off x="9162830" y="4384096"/>
              <a:ext cx="66604" cy="63646"/>
            </a:xfrm>
            <a:custGeom>
              <a:avLst/>
              <a:gdLst/>
              <a:ahLst/>
              <a:cxnLst/>
              <a:rect l="l" t="t" r="r" b="b"/>
              <a:pathLst>
                <a:path w="743" h="710" extrusionOk="0">
                  <a:moveTo>
                    <a:pt x="505" y="0"/>
                  </a:moveTo>
                  <a:cubicBezTo>
                    <a:pt x="492" y="0"/>
                    <a:pt x="479" y="2"/>
                    <a:pt x="466" y="6"/>
                  </a:cubicBezTo>
                  <a:lnTo>
                    <a:pt x="142" y="76"/>
                  </a:lnTo>
                  <a:cubicBezTo>
                    <a:pt x="54" y="94"/>
                    <a:pt x="1" y="182"/>
                    <a:pt x="24" y="265"/>
                  </a:cubicBezTo>
                  <a:lnTo>
                    <a:pt x="95" y="588"/>
                  </a:lnTo>
                  <a:cubicBezTo>
                    <a:pt x="116" y="660"/>
                    <a:pt x="181" y="709"/>
                    <a:pt x="251" y="709"/>
                  </a:cubicBezTo>
                  <a:cubicBezTo>
                    <a:pt x="262" y="709"/>
                    <a:pt x="273" y="708"/>
                    <a:pt x="283" y="706"/>
                  </a:cubicBezTo>
                  <a:lnTo>
                    <a:pt x="607" y="629"/>
                  </a:lnTo>
                  <a:cubicBezTo>
                    <a:pt x="695" y="612"/>
                    <a:pt x="742" y="529"/>
                    <a:pt x="725" y="447"/>
                  </a:cubicBezTo>
                  <a:lnTo>
                    <a:pt x="654" y="117"/>
                  </a:lnTo>
                  <a:cubicBezTo>
                    <a:pt x="634" y="48"/>
                    <a:pt x="573" y="0"/>
                    <a:pt x="505" y="0"/>
                  </a:cubicBezTo>
                  <a:close/>
                </a:path>
              </a:pathLst>
            </a:custGeom>
            <a:solidFill>
              <a:srgbClr val="4A6CB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6" name="Google Shape;258;p28">
              <a:extLst>
                <a:ext uri="{FF2B5EF4-FFF2-40B4-BE49-F238E27FC236}">
                  <a16:creationId xmlns="" xmlns:a16="http://schemas.microsoft.com/office/drawing/2014/main" id="{744B4489-5666-4FFA-8D02-9417695D8ECC}"/>
                </a:ext>
              </a:extLst>
            </p:cNvPr>
            <p:cNvSpPr/>
            <p:nvPr/>
          </p:nvSpPr>
          <p:spPr>
            <a:xfrm>
              <a:off x="8956653" y="4422732"/>
              <a:ext cx="65977" cy="63467"/>
            </a:xfrm>
            <a:custGeom>
              <a:avLst/>
              <a:gdLst/>
              <a:ahLst/>
              <a:cxnLst/>
              <a:rect l="l" t="t" r="r" b="b"/>
              <a:pathLst>
                <a:path w="736" h="708" extrusionOk="0">
                  <a:moveTo>
                    <a:pt x="491" y="1"/>
                  </a:moveTo>
                  <a:cubicBezTo>
                    <a:pt x="481" y="1"/>
                    <a:pt x="470" y="2"/>
                    <a:pt x="459" y="4"/>
                  </a:cubicBezTo>
                  <a:lnTo>
                    <a:pt x="136" y="75"/>
                  </a:lnTo>
                  <a:cubicBezTo>
                    <a:pt x="53" y="98"/>
                    <a:pt x="0" y="181"/>
                    <a:pt x="18" y="263"/>
                  </a:cubicBezTo>
                  <a:lnTo>
                    <a:pt x="89" y="587"/>
                  </a:lnTo>
                  <a:cubicBezTo>
                    <a:pt x="109" y="658"/>
                    <a:pt x="174" y="708"/>
                    <a:pt x="245" y="708"/>
                  </a:cubicBezTo>
                  <a:cubicBezTo>
                    <a:pt x="256" y="708"/>
                    <a:pt x="266" y="707"/>
                    <a:pt x="277" y="704"/>
                  </a:cubicBezTo>
                  <a:lnTo>
                    <a:pt x="601" y="628"/>
                  </a:lnTo>
                  <a:cubicBezTo>
                    <a:pt x="683" y="610"/>
                    <a:pt x="736" y="528"/>
                    <a:pt x="718" y="445"/>
                  </a:cubicBezTo>
                  <a:lnTo>
                    <a:pt x="642" y="122"/>
                  </a:lnTo>
                  <a:cubicBezTo>
                    <a:pt x="626" y="50"/>
                    <a:pt x="562" y="1"/>
                    <a:pt x="491" y="1"/>
                  </a:cubicBezTo>
                  <a:close/>
                </a:path>
              </a:pathLst>
            </a:custGeom>
            <a:solidFill>
              <a:srgbClr val="4A6CB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7" name="Google Shape;259;p28">
              <a:extLst>
                <a:ext uri="{FF2B5EF4-FFF2-40B4-BE49-F238E27FC236}">
                  <a16:creationId xmlns="" xmlns:a16="http://schemas.microsoft.com/office/drawing/2014/main" id="{CADFA7B2-E38B-492F-859B-A09D3297F91F}"/>
                </a:ext>
              </a:extLst>
            </p:cNvPr>
            <p:cNvSpPr/>
            <p:nvPr/>
          </p:nvSpPr>
          <p:spPr>
            <a:xfrm>
              <a:off x="8773605" y="4474455"/>
              <a:ext cx="66067" cy="63467"/>
            </a:xfrm>
            <a:custGeom>
              <a:avLst/>
              <a:gdLst/>
              <a:ahLst/>
              <a:cxnLst/>
              <a:rect l="l" t="t" r="r" b="b"/>
              <a:pathLst>
                <a:path w="737" h="708" extrusionOk="0">
                  <a:moveTo>
                    <a:pt x="494" y="0"/>
                  </a:moveTo>
                  <a:cubicBezTo>
                    <a:pt x="483" y="0"/>
                    <a:pt x="471" y="1"/>
                    <a:pt x="460" y="4"/>
                  </a:cubicBezTo>
                  <a:lnTo>
                    <a:pt x="136" y="74"/>
                  </a:lnTo>
                  <a:cubicBezTo>
                    <a:pt x="48" y="98"/>
                    <a:pt x="1" y="180"/>
                    <a:pt x="18" y="263"/>
                  </a:cubicBezTo>
                  <a:lnTo>
                    <a:pt x="89" y="586"/>
                  </a:lnTo>
                  <a:cubicBezTo>
                    <a:pt x="109" y="662"/>
                    <a:pt x="173" y="708"/>
                    <a:pt x="243" y="708"/>
                  </a:cubicBezTo>
                  <a:cubicBezTo>
                    <a:pt x="254" y="708"/>
                    <a:pt x="266" y="706"/>
                    <a:pt x="277" y="704"/>
                  </a:cubicBezTo>
                  <a:lnTo>
                    <a:pt x="601" y="633"/>
                  </a:lnTo>
                  <a:cubicBezTo>
                    <a:pt x="689" y="610"/>
                    <a:pt x="736" y="527"/>
                    <a:pt x="719" y="445"/>
                  </a:cubicBezTo>
                  <a:lnTo>
                    <a:pt x="648" y="121"/>
                  </a:lnTo>
                  <a:cubicBezTo>
                    <a:pt x="628" y="46"/>
                    <a:pt x="564" y="0"/>
                    <a:pt x="494" y="0"/>
                  </a:cubicBezTo>
                  <a:close/>
                </a:path>
              </a:pathLst>
            </a:custGeom>
            <a:solidFill>
              <a:srgbClr val="4A6CB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8" name="Google Shape;260;p28">
              <a:extLst>
                <a:ext uri="{FF2B5EF4-FFF2-40B4-BE49-F238E27FC236}">
                  <a16:creationId xmlns="" xmlns:a16="http://schemas.microsoft.com/office/drawing/2014/main" id="{79874EF7-9940-4B95-B8E8-2E9909B7AB4D}"/>
                </a:ext>
              </a:extLst>
            </p:cNvPr>
            <p:cNvSpPr/>
            <p:nvPr/>
          </p:nvSpPr>
          <p:spPr>
            <a:xfrm>
              <a:off x="8643893" y="4503230"/>
              <a:ext cx="66515" cy="63646"/>
            </a:xfrm>
            <a:custGeom>
              <a:avLst/>
              <a:gdLst/>
              <a:ahLst/>
              <a:cxnLst/>
              <a:rect l="l" t="t" r="r" b="b"/>
              <a:pathLst>
                <a:path w="742" h="710" extrusionOk="0">
                  <a:moveTo>
                    <a:pt x="501" y="1"/>
                  </a:moveTo>
                  <a:cubicBezTo>
                    <a:pt x="488" y="1"/>
                    <a:pt x="474" y="3"/>
                    <a:pt x="459" y="6"/>
                  </a:cubicBezTo>
                  <a:lnTo>
                    <a:pt x="136" y="77"/>
                  </a:lnTo>
                  <a:cubicBezTo>
                    <a:pt x="53" y="101"/>
                    <a:pt x="0" y="183"/>
                    <a:pt x="18" y="265"/>
                  </a:cubicBezTo>
                  <a:lnTo>
                    <a:pt x="95" y="589"/>
                  </a:lnTo>
                  <a:cubicBezTo>
                    <a:pt x="110" y="661"/>
                    <a:pt x="174" y="710"/>
                    <a:pt x="249" y="710"/>
                  </a:cubicBezTo>
                  <a:cubicBezTo>
                    <a:pt x="260" y="710"/>
                    <a:pt x="271" y="709"/>
                    <a:pt x="283" y="707"/>
                  </a:cubicBezTo>
                  <a:lnTo>
                    <a:pt x="606" y="630"/>
                  </a:lnTo>
                  <a:cubicBezTo>
                    <a:pt x="689" y="612"/>
                    <a:pt x="742" y="530"/>
                    <a:pt x="724" y="448"/>
                  </a:cubicBezTo>
                  <a:lnTo>
                    <a:pt x="648" y="124"/>
                  </a:lnTo>
                  <a:cubicBezTo>
                    <a:pt x="633" y="50"/>
                    <a:pt x="572" y="1"/>
                    <a:pt x="501" y="1"/>
                  </a:cubicBezTo>
                  <a:close/>
                </a:path>
              </a:pathLst>
            </a:custGeom>
            <a:solidFill>
              <a:srgbClr val="4A6CB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9" name="Google Shape;261;p28">
              <a:extLst>
                <a:ext uri="{FF2B5EF4-FFF2-40B4-BE49-F238E27FC236}">
                  <a16:creationId xmlns="" xmlns:a16="http://schemas.microsoft.com/office/drawing/2014/main" id="{4A2A2E5B-231A-48CE-9C33-A59A2F5DE29E}"/>
                </a:ext>
              </a:extLst>
            </p:cNvPr>
            <p:cNvSpPr/>
            <p:nvPr/>
          </p:nvSpPr>
          <p:spPr>
            <a:xfrm>
              <a:off x="8514181" y="4532812"/>
              <a:ext cx="66515" cy="63646"/>
            </a:xfrm>
            <a:custGeom>
              <a:avLst/>
              <a:gdLst/>
              <a:ahLst/>
              <a:cxnLst/>
              <a:rect l="l" t="t" r="r" b="b"/>
              <a:pathLst>
                <a:path w="742" h="710" extrusionOk="0">
                  <a:moveTo>
                    <a:pt x="501" y="0"/>
                  </a:moveTo>
                  <a:cubicBezTo>
                    <a:pt x="487" y="0"/>
                    <a:pt x="473" y="2"/>
                    <a:pt x="459" y="6"/>
                  </a:cubicBezTo>
                  <a:lnTo>
                    <a:pt x="135" y="76"/>
                  </a:lnTo>
                  <a:cubicBezTo>
                    <a:pt x="53" y="94"/>
                    <a:pt x="0" y="182"/>
                    <a:pt x="18" y="265"/>
                  </a:cubicBezTo>
                  <a:lnTo>
                    <a:pt x="94" y="588"/>
                  </a:lnTo>
                  <a:cubicBezTo>
                    <a:pt x="110" y="660"/>
                    <a:pt x="178" y="709"/>
                    <a:pt x="250" y="709"/>
                  </a:cubicBezTo>
                  <a:cubicBezTo>
                    <a:pt x="261" y="709"/>
                    <a:pt x="272" y="708"/>
                    <a:pt x="282" y="706"/>
                  </a:cubicBezTo>
                  <a:lnTo>
                    <a:pt x="606" y="630"/>
                  </a:lnTo>
                  <a:cubicBezTo>
                    <a:pt x="688" y="612"/>
                    <a:pt x="741" y="530"/>
                    <a:pt x="724" y="441"/>
                  </a:cubicBezTo>
                  <a:lnTo>
                    <a:pt x="647" y="118"/>
                  </a:lnTo>
                  <a:cubicBezTo>
                    <a:pt x="632" y="49"/>
                    <a:pt x="572" y="0"/>
                    <a:pt x="501" y="0"/>
                  </a:cubicBezTo>
                  <a:close/>
                </a:path>
              </a:pathLst>
            </a:custGeom>
            <a:solidFill>
              <a:srgbClr val="4A6CB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0" name="Google Shape;262;p28">
              <a:extLst>
                <a:ext uri="{FF2B5EF4-FFF2-40B4-BE49-F238E27FC236}">
                  <a16:creationId xmlns="" xmlns:a16="http://schemas.microsoft.com/office/drawing/2014/main" id="{9B805F9D-E2A6-472B-BEAE-2DBAE3C7B6DB}"/>
                </a:ext>
              </a:extLst>
            </p:cNvPr>
            <p:cNvSpPr/>
            <p:nvPr/>
          </p:nvSpPr>
          <p:spPr>
            <a:xfrm>
              <a:off x="8383842" y="4563559"/>
              <a:ext cx="66604" cy="64005"/>
            </a:xfrm>
            <a:custGeom>
              <a:avLst/>
              <a:gdLst/>
              <a:ahLst/>
              <a:cxnLst/>
              <a:rect l="l" t="t" r="r" b="b"/>
              <a:pathLst>
                <a:path w="743" h="714" extrusionOk="0">
                  <a:moveTo>
                    <a:pt x="494" y="1"/>
                  </a:moveTo>
                  <a:cubicBezTo>
                    <a:pt x="483" y="1"/>
                    <a:pt x="471" y="2"/>
                    <a:pt x="460" y="4"/>
                  </a:cubicBezTo>
                  <a:lnTo>
                    <a:pt x="136" y="81"/>
                  </a:lnTo>
                  <a:cubicBezTo>
                    <a:pt x="54" y="98"/>
                    <a:pt x="1" y="181"/>
                    <a:pt x="18" y="269"/>
                  </a:cubicBezTo>
                  <a:lnTo>
                    <a:pt x="95" y="592"/>
                  </a:lnTo>
                  <a:cubicBezTo>
                    <a:pt x="110" y="664"/>
                    <a:pt x="175" y="714"/>
                    <a:pt x="249" y="714"/>
                  </a:cubicBezTo>
                  <a:cubicBezTo>
                    <a:pt x="260" y="714"/>
                    <a:pt x="272" y="712"/>
                    <a:pt x="283" y="710"/>
                  </a:cubicBezTo>
                  <a:lnTo>
                    <a:pt x="607" y="634"/>
                  </a:lnTo>
                  <a:cubicBezTo>
                    <a:pt x="689" y="616"/>
                    <a:pt x="742" y="534"/>
                    <a:pt x="724" y="445"/>
                  </a:cubicBezTo>
                  <a:lnTo>
                    <a:pt x="648" y="122"/>
                  </a:lnTo>
                  <a:cubicBezTo>
                    <a:pt x="633" y="50"/>
                    <a:pt x="568" y="1"/>
                    <a:pt x="494" y="1"/>
                  </a:cubicBezTo>
                  <a:close/>
                </a:path>
              </a:pathLst>
            </a:custGeom>
            <a:solidFill>
              <a:srgbClr val="4A6CB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1" name="Google Shape;263;p28">
              <a:extLst>
                <a:ext uri="{FF2B5EF4-FFF2-40B4-BE49-F238E27FC236}">
                  <a16:creationId xmlns="" xmlns:a16="http://schemas.microsoft.com/office/drawing/2014/main" id="{0EC530A9-FE89-488C-B86F-EDFC999F00F3}"/>
                </a:ext>
              </a:extLst>
            </p:cNvPr>
            <p:cNvSpPr/>
            <p:nvPr/>
          </p:nvSpPr>
          <p:spPr>
            <a:xfrm>
              <a:off x="8254130" y="4593589"/>
              <a:ext cx="66515" cy="63736"/>
            </a:xfrm>
            <a:custGeom>
              <a:avLst/>
              <a:gdLst/>
              <a:ahLst/>
              <a:cxnLst/>
              <a:rect l="l" t="t" r="r" b="b"/>
              <a:pathLst>
                <a:path w="742" h="711" extrusionOk="0">
                  <a:moveTo>
                    <a:pt x="494" y="1"/>
                  </a:moveTo>
                  <a:cubicBezTo>
                    <a:pt x="483" y="1"/>
                    <a:pt x="471" y="2"/>
                    <a:pt x="459" y="4"/>
                  </a:cubicBezTo>
                  <a:lnTo>
                    <a:pt x="136" y="81"/>
                  </a:lnTo>
                  <a:cubicBezTo>
                    <a:pt x="53" y="99"/>
                    <a:pt x="0" y="181"/>
                    <a:pt x="18" y="263"/>
                  </a:cubicBezTo>
                  <a:lnTo>
                    <a:pt x="95" y="587"/>
                  </a:lnTo>
                  <a:cubicBezTo>
                    <a:pt x="109" y="661"/>
                    <a:pt x="170" y="710"/>
                    <a:pt x="241" y="710"/>
                  </a:cubicBezTo>
                  <a:cubicBezTo>
                    <a:pt x="255" y="710"/>
                    <a:pt x="269" y="708"/>
                    <a:pt x="283" y="705"/>
                  </a:cubicBezTo>
                  <a:lnTo>
                    <a:pt x="606" y="634"/>
                  </a:lnTo>
                  <a:cubicBezTo>
                    <a:pt x="689" y="611"/>
                    <a:pt x="742" y="528"/>
                    <a:pt x="724" y="446"/>
                  </a:cubicBezTo>
                  <a:lnTo>
                    <a:pt x="648" y="122"/>
                  </a:lnTo>
                  <a:cubicBezTo>
                    <a:pt x="632" y="46"/>
                    <a:pt x="565" y="1"/>
                    <a:pt x="494" y="1"/>
                  </a:cubicBezTo>
                  <a:close/>
                </a:path>
              </a:pathLst>
            </a:custGeom>
            <a:solidFill>
              <a:srgbClr val="4A6CB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2" name="Google Shape;264;p28">
              <a:extLst>
                <a:ext uri="{FF2B5EF4-FFF2-40B4-BE49-F238E27FC236}">
                  <a16:creationId xmlns="" xmlns:a16="http://schemas.microsoft.com/office/drawing/2014/main" id="{AC9A07A5-66E9-4D36-9355-10751FA0218A}"/>
                </a:ext>
              </a:extLst>
            </p:cNvPr>
            <p:cNvSpPr/>
            <p:nvPr/>
          </p:nvSpPr>
          <p:spPr>
            <a:xfrm>
              <a:off x="8124867" y="4622454"/>
              <a:ext cx="66604" cy="63646"/>
            </a:xfrm>
            <a:custGeom>
              <a:avLst/>
              <a:gdLst/>
              <a:ahLst/>
              <a:cxnLst/>
              <a:rect l="l" t="t" r="r" b="b"/>
              <a:pathLst>
                <a:path w="743" h="710" extrusionOk="0">
                  <a:moveTo>
                    <a:pt x="499" y="1"/>
                  </a:moveTo>
                  <a:cubicBezTo>
                    <a:pt x="486" y="1"/>
                    <a:pt x="473" y="2"/>
                    <a:pt x="460" y="6"/>
                  </a:cubicBezTo>
                  <a:lnTo>
                    <a:pt x="136" y="77"/>
                  </a:lnTo>
                  <a:cubicBezTo>
                    <a:pt x="48" y="100"/>
                    <a:pt x="1" y="183"/>
                    <a:pt x="19" y="265"/>
                  </a:cubicBezTo>
                  <a:lnTo>
                    <a:pt x="89" y="589"/>
                  </a:lnTo>
                  <a:cubicBezTo>
                    <a:pt x="110" y="660"/>
                    <a:pt x="175" y="710"/>
                    <a:pt x="245" y="710"/>
                  </a:cubicBezTo>
                  <a:cubicBezTo>
                    <a:pt x="256" y="710"/>
                    <a:pt x="267" y="709"/>
                    <a:pt x="277" y="706"/>
                  </a:cubicBezTo>
                  <a:lnTo>
                    <a:pt x="601" y="630"/>
                  </a:lnTo>
                  <a:cubicBezTo>
                    <a:pt x="689" y="612"/>
                    <a:pt x="742" y="530"/>
                    <a:pt x="719" y="447"/>
                  </a:cubicBezTo>
                  <a:lnTo>
                    <a:pt x="648" y="124"/>
                  </a:lnTo>
                  <a:cubicBezTo>
                    <a:pt x="628" y="50"/>
                    <a:pt x="567" y="1"/>
                    <a:pt x="499" y="1"/>
                  </a:cubicBezTo>
                  <a:close/>
                </a:path>
              </a:pathLst>
            </a:custGeom>
            <a:solidFill>
              <a:srgbClr val="4A6CB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3" name="Google Shape;265;p28">
              <a:extLst>
                <a:ext uri="{FF2B5EF4-FFF2-40B4-BE49-F238E27FC236}">
                  <a16:creationId xmlns="" xmlns:a16="http://schemas.microsoft.com/office/drawing/2014/main" id="{54482510-38DB-4AAC-AE0B-F3CF3A20E38D}"/>
                </a:ext>
              </a:extLst>
            </p:cNvPr>
            <p:cNvSpPr/>
            <p:nvPr/>
          </p:nvSpPr>
          <p:spPr>
            <a:xfrm>
              <a:off x="7994079" y="4653201"/>
              <a:ext cx="66604" cy="64005"/>
            </a:xfrm>
            <a:custGeom>
              <a:avLst/>
              <a:gdLst/>
              <a:ahLst/>
              <a:cxnLst/>
              <a:rect l="l" t="t" r="r" b="b"/>
              <a:pathLst>
                <a:path w="743" h="714" extrusionOk="0">
                  <a:moveTo>
                    <a:pt x="498" y="1"/>
                  </a:moveTo>
                  <a:cubicBezTo>
                    <a:pt x="487" y="1"/>
                    <a:pt x="476" y="2"/>
                    <a:pt x="466" y="4"/>
                  </a:cubicBezTo>
                  <a:lnTo>
                    <a:pt x="142" y="81"/>
                  </a:lnTo>
                  <a:cubicBezTo>
                    <a:pt x="54" y="98"/>
                    <a:pt x="1" y="187"/>
                    <a:pt x="24" y="269"/>
                  </a:cubicBezTo>
                  <a:lnTo>
                    <a:pt x="95" y="593"/>
                  </a:lnTo>
                  <a:cubicBezTo>
                    <a:pt x="115" y="664"/>
                    <a:pt x="180" y="714"/>
                    <a:pt x="251" y="714"/>
                  </a:cubicBezTo>
                  <a:cubicBezTo>
                    <a:pt x="262" y="714"/>
                    <a:pt x="272" y="713"/>
                    <a:pt x="283" y="710"/>
                  </a:cubicBezTo>
                  <a:lnTo>
                    <a:pt x="607" y="634"/>
                  </a:lnTo>
                  <a:cubicBezTo>
                    <a:pt x="695" y="616"/>
                    <a:pt x="742" y="534"/>
                    <a:pt x="724" y="446"/>
                  </a:cubicBezTo>
                  <a:lnTo>
                    <a:pt x="648" y="122"/>
                  </a:lnTo>
                  <a:cubicBezTo>
                    <a:pt x="633" y="50"/>
                    <a:pt x="568" y="1"/>
                    <a:pt x="498" y="1"/>
                  </a:cubicBezTo>
                  <a:close/>
                </a:path>
              </a:pathLst>
            </a:custGeom>
            <a:solidFill>
              <a:srgbClr val="4A6CB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4" name="Google Shape;266;p28">
              <a:extLst>
                <a:ext uri="{FF2B5EF4-FFF2-40B4-BE49-F238E27FC236}">
                  <a16:creationId xmlns="" xmlns:a16="http://schemas.microsoft.com/office/drawing/2014/main" id="{3CB9D689-86B6-46FF-9EDF-39B39B181541}"/>
                </a:ext>
              </a:extLst>
            </p:cNvPr>
            <p:cNvSpPr/>
            <p:nvPr/>
          </p:nvSpPr>
          <p:spPr>
            <a:xfrm>
              <a:off x="7864905" y="4682783"/>
              <a:ext cx="66515" cy="64005"/>
            </a:xfrm>
            <a:custGeom>
              <a:avLst/>
              <a:gdLst/>
              <a:ahLst/>
              <a:cxnLst/>
              <a:rect l="l" t="t" r="r" b="b"/>
              <a:pathLst>
                <a:path w="742" h="714" extrusionOk="0">
                  <a:moveTo>
                    <a:pt x="491" y="0"/>
                  </a:moveTo>
                  <a:cubicBezTo>
                    <a:pt x="481" y="0"/>
                    <a:pt x="470" y="2"/>
                    <a:pt x="459" y="4"/>
                  </a:cubicBezTo>
                  <a:lnTo>
                    <a:pt x="136" y="80"/>
                  </a:lnTo>
                  <a:cubicBezTo>
                    <a:pt x="47" y="98"/>
                    <a:pt x="0" y="180"/>
                    <a:pt x="18" y="269"/>
                  </a:cubicBezTo>
                  <a:lnTo>
                    <a:pt x="94" y="592"/>
                  </a:lnTo>
                  <a:cubicBezTo>
                    <a:pt x="110" y="664"/>
                    <a:pt x="174" y="713"/>
                    <a:pt x="245" y="713"/>
                  </a:cubicBezTo>
                  <a:cubicBezTo>
                    <a:pt x="255" y="713"/>
                    <a:pt x="266" y="712"/>
                    <a:pt x="277" y="710"/>
                  </a:cubicBezTo>
                  <a:lnTo>
                    <a:pt x="600" y="633"/>
                  </a:lnTo>
                  <a:cubicBezTo>
                    <a:pt x="689" y="616"/>
                    <a:pt x="742" y="533"/>
                    <a:pt x="718" y="445"/>
                  </a:cubicBezTo>
                  <a:lnTo>
                    <a:pt x="647" y="122"/>
                  </a:lnTo>
                  <a:cubicBezTo>
                    <a:pt x="627" y="50"/>
                    <a:pt x="562" y="0"/>
                    <a:pt x="491" y="0"/>
                  </a:cubicBezTo>
                  <a:close/>
                </a:path>
              </a:pathLst>
            </a:custGeom>
            <a:solidFill>
              <a:srgbClr val="4A6CB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5" name="Google Shape;267;p28">
              <a:extLst>
                <a:ext uri="{FF2B5EF4-FFF2-40B4-BE49-F238E27FC236}">
                  <a16:creationId xmlns="" xmlns:a16="http://schemas.microsoft.com/office/drawing/2014/main" id="{6FD40971-0D34-41EC-BE28-B6D6129CED88}"/>
                </a:ext>
              </a:extLst>
            </p:cNvPr>
            <p:cNvSpPr/>
            <p:nvPr/>
          </p:nvSpPr>
          <p:spPr>
            <a:xfrm>
              <a:off x="7735104" y="4711558"/>
              <a:ext cx="66604" cy="63646"/>
            </a:xfrm>
            <a:custGeom>
              <a:avLst/>
              <a:gdLst/>
              <a:ahLst/>
              <a:cxnLst/>
              <a:rect l="l" t="t" r="r" b="b"/>
              <a:pathLst>
                <a:path w="743" h="710" extrusionOk="0">
                  <a:moveTo>
                    <a:pt x="505" y="1"/>
                  </a:moveTo>
                  <a:cubicBezTo>
                    <a:pt x="492" y="1"/>
                    <a:pt x="479" y="3"/>
                    <a:pt x="466" y="6"/>
                  </a:cubicBezTo>
                  <a:lnTo>
                    <a:pt x="142" y="77"/>
                  </a:lnTo>
                  <a:cubicBezTo>
                    <a:pt x="54" y="101"/>
                    <a:pt x="1" y="183"/>
                    <a:pt x="24" y="265"/>
                  </a:cubicBezTo>
                  <a:lnTo>
                    <a:pt x="95" y="589"/>
                  </a:lnTo>
                  <a:cubicBezTo>
                    <a:pt x="116" y="661"/>
                    <a:pt x="181" y="710"/>
                    <a:pt x="251" y="710"/>
                  </a:cubicBezTo>
                  <a:cubicBezTo>
                    <a:pt x="262" y="710"/>
                    <a:pt x="273" y="709"/>
                    <a:pt x="283" y="707"/>
                  </a:cubicBezTo>
                  <a:lnTo>
                    <a:pt x="607" y="630"/>
                  </a:lnTo>
                  <a:cubicBezTo>
                    <a:pt x="695" y="612"/>
                    <a:pt x="742" y="530"/>
                    <a:pt x="725" y="448"/>
                  </a:cubicBezTo>
                  <a:lnTo>
                    <a:pt x="648" y="124"/>
                  </a:lnTo>
                  <a:cubicBezTo>
                    <a:pt x="633" y="50"/>
                    <a:pt x="573" y="1"/>
                    <a:pt x="505" y="1"/>
                  </a:cubicBezTo>
                  <a:close/>
                </a:path>
              </a:pathLst>
            </a:custGeom>
            <a:solidFill>
              <a:srgbClr val="4A6CB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6" name="Google Shape;268;p28">
              <a:extLst>
                <a:ext uri="{FF2B5EF4-FFF2-40B4-BE49-F238E27FC236}">
                  <a16:creationId xmlns="" xmlns:a16="http://schemas.microsoft.com/office/drawing/2014/main" id="{C46D3AD6-0042-460A-964A-5B0B0484F337}"/>
                </a:ext>
              </a:extLst>
            </p:cNvPr>
            <p:cNvSpPr/>
            <p:nvPr/>
          </p:nvSpPr>
          <p:spPr>
            <a:xfrm>
              <a:off x="7605392" y="4741319"/>
              <a:ext cx="66515" cy="64005"/>
            </a:xfrm>
            <a:custGeom>
              <a:avLst/>
              <a:gdLst/>
              <a:ahLst/>
              <a:cxnLst/>
              <a:rect l="l" t="t" r="r" b="b"/>
              <a:pathLst>
                <a:path w="742" h="714" extrusionOk="0">
                  <a:moveTo>
                    <a:pt x="497" y="1"/>
                  </a:moveTo>
                  <a:cubicBezTo>
                    <a:pt x="487" y="1"/>
                    <a:pt x="476" y="2"/>
                    <a:pt x="465" y="4"/>
                  </a:cubicBezTo>
                  <a:lnTo>
                    <a:pt x="142" y="80"/>
                  </a:lnTo>
                  <a:cubicBezTo>
                    <a:pt x="54" y="98"/>
                    <a:pt x="1" y="180"/>
                    <a:pt x="24" y="269"/>
                  </a:cubicBezTo>
                  <a:lnTo>
                    <a:pt x="95" y="592"/>
                  </a:lnTo>
                  <a:cubicBezTo>
                    <a:pt x="115" y="664"/>
                    <a:pt x="180" y="713"/>
                    <a:pt x="251" y="713"/>
                  </a:cubicBezTo>
                  <a:cubicBezTo>
                    <a:pt x="262" y="713"/>
                    <a:pt x="272" y="712"/>
                    <a:pt x="283" y="710"/>
                  </a:cubicBezTo>
                  <a:lnTo>
                    <a:pt x="607" y="633"/>
                  </a:lnTo>
                  <a:cubicBezTo>
                    <a:pt x="689" y="616"/>
                    <a:pt x="742" y="533"/>
                    <a:pt x="724" y="445"/>
                  </a:cubicBezTo>
                  <a:lnTo>
                    <a:pt x="648" y="122"/>
                  </a:lnTo>
                  <a:cubicBezTo>
                    <a:pt x="632" y="50"/>
                    <a:pt x="568" y="1"/>
                    <a:pt x="497" y="1"/>
                  </a:cubicBezTo>
                  <a:close/>
                </a:path>
              </a:pathLst>
            </a:custGeom>
            <a:solidFill>
              <a:srgbClr val="4A6CB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7" name="Google Shape;269;p28">
              <a:extLst>
                <a:ext uri="{FF2B5EF4-FFF2-40B4-BE49-F238E27FC236}">
                  <a16:creationId xmlns="" xmlns:a16="http://schemas.microsoft.com/office/drawing/2014/main" id="{F38B109C-5652-4699-A9F0-1E5E610E7DC6}"/>
                </a:ext>
              </a:extLst>
            </p:cNvPr>
            <p:cNvSpPr/>
            <p:nvPr/>
          </p:nvSpPr>
          <p:spPr>
            <a:xfrm>
              <a:off x="7475680" y="4771170"/>
              <a:ext cx="66515" cy="63736"/>
            </a:xfrm>
            <a:custGeom>
              <a:avLst/>
              <a:gdLst/>
              <a:ahLst/>
              <a:cxnLst/>
              <a:rect l="l" t="t" r="r" b="b"/>
              <a:pathLst>
                <a:path w="742" h="711" extrusionOk="0">
                  <a:moveTo>
                    <a:pt x="501" y="1"/>
                  </a:moveTo>
                  <a:cubicBezTo>
                    <a:pt x="487" y="1"/>
                    <a:pt x="473" y="2"/>
                    <a:pt x="459" y="6"/>
                  </a:cubicBezTo>
                  <a:lnTo>
                    <a:pt x="136" y="77"/>
                  </a:lnTo>
                  <a:cubicBezTo>
                    <a:pt x="53" y="100"/>
                    <a:pt x="0" y="183"/>
                    <a:pt x="24" y="265"/>
                  </a:cubicBezTo>
                  <a:lnTo>
                    <a:pt x="94" y="589"/>
                  </a:lnTo>
                  <a:cubicBezTo>
                    <a:pt x="110" y="665"/>
                    <a:pt x="177" y="710"/>
                    <a:pt x="248" y="710"/>
                  </a:cubicBezTo>
                  <a:cubicBezTo>
                    <a:pt x="259" y="710"/>
                    <a:pt x="271" y="709"/>
                    <a:pt x="283" y="706"/>
                  </a:cubicBezTo>
                  <a:lnTo>
                    <a:pt x="606" y="630"/>
                  </a:lnTo>
                  <a:cubicBezTo>
                    <a:pt x="689" y="612"/>
                    <a:pt x="742" y="530"/>
                    <a:pt x="724" y="448"/>
                  </a:cubicBezTo>
                  <a:lnTo>
                    <a:pt x="647" y="124"/>
                  </a:lnTo>
                  <a:cubicBezTo>
                    <a:pt x="633" y="50"/>
                    <a:pt x="572" y="1"/>
                    <a:pt x="501" y="1"/>
                  </a:cubicBezTo>
                  <a:close/>
                </a:path>
              </a:pathLst>
            </a:custGeom>
            <a:solidFill>
              <a:srgbClr val="4A6CB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8" name="Google Shape;270;p28">
              <a:extLst>
                <a:ext uri="{FF2B5EF4-FFF2-40B4-BE49-F238E27FC236}">
                  <a16:creationId xmlns="" xmlns:a16="http://schemas.microsoft.com/office/drawing/2014/main" id="{AF6AEEA6-95A0-44CA-A3EF-95B1D2EBAB4B}"/>
                </a:ext>
              </a:extLst>
            </p:cNvPr>
            <p:cNvSpPr/>
            <p:nvPr/>
          </p:nvSpPr>
          <p:spPr>
            <a:xfrm>
              <a:off x="7345341" y="4802006"/>
              <a:ext cx="66604" cy="63915"/>
            </a:xfrm>
            <a:custGeom>
              <a:avLst/>
              <a:gdLst/>
              <a:ahLst/>
              <a:cxnLst/>
              <a:rect l="l" t="t" r="r" b="b"/>
              <a:pathLst>
                <a:path w="743" h="713" extrusionOk="0">
                  <a:moveTo>
                    <a:pt x="494" y="0"/>
                  </a:moveTo>
                  <a:cubicBezTo>
                    <a:pt x="483" y="0"/>
                    <a:pt x="471" y="1"/>
                    <a:pt x="460" y="4"/>
                  </a:cubicBezTo>
                  <a:lnTo>
                    <a:pt x="136" y="80"/>
                  </a:lnTo>
                  <a:cubicBezTo>
                    <a:pt x="54" y="98"/>
                    <a:pt x="1" y="180"/>
                    <a:pt x="19" y="268"/>
                  </a:cubicBezTo>
                  <a:lnTo>
                    <a:pt x="95" y="592"/>
                  </a:lnTo>
                  <a:cubicBezTo>
                    <a:pt x="110" y="664"/>
                    <a:pt x="175" y="713"/>
                    <a:pt x="249" y="713"/>
                  </a:cubicBezTo>
                  <a:cubicBezTo>
                    <a:pt x="261" y="713"/>
                    <a:pt x="272" y="712"/>
                    <a:pt x="283" y="710"/>
                  </a:cubicBezTo>
                  <a:lnTo>
                    <a:pt x="607" y="633"/>
                  </a:lnTo>
                  <a:cubicBezTo>
                    <a:pt x="689" y="615"/>
                    <a:pt x="742" y="533"/>
                    <a:pt x="725" y="445"/>
                  </a:cubicBezTo>
                  <a:lnTo>
                    <a:pt x="648" y="121"/>
                  </a:lnTo>
                  <a:cubicBezTo>
                    <a:pt x="633" y="50"/>
                    <a:pt x="568" y="0"/>
                    <a:pt x="494" y="0"/>
                  </a:cubicBezTo>
                  <a:close/>
                </a:path>
              </a:pathLst>
            </a:custGeom>
            <a:solidFill>
              <a:srgbClr val="4A6CB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9" name="Google Shape;271;p28">
              <a:extLst>
                <a:ext uri="{FF2B5EF4-FFF2-40B4-BE49-F238E27FC236}">
                  <a16:creationId xmlns="" xmlns:a16="http://schemas.microsoft.com/office/drawing/2014/main" id="{A33F1239-EFE0-47C0-81BC-12BBE5889B85}"/>
                </a:ext>
              </a:extLst>
            </p:cNvPr>
            <p:cNvSpPr/>
            <p:nvPr/>
          </p:nvSpPr>
          <p:spPr>
            <a:xfrm>
              <a:off x="5958760" y="5044398"/>
              <a:ext cx="855100" cy="249027"/>
            </a:xfrm>
            <a:custGeom>
              <a:avLst/>
              <a:gdLst/>
              <a:ahLst/>
              <a:cxnLst/>
              <a:rect l="l" t="t" r="r" b="b"/>
              <a:pathLst>
                <a:path w="9539" h="2778" extrusionOk="0">
                  <a:moveTo>
                    <a:pt x="9362" y="0"/>
                  </a:moveTo>
                  <a:cubicBezTo>
                    <a:pt x="8820" y="0"/>
                    <a:pt x="6726" y="524"/>
                    <a:pt x="4255" y="1289"/>
                  </a:cubicBezTo>
                  <a:cubicBezTo>
                    <a:pt x="2454" y="1848"/>
                    <a:pt x="889" y="2401"/>
                    <a:pt x="1" y="2777"/>
                  </a:cubicBezTo>
                  <a:lnTo>
                    <a:pt x="6667" y="1247"/>
                  </a:lnTo>
                  <a:cubicBezTo>
                    <a:pt x="8379" y="659"/>
                    <a:pt x="9538" y="165"/>
                    <a:pt x="9497" y="35"/>
                  </a:cubicBezTo>
                  <a:cubicBezTo>
                    <a:pt x="9485" y="12"/>
                    <a:pt x="9444" y="0"/>
                    <a:pt x="9362" y="0"/>
                  </a:cubicBezTo>
                  <a:close/>
                </a:path>
              </a:pathLst>
            </a:custGeom>
            <a:solidFill>
              <a:srgbClr val="C7C7C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0" name="Google Shape;272;p28">
              <a:extLst>
                <a:ext uri="{FF2B5EF4-FFF2-40B4-BE49-F238E27FC236}">
                  <a16:creationId xmlns="" xmlns:a16="http://schemas.microsoft.com/office/drawing/2014/main" id="{9727ECBF-0784-4D58-A486-0C26E0B1DDDF}"/>
                </a:ext>
              </a:extLst>
            </p:cNvPr>
            <p:cNvSpPr/>
            <p:nvPr/>
          </p:nvSpPr>
          <p:spPr>
            <a:xfrm>
              <a:off x="5950872" y="5156182"/>
              <a:ext cx="606073" cy="169873"/>
            </a:xfrm>
            <a:custGeom>
              <a:avLst/>
              <a:gdLst/>
              <a:ahLst/>
              <a:cxnLst/>
              <a:rect l="l" t="t" r="r" b="b"/>
              <a:pathLst>
                <a:path w="6761" h="1895" extrusionOk="0">
                  <a:moveTo>
                    <a:pt x="6755" y="0"/>
                  </a:moveTo>
                  <a:lnTo>
                    <a:pt x="89" y="1530"/>
                  </a:lnTo>
                  <a:lnTo>
                    <a:pt x="1" y="1565"/>
                  </a:lnTo>
                  <a:cubicBezTo>
                    <a:pt x="42" y="1695"/>
                    <a:pt x="112" y="1807"/>
                    <a:pt x="212" y="1895"/>
                  </a:cubicBezTo>
                  <a:cubicBezTo>
                    <a:pt x="1160" y="1707"/>
                    <a:pt x="2760" y="1277"/>
                    <a:pt x="4555" y="718"/>
                  </a:cubicBezTo>
                  <a:cubicBezTo>
                    <a:pt x="5349" y="477"/>
                    <a:pt x="6096" y="230"/>
                    <a:pt x="6761" y="0"/>
                  </a:cubicBezTo>
                  <a:close/>
                </a:path>
              </a:pathLst>
            </a:custGeom>
            <a:solidFill>
              <a:srgbClr val="EA551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1" name="Google Shape;273;p28">
              <a:extLst>
                <a:ext uri="{FF2B5EF4-FFF2-40B4-BE49-F238E27FC236}">
                  <a16:creationId xmlns="" xmlns:a16="http://schemas.microsoft.com/office/drawing/2014/main" id="{30A1F0B2-2F11-4D37-85CD-39D1EDCE3B29}"/>
                </a:ext>
              </a:extLst>
            </p:cNvPr>
            <p:cNvSpPr/>
            <p:nvPr/>
          </p:nvSpPr>
          <p:spPr>
            <a:xfrm>
              <a:off x="10443991" y="4063895"/>
              <a:ext cx="122990" cy="95559"/>
            </a:xfrm>
            <a:custGeom>
              <a:avLst/>
              <a:gdLst/>
              <a:ahLst/>
              <a:cxnLst/>
              <a:rect l="l" t="t" r="r" b="b"/>
              <a:pathLst>
                <a:path w="1372" h="1066" extrusionOk="0">
                  <a:moveTo>
                    <a:pt x="912" y="0"/>
                  </a:moveTo>
                  <a:lnTo>
                    <a:pt x="0" y="212"/>
                  </a:lnTo>
                  <a:lnTo>
                    <a:pt x="459" y="1065"/>
                  </a:lnTo>
                  <a:lnTo>
                    <a:pt x="1371" y="854"/>
                  </a:lnTo>
                  <a:lnTo>
                    <a:pt x="912" y="0"/>
                  </a:lnTo>
                  <a:close/>
                </a:path>
              </a:pathLst>
            </a:custGeom>
            <a:solidFill>
              <a:srgbClr val="F4996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2" name="Google Shape;274;p28">
              <a:extLst>
                <a:ext uri="{FF2B5EF4-FFF2-40B4-BE49-F238E27FC236}">
                  <a16:creationId xmlns="" xmlns:a16="http://schemas.microsoft.com/office/drawing/2014/main" id="{B3E764F8-E9EB-46CC-88ED-F46A70F1FD03}"/>
                </a:ext>
              </a:extLst>
            </p:cNvPr>
            <p:cNvSpPr/>
            <p:nvPr/>
          </p:nvSpPr>
          <p:spPr>
            <a:xfrm>
              <a:off x="7956698" y="4500810"/>
              <a:ext cx="1684114" cy="652687"/>
            </a:xfrm>
            <a:custGeom>
              <a:avLst/>
              <a:gdLst/>
              <a:ahLst/>
              <a:cxnLst/>
              <a:rect l="l" t="t" r="r" b="b"/>
              <a:pathLst>
                <a:path w="18787" h="7281" extrusionOk="0">
                  <a:moveTo>
                    <a:pt x="17793" y="0"/>
                  </a:moveTo>
                  <a:cubicBezTo>
                    <a:pt x="17765" y="0"/>
                    <a:pt x="17738" y="3"/>
                    <a:pt x="17710" y="10"/>
                  </a:cubicBezTo>
                  <a:lnTo>
                    <a:pt x="324" y="3999"/>
                  </a:lnTo>
                  <a:cubicBezTo>
                    <a:pt x="124" y="4046"/>
                    <a:pt x="0" y="4246"/>
                    <a:pt x="47" y="4452"/>
                  </a:cubicBezTo>
                  <a:lnTo>
                    <a:pt x="630" y="6988"/>
                  </a:lnTo>
                  <a:cubicBezTo>
                    <a:pt x="670" y="7164"/>
                    <a:pt x="823" y="7280"/>
                    <a:pt x="991" y="7280"/>
                  </a:cubicBezTo>
                  <a:cubicBezTo>
                    <a:pt x="1019" y="7280"/>
                    <a:pt x="1048" y="7277"/>
                    <a:pt x="1077" y="7270"/>
                  </a:cubicBezTo>
                  <a:lnTo>
                    <a:pt x="1083" y="7270"/>
                  </a:lnTo>
                  <a:lnTo>
                    <a:pt x="18463" y="3281"/>
                  </a:lnTo>
                  <a:cubicBezTo>
                    <a:pt x="18663" y="3234"/>
                    <a:pt x="18786" y="3034"/>
                    <a:pt x="18739" y="2834"/>
                  </a:cubicBezTo>
                  <a:lnTo>
                    <a:pt x="18157" y="292"/>
                  </a:lnTo>
                  <a:cubicBezTo>
                    <a:pt x="18116" y="120"/>
                    <a:pt x="17963" y="0"/>
                    <a:pt x="17793" y="0"/>
                  </a:cubicBezTo>
                  <a:close/>
                </a:path>
              </a:pathLst>
            </a:custGeom>
            <a:solidFill>
              <a:srgbClr val="FDFDFB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3" name="Google Shape;275;p28">
              <a:extLst>
                <a:ext uri="{FF2B5EF4-FFF2-40B4-BE49-F238E27FC236}">
                  <a16:creationId xmlns="" xmlns:a16="http://schemas.microsoft.com/office/drawing/2014/main" id="{B8ACA3D5-C7AD-436E-9D72-590EFB7D4090}"/>
                </a:ext>
              </a:extLst>
            </p:cNvPr>
            <p:cNvSpPr/>
            <p:nvPr/>
          </p:nvSpPr>
          <p:spPr>
            <a:xfrm>
              <a:off x="9799466" y="4522772"/>
              <a:ext cx="785985" cy="190490"/>
            </a:xfrm>
            <a:custGeom>
              <a:avLst/>
              <a:gdLst/>
              <a:ahLst/>
              <a:cxnLst/>
              <a:rect l="l" t="t" r="r" b="b"/>
              <a:pathLst>
                <a:path w="8768" h="2125" extrusionOk="0">
                  <a:moveTo>
                    <a:pt x="8767" y="0"/>
                  </a:moveTo>
                  <a:lnTo>
                    <a:pt x="359" y="1936"/>
                  </a:lnTo>
                  <a:cubicBezTo>
                    <a:pt x="224" y="1965"/>
                    <a:pt x="100" y="2030"/>
                    <a:pt x="0" y="2124"/>
                  </a:cubicBezTo>
                  <a:cubicBezTo>
                    <a:pt x="1389" y="2001"/>
                    <a:pt x="2772" y="1777"/>
                    <a:pt x="4137" y="1459"/>
                  </a:cubicBezTo>
                  <a:cubicBezTo>
                    <a:pt x="5719" y="1106"/>
                    <a:pt x="7267" y="618"/>
                    <a:pt x="8767" y="0"/>
                  </a:cubicBezTo>
                  <a:close/>
                </a:path>
              </a:pathLst>
            </a:custGeom>
            <a:solidFill>
              <a:srgbClr val="EA551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4" name="Google Shape;276;p28">
              <a:extLst>
                <a:ext uri="{FF2B5EF4-FFF2-40B4-BE49-F238E27FC236}">
                  <a16:creationId xmlns="" xmlns:a16="http://schemas.microsoft.com/office/drawing/2014/main" id="{599EAB6D-5582-4199-9EA9-40503123D95A}"/>
                </a:ext>
              </a:extLst>
            </p:cNvPr>
            <p:cNvSpPr/>
            <p:nvPr/>
          </p:nvSpPr>
          <p:spPr>
            <a:xfrm>
              <a:off x="7851190" y="5008990"/>
              <a:ext cx="160370" cy="149882"/>
            </a:xfrm>
            <a:custGeom>
              <a:avLst/>
              <a:gdLst/>
              <a:ahLst/>
              <a:cxnLst/>
              <a:rect l="l" t="t" r="r" b="b"/>
              <a:pathLst>
                <a:path w="1789" h="1672" extrusionOk="0">
                  <a:moveTo>
                    <a:pt x="1501" y="1"/>
                  </a:moveTo>
                  <a:lnTo>
                    <a:pt x="0" y="1672"/>
                  </a:lnTo>
                  <a:lnTo>
                    <a:pt x="1789" y="1260"/>
                  </a:lnTo>
                  <a:lnTo>
                    <a:pt x="1501" y="1"/>
                  </a:lnTo>
                  <a:close/>
                </a:path>
              </a:pathLst>
            </a:custGeom>
            <a:solidFill>
              <a:srgbClr val="EA551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5" name="Google Shape;277;p28">
              <a:extLst>
                <a:ext uri="{FF2B5EF4-FFF2-40B4-BE49-F238E27FC236}">
                  <a16:creationId xmlns="" xmlns:a16="http://schemas.microsoft.com/office/drawing/2014/main" id="{92972971-64BD-4841-9590-03B74008898E}"/>
                </a:ext>
              </a:extLst>
            </p:cNvPr>
            <p:cNvSpPr/>
            <p:nvPr/>
          </p:nvSpPr>
          <p:spPr>
            <a:xfrm>
              <a:off x="7985653" y="4557553"/>
              <a:ext cx="1334508" cy="564389"/>
            </a:xfrm>
            <a:custGeom>
              <a:avLst/>
              <a:gdLst/>
              <a:ahLst/>
              <a:cxnLst/>
              <a:rect l="l" t="t" r="r" b="b"/>
              <a:pathLst>
                <a:path w="14887" h="6296" extrusionOk="0">
                  <a:moveTo>
                    <a:pt x="14886" y="1"/>
                  </a:moveTo>
                  <a:lnTo>
                    <a:pt x="1783" y="3054"/>
                  </a:lnTo>
                  <a:lnTo>
                    <a:pt x="1" y="5037"/>
                  </a:lnTo>
                  <a:lnTo>
                    <a:pt x="289" y="6296"/>
                  </a:lnTo>
                  <a:lnTo>
                    <a:pt x="795" y="6178"/>
                  </a:lnTo>
                  <a:lnTo>
                    <a:pt x="14886" y="1"/>
                  </a:lnTo>
                  <a:close/>
                </a:path>
              </a:pathLst>
            </a:custGeom>
            <a:solidFill>
              <a:srgbClr val="C5C5C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6" name="Google Shape;278;p28">
              <a:extLst>
                <a:ext uri="{FF2B5EF4-FFF2-40B4-BE49-F238E27FC236}">
                  <a16:creationId xmlns="" xmlns:a16="http://schemas.microsoft.com/office/drawing/2014/main" id="{A27D9699-893D-40F5-9570-A7CBA8FF2E25}"/>
                </a:ext>
              </a:extLst>
            </p:cNvPr>
            <p:cNvSpPr/>
            <p:nvPr/>
          </p:nvSpPr>
          <p:spPr>
            <a:xfrm>
              <a:off x="5705074" y="4179892"/>
              <a:ext cx="1128241" cy="846673"/>
            </a:xfrm>
            <a:custGeom>
              <a:avLst/>
              <a:gdLst/>
              <a:ahLst/>
              <a:cxnLst/>
              <a:rect l="l" t="t" r="r" b="b"/>
              <a:pathLst>
                <a:path w="12586" h="9445" extrusionOk="0">
                  <a:moveTo>
                    <a:pt x="83" y="1"/>
                  </a:moveTo>
                  <a:lnTo>
                    <a:pt x="1" y="19"/>
                  </a:lnTo>
                  <a:lnTo>
                    <a:pt x="1913" y="2843"/>
                  </a:lnTo>
                  <a:lnTo>
                    <a:pt x="3290" y="1842"/>
                  </a:lnTo>
                  <a:lnTo>
                    <a:pt x="83" y="1"/>
                  </a:lnTo>
                  <a:close/>
                  <a:moveTo>
                    <a:pt x="10550" y="6002"/>
                  </a:moveTo>
                  <a:lnTo>
                    <a:pt x="6385" y="9444"/>
                  </a:lnTo>
                  <a:lnTo>
                    <a:pt x="12586" y="7167"/>
                  </a:lnTo>
                  <a:lnTo>
                    <a:pt x="10550" y="6002"/>
                  </a:lnTo>
                  <a:close/>
                </a:path>
              </a:pathLst>
            </a:custGeom>
            <a:solidFill>
              <a:srgbClr val="C7C7C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7" name="Google Shape;279;p28">
              <a:extLst>
                <a:ext uri="{FF2B5EF4-FFF2-40B4-BE49-F238E27FC236}">
                  <a16:creationId xmlns="" xmlns:a16="http://schemas.microsoft.com/office/drawing/2014/main" id="{C50D208C-5853-45D8-871D-7CD8D9A8CD6C}"/>
                </a:ext>
              </a:extLst>
            </p:cNvPr>
            <p:cNvSpPr/>
            <p:nvPr/>
          </p:nvSpPr>
          <p:spPr>
            <a:xfrm>
              <a:off x="5876559" y="4345012"/>
              <a:ext cx="774332" cy="681552"/>
            </a:xfrm>
            <a:custGeom>
              <a:avLst/>
              <a:gdLst/>
              <a:ahLst/>
              <a:cxnLst/>
              <a:rect l="l" t="t" r="r" b="b"/>
              <a:pathLst>
                <a:path w="8638" h="7603" extrusionOk="0">
                  <a:moveTo>
                    <a:pt x="1383" y="0"/>
                  </a:moveTo>
                  <a:lnTo>
                    <a:pt x="0" y="1001"/>
                  </a:lnTo>
                  <a:lnTo>
                    <a:pt x="4477" y="7602"/>
                  </a:lnTo>
                  <a:lnTo>
                    <a:pt x="8637" y="4160"/>
                  </a:lnTo>
                  <a:lnTo>
                    <a:pt x="1383" y="0"/>
                  </a:lnTo>
                  <a:close/>
                </a:path>
              </a:pathLst>
            </a:custGeom>
            <a:solidFill>
              <a:srgbClr val="EA551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8" name="Google Shape;280;p28">
              <a:extLst>
                <a:ext uri="{FF2B5EF4-FFF2-40B4-BE49-F238E27FC236}">
                  <a16:creationId xmlns="" xmlns:a16="http://schemas.microsoft.com/office/drawing/2014/main" id="{03251F92-364C-4D71-82FA-86E0364E8D29}"/>
                </a:ext>
              </a:extLst>
            </p:cNvPr>
            <p:cNvSpPr/>
            <p:nvPr/>
          </p:nvSpPr>
          <p:spPr>
            <a:xfrm>
              <a:off x="10401232" y="4590183"/>
              <a:ext cx="192283" cy="162163"/>
            </a:xfrm>
            <a:custGeom>
              <a:avLst/>
              <a:gdLst/>
              <a:ahLst/>
              <a:cxnLst/>
              <a:rect l="l" t="t" r="r" b="b"/>
              <a:pathLst>
                <a:path w="2145" h="1809" extrusionOk="0">
                  <a:moveTo>
                    <a:pt x="1001" y="0"/>
                  </a:moveTo>
                  <a:cubicBezTo>
                    <a:pt x="932" y="0"/>
                    <a:pt x="862" y="8"/>
                    <a:pt x="789" y="25"/>
                  </a:cubicBezTo>
                  <a:cubicBezTo>
                    <a:pt x="301" y="137"/>
                    <a:pt x="1" y="619"/>
                    <a:pt x="112" y="1107"/>
                  </a:cubicBezTo>
                  <a:cubicBezTo>
                    <a:pt x="218" y="1558"/>
                    <a:pt x="606" y="1808"/>
                    <a:pt x="999" y="1808"/>
                  </a:cubicBezTo>
                  <a:cubicBezTo>
                    <a:pt x="1287" y="1808"/>
                    <a:pt x="1578" y="1673"/>
                    <a:pt x="1760" y="1384"/>
                  </a:cubicBezTo>
                  <a:cubicBezTo>
                    <a:pt x="2144" y="765"/>
                    <a:pt x="1676" y="0"/>
                    <a:pt x="1001" y="0"/>
                  </a:cubicBezTo>
                  <a:close/>
                </a:path>
              </a:pathLst>
            </a:custGeom>
            <a:solidFill>
              <a:srgbClr val="45454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9" name="Google Shape;281;p28">
              <a:extLst>
                <a:ext uri="{FF2B5EF4-FFF2-40B4-BE49-F238E27FC236}">
                  <a16:creationId xmlns="" xmlns:a16="http://schemas.microsoft.com/office/drawing/2014/main" id="{50F8D9E9-11BE-439F-B17C-7EB3EFDBFBFD}"/>
                </a:ext>
              </a:extLst>
            </p:cNvPr>
            <p:cNvSpPr/>
            <p:nvPr/>
          </p:nvSpPr>
          <p:spPr>
            <a:xfrm>
              <a:off x="10446053" y="4631418"/>
              <a:ext cx="95469" cy="80320"/>
            </a:xfrm>
            <a:custGeom>
              <a:avLst/>
              <a:gdLst/>
              <a:ahLst/>
              <a:cxnLst/>
              <a:rect l="l" t="t" r="r" b="b"/>
              <a:pathLst>
                <a:path w="1065" h="896" extrusionOk="0">
                  <a:moveTo>
                    <a:pt x="499" y="0"/>
                  </a:moveTo>
                  <a:cubicBezTo>
                    <a:pt x="465" y="0"/>
                    <a:pt x="430" y="4"/>
                    <a:pt x="395" y="12"/>
                  </a:cubicBezTo>
                  <a:cubicBezTo>
                    <a:pt x="148" y="65"/>
                    <a:pt x="1" y="306"/>
                    <a:pt x="54" y="547"/>
                  </a:cubicBezTo>
                  <a:cubicBezTo>
                    <a:pt x="108" y="771"/>
                    <a:pt x="300" y="895"/>
                    <a:pt x="495" y="895"/>
                  </a:cubicBezTo>
                  <a:cubicBezTo>
                    <a:pt x="638" y="895"/>
                    <a:pt x="782" y="828"/>
                    <a:pt x="872" y="683"/>
                  </a:cubicBezTo>
                  <a:cubicBezTo>
                    <a:pt x="1064" y="378"/>
                    <a:pt x="834" y="0"/>
                    <a:pt x="499" y="0"/>
                  </a:cubicBezTo>
                  <a:close/>
                </a:path>
              </a:pathLst>
            </a:custGeom>
            <a:solidFill>
              <a:srgbClr val="FDFDFB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0" name="Google Shape;282;p28">
              <a:extLst>
                <a:ext uri="{FF2B5EF4-FFF2-40B4-BE49-F238E27FC236}">
                  <a16:creationId xmlns="" xmlns:a16="http://schemas.microsoft.com/office/drawing/2014/main" id="{FFB979AC-A1FE-4A73-9167-0E076C7B5F2D}"/>
                </a:ext>
              </a:extLst>
            </p:cNvPr>
            <p:cNvSpPr/>
            <p:nvPr/>
          </p:nvSpPr>
          <p:spPr>
            <a:xfrm>
              <a:off x="8315266" y="5069139"/>
              <a:ext cx="192283" cy="162253"/>
            </a:xfrm>
            <a:custGeom>
              <a:avLst/>
              <a:gdLst/>
              <a:ahLst/>
              <a:cxnLst/>
              <a:rect l="l" t="t" r="r" b="b"/>
              <a:pathLst>
                <a:path w="2145" h="1810" extrusionOk="0">
                  <a:moveTo>
                    <a:pt x="997" y="1"/>
                  </a:moveTo>
                  <a:cubicBezTo>
                    <a:pt x="930" y="1"/>
                    <a:pt x="860" y="8"/>
                    <a:pt x="789" y="24"/>
                  </a:cubicBezTo>
                  <a:cubicBezTo>
                    <a:pt x="301" y="136"/>
                    <a:pt x="1" y="624"/>
                    <a:pt x="113" y="1107"/>
                  </a:cubicBezTo>
                  <a:cubicBezTo>
                    <a:pt x="214" y="1560"/>
                    <a:pt x="602" y="1809"/>
                    <a:pt x="993" y="1809"/>
                  </a:cubicBezTo>
                  <a:cubicBezTo>
                    <a:pt x="1283" y="1809"/>
                    <a:pt x="1574" y="1673"/>
                    <a:pt x="1754" y="1383"/>
                  </a:cubicBezTo>
                  <a:cubicBezTo>
                    <a:pt x="2145" y="763"/>
                    <a:pt x="1674" y="1"/>
                    <a:pt x="997" y="1"/>
                  </a:cubicBezTo>
                  <a:close/>
                </a:path>
              </a:pathLst>
            </a:custGeom>
            <a:solidFill>
              <a:srgbClr val="45454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1" name="Google Shape;283;p28">
              <a:extLst>
                <a:ext uri="{FF2B5EF4-FFF2-40B4-BE49-F238E27FC236}">
                  <a16:creationId xmlns="" xmlns:a16="http://schemas.microsoft.com/office/drawing/2014/main" id="{096B1D22-B077-4251-B12B-24CD567C585C}"/>
                </a:ext>
              </a:extLst>
            </p:cNvPr>
            <p:cNvSpPr/>
            <p:nvPr/>
          </p:nvSpPr>
          <p:spPr>
            <a:xfrm>
              <a:off x="8134369" y="5110823"/>
              <a:ext cx="192821" cy="162253"/>
            </a:xfrm>
            <a:custGeom>
              <a:avLst/>
              <a:gdLst/>
              <a:ahLst/>
              <a:cxnLst/>
              <a:rect l="l" t="t" r="r" b="b"/>
              <a:pathLst>
                <a:path w="2151" h="1810" extrusionOk="0">
                  <a:moveTo>
                    <a:pt x="1002" y="1"/>
                  </a:moveTo>
                  <a:cubicBezTo>
                    <a:pt x="935" y="1"/>
                    <a:pt x="866" y="8"/>
                    <a:pt x="795" y="24"/>
                  </a:cubicBezTo>
                  <a:cubicBezTo>
                    <a:pt x="307" y="136"/>
                    <a:pt x="1" y="624"/>
                    <a:pt x="119" y="1112"/>
                  </a:cubicBezTo>
                  <a:cubicBezTo>
                    <a:pt x="220" y="1562"/>
                    <a:pt x="607" y="1810"/>
                    <a:pt x="998" y="1810"/>
                  </a:cubicBezTo>
                  <a:cubicBezTo>
                    <a:pt x="1288" y="1810"/>
                    <a:pt x="1580" y="1674"/>
                    <a:pt x="1760" y="1383"/>
                  </a:cubicBezTo>
                  <a:cubicBezTo>
                    <a:pt x="2151" y="767"/>
                    <a:pt x="1679" y="1"/>
                    <a:pt x="1002" y="1"/>
                  </a:cubicBezTo>
                  <a:close/>
                </a:path>
              </a:pathLst>
            </a:custGeom>
            <a:solidFill>
              <a:srgbClr val="45454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2" name="Google Shape;284;p28">
              <a:extLst>
                <a:ext uri="{FF2B5EF4-FFF2-40B4-BE49-F238E27FC236}">
                  <a16:creationId xmlns="" xmlns:a16="http://schemas.microsoft.com/office/drawing/2014/main" id="{55F872AE-CBC8-4933-A0F9-D70FA19184CE}"/>
                </a:ext>
              </a:extLst>
            </p:cNvPr>
            <p:cNvSpPr/>
            <p:nvPr/>
          </p:nvSpPr>
          <p:spPr>
            <a:xfrm>
              <a:off x="8788934" y="4714157"/>
              <a:ext cx="256915" cy="156605"/>
            </a:xfrm>
            <a:custGeom>
              <a:avLst/>
              <a:gdLst/>
              <a:ahLst/>
              <a:cxnLst/>
              <a:rect l="l" t="t" r="r" b="b"/>
              <a:pathLst>
                <a:path w="2866" h="1747" extrusionOk="0">
                  <a:moveTo>
                    <a:pt x="2513" y="1"/>
                  </a:moveTo>
                  <a:cubicBezTo>
                    <a:pt x="1083" y="330"/>
                    <a:pt x="0" y="942"/>
                    <a:pt x="100" y="1366"/>
                  </a:cubicBezTo>
                  <a:cubicBezTo>
                    <a:pt x="155" y="1616"/>
                    <a:pt x="600" y="1747"/>
                    <a:pt x="1244" y="1747"/>
                  </a:cubicBezTo>
                  <a:cubicBezTo>
                    <a:pt x="1706" y="1747"/>
                    <a:pt x="2269" y="1680"/>
                    <a:pt x="2866" y="1542"/>
                  </a:cubicBezTo>
                  <a:lnTo>
                    <a:pt x="2513" y="1"/>
                  </a:lnTo>
                  <a:close/>
                </a:path>
              </a:pathLst>
            </a:custGeom>
            <a:solidFill>
              <a:srgbClr val="45454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3" name="Google Shape;285;p28">
              <a:extLst>
                <a:ext uri="{FF2B5EF4-FFF2-40B4-BE49-F238E27FC236}">
                  <a16:creationId xmlns="" xmlns:a16="http://schemas.microsoft.com/office/drawing/2014/main" id="{A9A637B1-8578-447C-B6BD-A2089158DB3C}"/>
                </a:ext>
              </a:extLst>
            </p:cNvPr>
            <p:cNvSpPr/>
            <p:nvPr/>
          </p:nvSpPr>
          <p:spPr>
            <a:xfrm>
              <a:off x="7558420" y="4543838"/>
              <a:ext cx="1858199" cy="302275"/>
            </a:xfrm>
            <a:custGeom>
              <a:avLst/>
              <a:gdLst/>
              <a:ahLst/>
              <a:cxnLst/>
              <a:rect l="l" t="t" r="r" b="b"/>
              <a:pathLst>
                <a:path w="20729" h="3372" extrusionOk="0">
                  <a:moveTo>
                    <a:pt x="20729" y="1"/>
                  </a:moveTo>
                  <a:lnTo>
                    <a:pt x="1" y="1448"/>
                  </a:lnTo>
                  <a:lnTo>
                    <a:pt x="148" y="2077"/>
                  </a:lnTo>
                  <a:lnTo>
                    <a:pt x="7197" y="3372"/>
                  </a:lnTo>
                  <a:lnTo>
                    <a:pt x="20729" y="1"/>
                  </a:lnTo>
                  <a:close/>
                </a:path>
              </a:pathLst>
            </a:custGeom>
            <a:solidFill>
              <a:srgbClr val="C7C7C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4" name="Google Shape;286;p28">
              <a:extLst>
                <a:ext uri="{FF2B5EF4-FFF2-40B4-BE49-F238E27FC236}">
                  <a16:creationId xmlns="" xmlns:a16="http://schemas.microsoft.com/office/drawing/2014/main" id="{8178A25F-D65D-4D4C-B326-288FCFE1E26A}"/>
                </a:ext>
              </a:extLst>
            </p:cNvPr>
            <p:cNvSpPr/>
            <p:nvPr/>
          </p:nvSpPr>
          <p:spPr>
            <a:xfrm>
              <a:off x="8133024" y="4530123"/>
              <a:ext cx="1317924" cy="341269"/>
            </a:xfrm>
            <a:custGeom>
              <a:avLst/>
              <a:gdLst/>
              <a:ahLst/>
              <a:cxnLst/>
              <a:rect l="l" t="t" r="r" b="b"/>
              <a:pathLst>
                <a:path w="14702" h="3807" extrusionOk="0">
                  <a:moveTo>
                    <a:pt x="14367" y="1"/>
                  </a:moveTo>
                  <a:cubicBezTo>
                    <a:pt x="14339" y="1"/>
                    <a:pt x="14311" y="4"/>
                    <a:pt x="14284" y="12"/>
                  </a:cubicBezTo>
                  <a:lnTo>
                    <a:pt x="345" y="3213"/>
                  </a:lnTo>
                  <a:cubicBezTo>
                    <a:pt x="1" y="3308"/>
                    <a:pt x="92" y="3807"/>
                    <a:pt x="421" y="3807"/>
                  </a:cubicBezTo>
                  <a:cubicBezTo>
                    <a:pt x="440" y="3807"/>
                    <a:pt x="460" y="3805"/>
                    <a:pt x="481" y="3801"/>
                  </a:cubicBezTo>
                  <a:lnTo>
                    <a:pt x="14419" y="601"/>
                  </a:lnTo>
                  <a:cubicBezTo>
                    <a:pt x="14590" y="571"/>
                    <a:pt x="14701" y="401"/>
                    <a:pt x="14660" y="236"/>
                  </a:cubicBezTo>
                  <a:cubicBezTo>
                    <a:pt x="14631" y="94"/>
                    <a:pt x="14503" y="1"/>
                    <a:pt x="14367" y="1"/>
                  </a:cubicBezTo>
                  <a:close/>
                </a:path>
              </a:pathLst>
            </a:custGeom>
            <a:solidFill>
              <a:srgbClr val="45454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5" name="Google Shape;287;p28">
              <a:extLst>
                <a:ext uri="{FF2B5EF4-FFF2-40B4-BE49-F238E27FC236}">
                  <a16:creationId xmlns="" xmlns:a16="http://schemas.microsoft.com/office/drawing/2014/main" id="{80B50180-D234-45E5-8469-7D04F4D5D241}"/>
                </a:ext>
              </a:extLst>
            </p:cNvPr>
            <p:cNvSpPr/>
            <p:nvPr/>
          </p:nvSpPr>
          <p:spPr>
            <a:xfrm>
              <a:off x="5748909" y="5039826"/>
              <a:ext cx="1067553" cy="251268"/>
            </a:xfrm>
            <a:custGeom>
              <a:avLst/>
              <a:gdLst/>
              <a:ahLst/>
              <a:cxnLst/>
              <a:rect l="l" t="t" r="r" b="b"/>
              <a:pathLst>
                <a:path w="11909" h="2803" extrusionOk="0">
                  <a:moveTo>
                    <a:pt x="11659" y="0"/>
                  </a:moveTo>
                  <a:cubicBezTo>
                    <a:pt x="10966" y="0"/>
                    <a:pt x="8626" y="422"/>
                    <a:pt x="5872" y="1057"/>
                  </a:cubicBezTo>
                  <a:cubicBezTo>
                    <a:pt x="2607" y="1804"/>
                    <a:pt x="0" y="2569"/>
                    <a:pt x="41" y="2758"/>
                  </a:cubicBezTo>
                  <a:cubicBezTo>
                    <a:pt x="48" y="2788"/>
                    <a:pt x="119" y="2803"/>
                    <a:pt x="247" y="2803"/>
                  </a:cubicBezTo>
                  <a:cubicBezTo>
                    <a:pt x="937" y="2803"/>
                    <a:pt x="3277" y="2381"/>
                    <a:pt x="6031" y="1746"/>
                  </a:cubicBezTo>
                  <a:cubicBezTo>
                    <a:pt x="9296" y="998"/>
                    <a:pt x="11909" y="233"/>
                    <a:pt x="11867" y="45"/>
                  </a:cubicBezTo>
                  <a:cubicBezTo>
                    <a:pt x="11860" y="15"/>
                    <a:pt x="11788" y="0"/>
                    <a:pt x="11659" y="0"/>
                  </a:cubicBezTo>
                  <a:close/>
                </a:path>
              </a:pathLst>
            </a:custGeom>
            <a:solidFill>
              <a:srgbClr val="C7C7C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6" name="Google Shape;288;p28">
              <a:extLst>
                <a:ext uri="{FF2B5EF4-FFF2-40B4-BE49-F238E27FC236}">
                  <a16:creationId xmlns="" xmlns:a16="http://schemas.microsoft.com/office/drawing/2014/main" id="{7C764BAE-EF15-4540-8A2E-39408BF7F7F5}"/>
                </a:ext>
              </a:extLst>
            </p:cNvPr>
            <p:cNvSpPr/>
            <p:nvPr/>
          </p:nvSpPr>
          <p:spPr>
            <a:xfrm>
              <a:off x="5787903" y="4207860"/>
              <a:ext cx="472147" cy="728435"/>
            </a:xfrm>
            <a:custGeom>
              <a:avLst/>
              <a:gdLst/>
              <a:ahLst/>
              <a:cxnLst/>
              <a:rect l="l" t="t" r="r" b="b"/>
              <a:pathLst>
                <a:path w="5267" h="8126" extrusionOk="0">
                  <a:moveTo>
                    <a:pt x="2007" y="1"/>
                  </a:moveTo>
                  <a:lnTo>
                    <a:pt x="1" y="201"/>
                  </a:lnTo>
                  <a:lnTo>
                    <a:pt x="5266" y="8126"/>
                  </a:lnTo>
                  <a:lnTo>
                    <a:pt x="2007" y="1"/>
                  </a:lnTo>
                  <a:close/>
                </a:path>
              </a:pathLst>
            </a:custGeom>
            <a:solidFill>
              <a:srgbClr val="45454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7" name="Google Shape;289;p28">
              <a:extLst>
                <a:ext uri="{FF2B5EF4-FFF2-40B4-BE49-F238E27FC236}">
                  <a16:creationId xmlns="" xmlns:a16="http://schemas.microsoft.com/office/drawing/2014/main" id="{F1CB0D25-D404-490E-A530-167537B22F31}"/>
                </a:ext>
              </a:extLst>
            </p:cNvPr>
            <p:cNvSpPr/>
            <p:nvPr/>
          </p:nvSpPr>
          <p:spPr>
            <a:xfrm>
              <a:off x="8361163" y="5111181"/>
              <a:ext cx="95380" cy="80499"/>
            </a:xfrm>
            <a:custGeom>
              <a:avLst/>
              <a:gdLst/>
              <a:ahLst/>
              <a:cxnLst/>
              <a:rect l="l" t="t" r="r" b="b"/>
              <a:pathLst>
                <a:path w="1064" h="898" extrusionOk="0">
                  <a:moveTo>
                    <a:pt x="503" y="1"/>
                  </a:moveTo>
                  <a:cubicBezTo>
                    <a:pt x="468" y="1"/>
                    <a:pt x="432" y="5"/>
                    <a:pt x="395" y="14"/>
                  </a:cubicBezTo>
                  <a:cubicBezTo>
                    <a:pt x="154" y="67"/>
                    <a:pt x="1" y="308"/>
                    <a:pt x="60" y="550"/>
                  </a:cubicBezTo>
                  <a:cubicBezTo>
                    <a:pt x="110" y="773"/>
                    <a:pt x="302" y="897"/>
                    <a:pt x="495" y="897"/>
                  </a:cubicBezTo>
                  <a:cubicBezTo>
                    <a:pt x="638" y="897"/>
                    <a:pt x="782" y="830"/>
                    <a:pt x="872" y="685"/>
                  </a:cubicBezTo>
                  <a:cubicBezTo>
                    <a:pt x="1063" y="381"/>
                    <a:pt x="836" y="1"/>
                    <a:pt x="503" y="1"/>
                  </a:cubicBezTo>
                  <a:close/>
                </a:path>
              </a:pathLst>
            </a:custGeom>
            <a:solidFill>
              <a:srgbClr val="FDFDFB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8" name="Google Shape;290;p28">
              <a:extLst>
                <a:ext uri="{FF2B5EF4-FFF2-40B4-BE49-F238E27FC236}">
                  <a16:creationId xmlns="" xmlns:a16="http://schemas.microsoft.com/office/drawing/2014/main" id="{EB6B7EEC-9BCD-44E3-9264-5426AA4EBA53}"/>
                </a:ext>
              </a:extLst>
            </p:cNvPr>
            <p:cNvSpPr/>
            <p:nvPr/>
          </p:nvSpPr>
          <p:spPr>
            <a:xfrm>
              <a:off x="8180803" y="5152506"/>
              <a:ext cx="95380" cy="80409"/>
            </a:xfrm>
            <a:custGeom>
              <a:avLst/>
              <a:gdLst/>
              <a:ahLst/>
              <a:cxnLst/>
              <a:rect l="l" t="t" r="r" b="b"/>
              <a:pathLst>
                <a:path w="1064" h="897" extrusionOk="0">
                  <a:moveTo>
                    <a:pt x="498" y="0"/>
                  </a:moveTo>
                  <a:cubicBezTo>
                    <a:pt x="465" y="0"/>
                    <a:pt x="430" y="4"/>
                    <a:pt x="395" y="12"/>
                  </a:cubicBezTo>
                  <a:cubicBezTo>
                    <a:pt x="154" y="65"/>
                    <a:pt x="1" y="306"/>
                    <a:pt x="59" y="547"/>
                  </a:cubicBezTo>
                  <a:cubicBezTo>
                    <a:pt x="110" y="772"/>
                    <a:pt x="303" y="896"/>
                    <a:pt x="498" y="896"/>
                  </a:cubicBezTo>
                  <a:cubicBezTo>
                    <a:pt x="639" y="896"/>
                    <a:pt x="782" y="830"/>
                    <a:pt x="871" y="689"/>
                  </a:cubicBezTo>
                  <a:cubicBezTo>
                    <a:pt x="1064" y="378"/>
                    <a:pt x="833" y="0"/>
                    <a:pt x="498" y="0"/>
                  </a:cubicBezTo>
                  <a:close/>
                </a:path>
              </a:pathLst>
            </a:custGeom>
            <a:solidFill>
              <a:srgbClr val="FDFDFB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9" name="Google Shape;291;p28">
              <a:extLst>
                <a:ext uri="{FF2B5EF4-FFF2-40B4-BE49-F238E27FC236}">
                  <a16:creationId xmlns="" xmlns:a16="http://schemas.microsoft.com/office/drawing/2014/main" id="{6A89B066-F023-45CF-8629-12CB02199845}"/>
                </a:ext>
              </a:extLst>
            </p:cNvPr>
            <p:cNvSpPr/>
            <p:nvPr/>
          </p:nvSpPr>
          <p:spPr>
            <a:xfrm>
              <a:off x="10246690" y="4114722"/>
              <a:ext cx="148807" cy="248130"/>
            </a:xfrm>
            <a:custGeom>
              <a:avLst/>
              <a:gdLst/>
              <a:ahLst/>
              <a:cxnLst/>
              <a:rect l="l" t="t" r="r" b="b"/>
              <a:pathLst>
                <a:path w="1660" h="2768" extrusionOk="0">
                  <a:moveTo>
                    <a:pt x="980" y="0"/>
                  </a:moveTo>
                  <a:cubicBezTo>
                    <a:pt x="970" y="0"/>
                    <a:pt x="959" y="2"/>
                    <a:pt x="948" y="4"/>
                  </a:cubicBezTo>
                  <a:lnTo>
                    <a:pt x="124" y="192"/>
                  </a:lnTo>
                  <a:cubicBezTo>
                    <a:pt x="48" y="210"/>
                    <a:pt x="1" y="287"/>
                    <a:pt x="18" y="363"/>
                  </a:cubicBezTo>
                  <a:lnTo>
                    <a:pt x="548" y="2658"/>
                  </a:lnTo>
                  <a:cubicBezTo>
                    <a:pt x="563" y="2723"/>
                    <a:pt x="622" y="2767"/>
                    <a:pt x="686" y="2767"/>
                  </a:cubicBezTo>
                  <a:cubicBezTo>
                    <a:pt x="697" y="2767"/>
                    <a:pt x="708" y="2766"/>
                    <a:pt x="719" y="2764"/>
                  </a:cubicBezTo>
                  <a:lnTo>
                    <a:pt x="1536" y="2575"/>
                  </a:lnTo>
                  <a:cubicBezTo>
                    <a:pt x="1613" y="2558"/>
                    <a:pt x="1660" y="2481"/>
                    <a:pt x="1642" y="2405"/>
                  </a:cubicBezTo>
                  <a:lnTo>
                    <a:pt x="1119" y="110"/>
                  </a:lnTo>
                  <a:cubicBezTo>
                    <a:pt x="1103" y="44"/>
                    <a:pt x="1045" y="0"/>
                    <a:pt x="980" y="0"/>
                  </a:cubicBezTo>
                  <a:close/>
                </a:path>
              </a:pathLst>
            </a:custGeom>
            <a:solidFill>
              <a:srgbClr val="C7C7C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0" name="Google Shape;292;p28">
              <a:extLst>
                <a:ext uri="{FF2B5EF4-FFF2-40B4-BE49-F238E27FC236}">
                  <a16:creationId xmlns="" xmlns:a16="http://schemas.microsoft.com/office/drawing/2014/main" id="{C871682A-475A-4152-AC25-C6959F465D39}"/>
                </a:ext>
              </a:extLst>
            </p:cNvPr>
            <p:cNvSpPr/>
            <p:nvPr/>
          </p:nvSpPr>
          <p:spPr>
            <a:xfrm>
              <a:off x="9728291" y="4437343"/>
              <a:ext cx="481022" cy="162522"/>
            </a:xfrm>
            <a:custGeom>
              <a:avLst/>
              <a:gdLst/>
              <a:ahLst/>
              <a:cxnLst/>
              <a:rect l="l" t="t" r="r" b="b"/>
              <a:pathLst>
                <a:path w="5366" h="1813" extrusionOk="0">
                  <a:moveTo>
                    <a:pt x="4784" y="0"/>
                  </a:moveTo>
                  <a:cubicBezTo>
                    <a:pt x="4748" y="0"/>
                    <a:pt x="4719" y="6"/>
                    <a:pt x="4689" y="12"/>
                  </a:cubicBezTo>
                  <a:lnTo>
                    <a:pt x="488" y="977"/>
                  </a:lnTo>
                  <a:cubicBezTo>
                    <a:pt x="0" y="1089"/>
                    <a:pt x="83" y="1812"/>
                    <a:pt x="583" y="1812"/>
                  </a:cubicBezTo>
                  <a:cubicBezTo>
                    <a:pt x="618" y="1812"/>
                    <a:pt x="647" y="1806"/>
                    <a:pt x="677" y="1800"/>
                  </a:cubicBezTo>
                  <a:lnTo>
                    <a:pt x="4878" y="836"/>
                  </a:lnTo>
                  <a:cubicBezTo>
                    <a:pt x="5366" y="724"/>
                    <a:pt x="5284" y="0"/>
                    <a:pt x="4784" y="0"/>
                  </a:cubicBezTo>
                  <a:close/>
                </a:path>
              </a:pathLst>
            </a:custGeom>
            <a:solidFill>
              <a:srgbClr val="EA551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1" name="Google Shape;293;p28">
              <a:extLst>
                <a:ext uri="{FF2B5EF4-FFF2-40B4-BE49-F238E27FC236}">
                  <a16:creationId xmlns="" xmlns:a16="http://schemas.microsoft.com/office/drawing/2014/main" id="{0C82B5A3-AD09-477B-96FA-684FC0EB69D3}"/>
                </a:ext>
              </a:extLst>
            </p:cNvPr>
            <p:cNvSpPr/>
            <p:nvPr/>
          </p:nvSpPr>
          <p:spPr>
            <a:xfrm>
              <a:off x="7296845" y="4995274"/>
              <a:ext cx="481111" cy="162611"/>
            </a:xfrm>
            <a:custGeom>
              <a:avLst/>
              <a:gdLst/>
              <a:ahLst/>
              <a:cxnLst/>
              <a:rect l="l" t="t" r="r" b="b"/>
              <a:pathLst>
                <a:path w="5367" h="1814" extrusionOk="0">
                  <a:moveTo>
                    <a:pt x="4784" y="1"/>
                  </a:moveTo>
                  <a:cubicBezTo>
                    <a:pt x="4749" y="1"/>
                    <a:pt x="4719" y="7"/>
                    <a:pt x="4690" y="13"/>
                  </a:cubicBezTo>
                  <a:lnTo>
                    <a:pt x="489" y="978"/>
                  </a:lnTo>
                  <a:cubicBezTo>
                    <a:pt x="1" y="1089"/>
                    <a:pt x="83" y="1813"/>
                    <a:pt x="583" y="1813"/>
                  </a:cubicBezTo>
                  <a:cubicBezTo>
                    <a:pt x="618" y="1813"/>
                    <a:pt x="648" y="1807"/>
                    <a:pt x="677" y="1801"/>
                  </a:cubicBezTo>
                  <a:lnTo>
                    <a:pt x="4878" y="842"/>
                  </a:lnTo>
                  <a:cubicBezTo>
                    <a:pt x="5366" y="725"/>
                    <a:pt x="5284" y="1"/>
                    <a:pt x="4784" y="1"/>
                  </a:cubicBezTo>
                  <a:close/>
                </a:path>
              </a:pathLst>
            </a:custGeom>
            <a:solidFill>
              <a:srgbClr val="EA551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413912382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AA16B7AC-F676-4F67-8813-4F8F68AAD7D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302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="" xmlns:a16="http://schemas.microsoft.com/office/drawing/2014/main" id="{AA16B7AC-F676-4F67-8813-4F8F68AAD7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="" xmlns:a16="http://schemas.microsoft.com/office/drawing/2014/main" id="{260A3D96-399B-450E-B597-24C3AA9AE05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US" sz="240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="" xmlns:a16="http://schemas.microsoft.com/office/drawing/2014/main" id="{48D13E25-DCE9-4BCE-806B-429683B77FA6}"/>
              </a:ext>
            </a:extLst>
          </p:cNvPr>
          <p:cNvSpPr txBox="1"/>
          <p:nvPr/>
        </p:nvSpPr>
        <p:spPr>
          <a:xfrm>
            <a:off x="244474" y="1301507"/>
            <a:ext cx="6840220" cy="249299"/>
          </a:xfrm>
          <a:prstGeom prst="rect">
            <a:avLst/>
          </a:prstGeom>
          <a:noFill/>
          <a:ln w="6350" cap="flat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A5FFFF"/>
                </a:solidFill>
              </a14:hiddenFill>
            </a:ext>
          </a:extLst>
        </p:spPr>
        <p:txBody>
          <a:bodyPr vert="horz" wrap="square" lIns="365760" tIns="0" rIns="0" bIns="0" rtlCol="0" anchor="t" anchorCtr="0">
            <a:sp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2"/>
              </a:buClr>
            </a:pP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Machine Learning Modeling and Evaluation</a:t>
            </a:r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7956AB31-F718-491D-AAC7-99EB166076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4507" y="493495"/>
            <a:ext cx="7604094" cy="338554"/>
          </a:xfrm>
        </p:spPr>
        <p:txBody>
          <a:bodyPr/>
          <a:lstStyle/>
          <a:p>
            <a:r>
              <a:rPr lang="en-US" b="1" dirty="0"/>
              <a:t>Framework</a:t>
            </a:r>
          </a:p>
        </p:txBody>
      </p:sp>
      <p:sp>
        <p:nvSpPr>
          <p:cNvPr id="5" name="Oval 4">
            <a:extLst>
              <a:ext uri="{FF2B5EF4-FFF2-40B4-BE49-F238E27FC236}">
                <a16:creationId xmlns="" xmlns:a16="http://schemas.microsoft.com/office/drawing/2014/main" id="{3D60A96E-A8F3-4D57-873D-4053E79B24CA}"/>
              </a:ext>
            </a:extLst>
          </p:cNvPr>
          <p:cNvSpPr/>
          <p:nvPr/>
        </p:nvSpPr>
        <p:spPr>
          <a:xfrm>
            <a:off x="246380" y="1273567"/>
            <a:ext cx="279400" cy="279400"/>
          </a:xfrm>
          <a:prstGeom prst="ellipse">
            <a:avLst/>
          </a:prstGeom>
          <a:solidFill>
            <a:schemeClr val="accent1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1600" b="1" dirty="0">
                <a:solidFill>
                  <a:schemeClr val="bg1"/>
                </a:solidFill>
                <a:latin typeface="Arial" panose="020B0604020202020204" pitchFamily="34" charset="0"/>
                <a:cs typeface="Arial" pitchFamily="34" charset="0"/>
              </a:rPr>
              <a:t>5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="" xmlns:a16="http://schemas.microsoft.com/office/drawing/2014/main" id="{0BBEB72A-2139-4645-915E-CEC28070B56D}"/>
              </a:ext>
            </a:extLst>
          </p:cNvPr>
          <p:cNvGrpSpPr/>
          <p:nvPr/>
        </p:nvGrpSpPr>
        <p:grpSpPr>
          <a:xfrm>
            <a:off x="7877395" y="1225848"/>
            <a:ext cx="937795" cy="385342"/>
            <a:chOff x="7877395" y="1225848"/>
            <a:chExt cx="937795" cy="385342"/>
          </a:xfrm>
        </p:grpSpPr>
        <p:sp>
          <p:nvSpPr>
            <p:cNvPr id="12" name="Isosceles Triangle 11">
              <a:extLst>
                <a:ext uri="{FF2B5EF4-FFF2-40B4-BE49-F238E27FC236}">
                  <a16:creationId xmlns="" xmlns:a16="http://schemas.microsoft.com/office/drawing/2014/main" id="{35B3CE62-F491-498C-8FB7-E66CFD69DB95}"/>
                </a:ext>
              </a:extLst>
            </p:cNvPr>
            <p:cNvSpPr>
              <a:spLocks noChangeAspect="1"/>
            </p:cNvSpPr>
            <p:nvPr/>
          </p:nvSpPr>
          <p:spPr bwMode="gray">
            <a:xfrm rot="9927096">
              <a:off x="8132907" y="1349645"/>
              <a:ext cx="73611" cy="63458"/>
            </a:xfrm>
            <a:prstGeom prst="triangle">
              <a:avLst/>
            </a:prstGeom>
            <a:solidFill>
              <a:schemeClr val="bg2"/>
            </a:solidFill>
            <a:ln w="9525">
              <a:solidFill>
                <a:srgbClr val="007F7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050" dirty="0">
                <a:solidFill>
                  <a:schemeClr val="tx1"/>
                </a:solidFill>
              </a:endParaRPr>
            </a:p>
          </p:txBody>
        </p:sp>
        <p:sp>
          <p:nvSpPr>
            <p:cNvPr id="13" name="Oval 12">
              <a:extLst>
                <a:ext uri="{FF2B5EF4-FFF2-40B4-BE49-F238E27FC236}">
                  <a16:creationId xmlns="" xmlns:a16="http://schemas.microsoft.com/office/drawing/2014/main" id="{D5057345-1014-4E3D-8249-CA3762D4EBD7}"/>
                </a:ext>
              </a:extLst>
            </p:cNvPr>
            <p:cNvSpPr/>
            <p:nvPr/>
          </p:nvSpPr>
          <p:spPr>
            <a:xfrm>
              <a:off x="8002635" y="1243852"/>
              <a:ext cx="50253" cy="50252"/>
            </a:xfrm>
            <a:prstGeom prst="ellipse">
              <a:avLst/>
            </a:prstGeom>
            <a:solidFill>
              <a:schemeClr val="bg2"/>
            </a:solidFill>
            <a:ln w="12700" cap="flat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 b="1" dirty="0">
                <a:solidFill>
                  <a:schemeClr val="bg1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14" name="Oval 13">
              <a:extLst>
                <a:ext uri="{FF2B5EF4-FFF2-40B4-BE49-F238E27FC236}">
                  <a16:creationId xmlns="" xmlns:a16="http://schemas.microsoft.com/office/drawing/2014/main" id="{63F9707F-DBB8-47E1-9D38-404826C77867}"/>
                </a:ext>
              </a:extLst>
            </p:cNvPr>
            <p:cNvSpPr/>
            <p:nvPr/>
          </p:nvSpPr>
          <p:spPr>
            <a:xfrm>
              <a:off x="8530035" y="1349312"/>
              <a:ext cx="212364" cy="212364"/>
            </a:xfrm>
            <a:prstGeom prst="ellipse">
              <a:avLst/>
            </a:prstGeom>
            <a:solidFill>
              <a:schemeClr val="accent5"/>
            </a:solidFill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ot="0" spcFirstLastPara="0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15" name="Arc 14">
              <a:extLst>
                <a:ext uri="{FF2B5EF4-FFF2-40B4-BE49-F238E27FC236}">
                  <a16:creationId xmlns="" xmlns:a16="http://schemas.microsoft.com/office/drawing/2014/main" id="{83A64A2A-0C53-4047-8B19-03F3FE3B04D9}"/>
                </a:ext>
              </a:extLst>
            </p:cNvPr>
            <p:cNvSpPr/>
            <p:nvPr/>
          </p:nvSpPr>
          <p:spPr bwMode="gray">
            <a:xfrm>
              <a:off x="8486575" y="1267966"/>
              <a:ext cx="283644" cy="247796"/>
            </a:xfrm>
            <a:prstGeom prst="arc">
              <a:avLst>
                <a:gd name="adj1" fmla="val 11178900"/>
                <a:gd name="adj2" fmla="val 21075396"/>
              </a:avLst>
            </a:prstGeom>
            <a:ln w="19050" cap="flat">
              <a:solidFill>
                <a:schemeClr val="accent5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100" dirty="0"/>
            </a:p>
          </p:txBody>
        </p:sp>
        <p:sp>
          <p:nvSpPr>
            <p:cNvPr id="16" name="Isosceles Triangle 15">
              <a:extLst>
                <a:ext uri="{FF2B5EF4-FFF2-40B4-BE49-F238E27FC236}">
                  <a16:creationId xmlns="" xmlns:a16="http://schemas.microsoft.com/office/drawing/2014/main" id="{AD34A29D-9581-4661-BAC6-DFB4DF1F5397}"/>
                </a:ext>
              </a:extLst>
            </p:cNvPr>
            <p:cNvSpPr>
              <a:spLocks noChangeAspect="1"/>
            </p:cNvSpPr>
            <p:nvPr/>
          </p:nvSpPr>
          <p:spPr bwMode="gray">
            <a:xfrm rot="9927096">
              <a:off x="8734789" y="1347929"/>
              <a:ext cx="73611" cy="63458"/>
            </a:xfrm>
            <a:prstGeom prst="triangle">
              <a:avLst/>
            </a:prstGeom>
            <a:solidFill>
              <a:schemeClr val="accent5"/>
            </a:solidFill>
            <a:ln w="952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050" dirty="0">
                <a:solidFill>
                  <a:schemeClr val="tx1"/>
                </a:solidFill>
              </a:endParaRPr>
            </a:p>
          </p:txBody>
        </p:sp>
        <p:sp>
          <p:nvSpPr>
            <p:cNvPr id="17" name="Oval 16">
              <a:extLst>
                <a:ext uri="{FF2B5EF4-FFF2-40B4-BE49-F238E27FC236}">
                  <a16:creationId xmlns="" xmlns:a16="http://schemas.microsoft.com/office/drawing/2014/main" id="{BFF74F25-EB5E-4527-8581-0E164F89C80F}"/>
                </a:ext>
              </a:extLst>
            </p:cNvPr>
            <p:cNvSpPr/>
            <p:nvPr/>
          </p:nvSpPr>
          <p:spPr>
            <a:xfrm>
              <a:off x="8611091" y="1243852"/>
              <a:ext cx="50253" cy="50252"/>
            </a:xfrm>
            <a:prstGeom prst="ellipse">
              <a:avLst/>
            </a:prstGeom>
            <a:solidFill>
              <a:schemeClr val="accent5"/>
            </a:solidFill>
            <a:ln w="12700" cap="flat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 b="1" dirty="0">
                <a:solidFill>
                  <a:schemeClr val="bg1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="" xmlns:a16="http://schemas.microsoft.com/office/drawing/2014/main" id="{00A129B6-615D-417E-A5FF-BF0A72E04226}"/>
                </a:ext>
              </a:extLst>
            </p:cNvPr>
            <p:cNvSpPr/>
            <p:nvPr/>
          </p:nvSpPr>
          <p:spPr>
            <a:xfrm>
              <a:off x="8486575" y="1225848"/>
              <a:ext cx="328615" cy="385342"/>
            </a:xfrm>
            <a:prstGeom prst="rect">
              <a:avLst/>
            </a:prstGeom>
            <a:solidFill>
              <a:schemeClr val="bg1">
                <a:alpha val="80000"/>
              </a:schemeClr>
            </a:solidFill>
            <a:ln w="6350" cap="flat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900"/>
                </a:spcBef>
              </a:pPr>
              <a:endParaRPr lang="en-US" sz="140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9" name="Oval 18">
              <a:extLst>
                <a:ext uri="{FF2B5EF4-FFF2-40B4-BE49-F238E27FC236}">
                  <a16:creationId xmlns="" xmlns:a16="http://schemas.microsoft.com/office/drawing/2014/main" id="{3E98A2CE-5146-4C5F-A545-6FDD7370DFB0}"/>
                </a:ext>
              </a:extLst>
            </p:cNvPr>
            <p:cNvSpPr/>
            <p:nvPr/>
          </p:nvSpPr>
          <p:spPr>
            <a:xfrm>
              <a:off x="7921579" y="1349312"/>
              <a:ext cx="212364" cy="212364"/>
            </a:xfrm>
            <a:prstGeom prst="ellipse">
              <a:avLst/>
            </a:prstGeom>
            <a:solidFill>
              <a:schemeClr val="bg2"/>
            </a:solidFill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ot="0" spcFirstLastPara="0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20" name="Arc 19">
              <a:extLst>
                <a:ext uri="{FF2B5EF4-FFF2-40B4-BE49-F238E27FC236}">
                  <a16:creationId xmlns="" xmlns:a16="http://schemas.microsoft.com/office/drawing/2014/main" id="{A0AB8420-2770-4899-AC43-A47624E481BC}"/>
                </a:ext>
              </a:extLst>
            </p:cNvPr>
            <p:cNvSpPr/>
            <p:nvPr/>
          </p:nvSpPr>
          <p:spPr bwMode="gray">
            <a:xfrm>
              <a:off x="7883769" y="1267966"/>
              <a:ext cx="283644" cy="247796"/>
            </a:xfrm>
            <a:prstGeom prst="arc">
              <a:avLst>
                <a:gd name="adj1" fmla="val 11178900"/>
                <a:gd name="adj2" fmla="val 21075396"/>
              </a:avLst>
            </a:prstGeom>
            <a:ln w="19050" cap="flat">
              <a:solidFill>
                <a:schemeClr val="bg2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100" dirty="0"/>
            </a:p>
          </p:txBody>
        </p:sp>
        <p:sp>
          <p:nvSpPr>
            <p:cNvPr id="21" name="Rectangle 20">
              <a:extLst>
                <a:ext uri="{FF2B5EF4-FFF2-40B4-BE49-F238E27FC236}">
                  <a16:creationId xmlns="" xmlns:a16="http://schemas.microsoft.com/office/drawing/2014/main" id="{33C5B095-13E5-455C-9204-B2BD9ABC7DCF}"/>
                </a:ext>
              </a:extLst>
            </p:cNvPr>
            <p:cNvSpPr/>
            <p:nvPr/>
          </p:nvSpPr>
          <p:spPr>
            <a:xfrm>
              <a:off x="7877395" y="1225848"/>
              <a:ext cx="328615" cy="385342"/>
            </a:xfrm>
            <a:prstGeom prst="rect">
              <a:avLst/>
            </a:prstGeom>
            <a:solidFill>
              <a:schemeClr val="bg1">
                <a:alpha val="80000"/>
              </a:schemeClr>
            </a:solidFill>
            <a:ln w="6350" cap="flat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900"/>
                </a:spcBef>
              </a:pPr>
              <a:endParaRPr lang="en-US" sz="140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2" name="Oval 21">
              <a:extLst>
                <a:ext uri="{FF2B5EF4-FFF2-40B4-BE49-F238E27FC236}">
                  <a16:creationId xmlns="" xmlns:a16="http://schemas.microsoft.com/office/drawing/2014/main" id="{22C1417D-C0DF-425F-B1EA-C0A7EC164858}"/>
                </a:ext>
              </a:extLst>
            </p:cNvPr>
            <p:cNvSpPr/>
            <p:nvPr/>
          </p:nvSpPr>
          <p:spPr>
            <a:xfrm>
              <a:off x="8225098" y="1244357"/>
              <a:ext cx="212364" cy="212364"/>
            </a:xfrm>
            <a:prstGeom prst="ellipse">
              <a:avLst/>
            </a:prstGeom>
            <a:solidFill>
              <a:schemeClr val="accent1"/>
            </a:solidFill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ot="0" spcFirstLastPara="0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23" name="Arc 22">
              <a:extLst>
                <a:ext uri="{FF2B5EF4-FFF2-40B4-BE49-F238E27FC236}">
                  <a16:creationId xmlns="" xmlns:a16="http://schemas.microsoft.com/office/drawing/2014/main" id="{6A0208D0-2202-4068-9629-F81575FE5B60}"/>
                </a:ext>
              </a:extLst>
            </p:cNvPr>
            <p:cNvSpPr/>
            <p:nvPr/>
          </p:nvSpPr>
          <p:spPr bwMode="gray">
            <a:xfrm flipV="1">
              <a:off x="8184095" y="1313981"/>
              <a:ext cx="283644" cy="247373"/>
            </a:xfrm>
            <a:prstGeom prst="arc">
              <a:avLst>
                <a:gd name="adj1" fmla="val 11178900"/>
                <a:gd name="adj2" fmla="val 21075396"/>
              </a:avLst>
            </a:prstGeom>
            <a:ln w="19050" cap="flat">
              <a:solidFill>
                <a:schemeClr val="accent1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100" dirty="0"/>
            </a:p>
          </p:txBody>
        </p:sp>
        <p:sp>
          <p:nvSpPr>
            <p:cNvPr id="24" name="Isosceles Triangle 23">
              <a:extLst>
                <a:ext uri="{FF2B5EF4-FFF2-40B4-BE49-F238E27FC236}">
                  <a16:creationId xmlns="" xmlns:a16="http://schemas.microsoft.com/office/drawing/2014/main" id="{401D8938-53A8-4EF6-9FC7-7B0105B2302E}"/>
                </a:ext>
              </a:extLst>
            </p:cNvPr>
            <p:cNvSpPr>
              <a:spLocks noChangeAspect="1"/>
            </p:cNvSpPr>
            <p:nvPr/>
          </p:nvSpPr>
          <p:spPr bwMode="gray">
            <a:xfrm rot="11672904" flipV="1">
              <a:off x="8432310" y="1418179"/>
              <a:ext cx="73611" cy="63349"/>
            </a:xfrm>
            <a:prstGeom prst="triangle">
              <a:avLst/>
            </a:prstGeom>
            <a:solidFill>
              <a:schemeClr val="accent1"/>
            </a:solidFill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050" dirty="0">
                <a:solidFill>
                  <a:schemeClr val="tx1"/>
                </a:solidFill>
              </a:endParaRPr>
            </a:p>
          </p:txBody>
        </p:sp>
        <p:sp>
          <p:nvSpPr>
            <p:cNvPr id="25" name="Oval 24">
              <a:extLst>
                <a:ext uri="{FF2B5EF4-FFF2-40B4-BE49-F238E27FC236}">
                  <a16:creationId xmlns="" xmlns:a16="http://schemas.microsoft.com/office/drawing/2014/main" id="{98170558-834B-4009-B86E-FFC6DBC68739}"/>
                </a:ext>
              </a:extLst>
            </p:cNvPr>
            <p:cNvSpPr/>
            <p:nvPr/>
          </p:nvSpPr>
          <p:spPr>
            <a:xfrm>
              <a:off x="8306154" y="1537095"/>
              <a:ext cx="50253" cy="50252"/>
            </a:xfrm>
            <a:prstGeom prst="ellipse">
              <a:avLst/>
            </a:prstGeom>
            <a:solidFill>
              <a:schemeClr val="accent1"/>
            </a:solidFill>
            <a:ln w="12700" cap="flat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 b="1" dirty="0">
                <a:solidFill>
                  <a:schemeClr val="bg1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</p:grpSp>
      <p:sp>
        <p:nvSpPr>
          <p:cNvPr id="29" name="Rectangle 28">
            <a:extLst>
              <a:ext uri="{FF2B5EF4-FFF2-40B4-BE49-F238E27FC236}">
                <a16:creationId xmlns="" xmlns:a16="http://schemas.microsoft.com/office/drawing/2014/main" id="{B1B5D2F4-750B-4229-8508-A7066E53E75E}"/>
              </a:ext>
            </a:extLst>
          </p:cNvPr>
          <p:cNvSpPr/>
          <p:nvPr/>
        </p:nvSpPr>
        <p:spPr>
          <a:xfrm>
            <a:off x="246381" y="1640823"/>
            <a:ext cx="8646794" cy="996090"/>
          </a:xfrm>
          <a:prstGeom prst="rect">
            <a:avLst/>
          </a:prstGeom>
          <a:noFill/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97212" indent="-97212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12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Accumulated ROC </a:t>
            </a:r>
            <a:r>
              <a:rPr lang="en-US" sz="12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Curve:</a:t>
            </a:r>
          </a:p>
        </p:txBody>
      </p:sp>
      <p:pic>
        <p:nvPicPr>
          <p:cNvPr id="27" name="Picture 26" descr="img.png">
            <a:extLst>
              <a:ext uri="{FF2B5EF4-FFF2-40B4-BE49-F238E27FC236}">
                <a16:creationId xmlns="" xmlns:a16="http://schemas.microsoft.com/office/drawing/2014/main" id="{97DA99EC-4B9E-4FCA-A0A4-49DB2B247C27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3622" y="2057401"/>
            <a:ext cx="7836756" cy="42861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446020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AA16B7AC-F676-4F67-8813-4F8F68AAD7D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327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="" xmlns:a16="http://schemas.microsoft.com/office/drawing/2014/main" id="{AA16B7AC-F676-4F67-8813-4F8F68AAD7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="" xmlns:a16="http://schemas.microsoft.com/office/drawing/2014/main" id="{260A3D96-399B-450E-B597-24C3AA9AE05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US" sz="240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="" xmlns:a16="http://schemas.microsoft.com/office/drawing/2014/main" id="{48D13E25-DCE9-4BCE-806B-429683B77FA6}"/>
              </a:ext>
            </a:extLst>
          </p:cNvPr>
          <p:cNvSpPr txBox="1"/>
          <p:nvPr/>
        </p:nvSpPr>
        <p:spPr>
          <a:xfrm>
            <a:off x="244474" y="1301507"/>
            <a:ext cx="6840220" cy="249299"/>
          </a:xfrm>
          <a:prstGeom prst="rect">
            <a:avLst/>
          </a:prstGeom>
          <a:noFill/>
          <a:ln w="6350" cap="flat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A5FFFF"/>
                </a:solidFill>
              </a14:hiddenFill>
            </a:ext>
          </a:extLst>
        </p:spPr>
        <p:txBody>
          <a:bodyPr vert="horz" wrap="square" lIns="365760" tIns="0" rIns="0" bIns="0" rtlCol="0" anchor="t" anchorCtr="0">
            <a:sp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2"/>
              </a:buClr>
            </a:pP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Machine Learning Modeling and Evaluation</a:t>
            </a:r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7956AB31-F718-491D-AAC7-99EB166076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4507" y="493495"/>
            <a:ext cx="7604094" cy="338554"/>
          </a:xfrm>
        </p:spPr>
        <p:txBody>
          <a:bodyPr/>
          <a:lstStyle/>
          <a:p>
            <a:r>
              <a:rPr lang="en-US" b="1" dirty="0"/>
              <a:t>Framework</a:t>
            </a:r>
          </a:p>
        </p:txBody>
      </p:sp>
      <p:sp>
        <p:nvSpPr>
          <p:cNvPr id="5" name="Oval 4">
            <a:extLst>
              <a:ext uri="{FF2B5EF4-FFF2-40B4-BE49-F238E27FC236}">
                <a16:creationId xmlns="" xmlns:a16="http://schemas.microsoft.com/office/drawing/2014/main" id="{3D60A96E-A8F3-4D57-873D-4053E79B24CA}"/>
              </a:ext>
            </a:extLst>
          </p:cNvPr>
          <p:cNvSpPr/>
          <p:nvPr/>
        </p:nvSpPr>
        <p:spPr>
          <a:xfrm>
            <a:off x="246380" y="1273567"/>
            <a:ext cx="279400" cy="279400"/>
          </a:xfrm>
          <a:prstGeom prst="ellipse">
            <a:avLst/>
          </a:prstGeom>
          <a:solidFill>
            <a:schemeClr val="accent1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1600" b="1" dirty="0">
                <a:solidFill>
                  <a:schemeClr val="bg1"/>
                </a:solidFill>
                <a:latin typeface="Arial" panose="020B0604020202020204" pitchFamily="34" charset="0"/>
                <a:cs typeface="Arial" pitchFamily="34" charset="0"/>
              </a:rPr>
              <a:t>5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="" xmlns:a16="http://schemas.microsoft.com/office/drawing/2014/main" id="{0BBEB72A-2139-4645-915E-CEC28070B56D}"/>
              </a:ext>
            </a:extLst>
          </p:cNvPr>
          <p:cNvGrpSpPr/>
          <p:nvPr/>
        </p:nvGrpSpPr>
        <p:grpSpPr>
          <a:xfrm>
            <a:off x="7877395" y="1225848"/>
            <a:ext cx="937795" cy="385342"/>
            <a:chOff x="7877395" y="1225848"/>
            <a:chExt cx="937795" cy="385342"/>
          </a:xfrm>
        </p:grpSpPr>
        <p:sp>
          <p:nvSpPr>
            <p:cNvPr id="12" name="Isosceles Triangle 11">
              <a:extLst>
                <a:ext uri="{FF2B5EF4-FFF2-40B4-BE49-F238E27FC236}">
                  <a16:creationId xmlns="" xmlns:a16="http://schemas.microsoft.com/office/drawing/2014/main" id="{35B3CE62-F491-498C-8FB7-E66CFD69DB95}"/>
                </a:ext>
              </a:extLst>
            </p:cNvPr>
            <p:cNvSpPr>
              <a:spLocks noChangeAspect="1"/>
            </p:cNvSpPr>
            <p:nvPr/>
          </p:nvSpPr>
          <p:spPr bwMode="gray">
            <a:xfrm rot="9927096">
              <a:off x="8132907" y="1349645"/>
              <a:ext cx="73611" cy="63458"/>
            </a:xfrm>
            <a:prstGeom prst="triangle">
              <a:avLst/>
            </a:prstGeom>
            <a:solidFill>
              <a:schemeClr val="bg2"/>
            </a:solidFill>
            <a:ln w="9525">
              <a:solidFill>
                <a:srgbClr val="007F7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050" dirty="0">
                <a:solidFill>
                  <a:schemeClr val="tx1"/>
                </a:solidFill>
              </a:endParaRPr>
            </a:p>
          </p:txBody>
        </p:sp>
        <p:sp>
          <p:nvSpPr>
            <p:cNvPr id="13" name="Oval 12">
              <a:extLst>
                <a:ext uri="{FF2B5EF4-FFF2-40B4-BE49-F238E27FC236}">
                  <a16:creationId xmlns="" xmlns:a16="http://schemas.microsoft.com/office/drawing/2014/main" id="{D5057345-1014-4E3D-8249-CA3762D4EBD7}"/>
                </a:ext>
              </a:extLst>
            </p:cNvPr>
            <p:cNvSpPr/>
            <p:nvPr/>
          </p:nvSpPr>
          <p:spPr>
            <a:xfrm>
              <a:off x="8002635" y="1243852"/>
              <a:ext cx="50253" cy="50252"/>
            </a:xfrm>
            <a:prstGeom prst="ellipse">
              <a:avLst/>
            </a:prstGeom>
            <a:solidFill>
              <a:schemeClr val="bg2"/>
            </a:solidFill>
            <a:ln w="12700" cap="flat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 b="1" dirty="0">
                <a:solidFill>
                  <a:schemeClr val="bg1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14" name="Oval 13">
              <a:extLst>
                <a:ext uri="{FF2B5EF4-FFF2-40B4-BE49-F238E27FC236}">
                  <a16:creationId xmlns="" xmlns:a16="http://schemas.microsoft.com/office/drawing/2014/main" id="{63F9707F-DBB8-47E1-9D38-404826C77867}"/>
                </a:ext>
              </a:extLst>
            </p:cNvPr>
            <p:cNvSpPr/>
            <p:nvPr/>
          </p:nvSpPr>
          <p:spPr>
            <a:xfrm>
              <a:off x="8530035" y="1349312"/>
              <a:ext cx="212364" cy="212364"/>
            </a:xfrm>
            <a:prstGeom prst="ellipse">
              <a:avLst/>
            </a:prstGeom>
            <a:solidFill>
              <a:schemeClr val="accent5"/>
            </a:solidFill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ot="0" spcFirstLastPara="0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15" name="Arc 14">
              <a:extLst>
                <a:ext uri="{FF2B5EF4-FFF2-40B4-BE49-F238E27FC236}">
                  <a16:creationId xmlns="" xmlns:a16="http://schemas.microsoft.com/office/drawing/2014/main" id="{83A64A2A-0C53-4047-8B19-03F3FE3B04D9}"/>
                </a:ext>
              </a:extLst>
            </p:cNvPr>
            <p:cNvSpPr/>
            <p:nvPr/>
          </p:nvSpPr>
          <p:spPr bwMode="gray">
            <a:xfrm>
              <a:off x="8486575" y="1267966"/>
              <a:ext cx="283644" cy="247796"/>
            </a:xfrm>
            <a:prstGeom prst="arc">
              <a:avLst>
                <a:gd name="adj1" fmla="val 11178900"/>
                <a:gd name="adj2" fmla="val 21075396"/>
              </a:avLst>
            </a:prstGeom>
            <a:ln w="19050" cap="flat">
              <a:solidFill>
                <a:schemeClr val="accent5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100" dirty="0"/>
            </a:p>
          </p:txBody>
        </p:sp>
        <p:sp>
          <p:nvSpPr>
            <p:cNvPr id="16" name="Isosceles Triangle 15">
              <a:extLst>
                <a:ext uri="{FF2B5EF4-FFF2-40B4-BE49-F238E27FC236}">
                  <a16:creationId xmlns="" xmlns:a16="http://schemas.microsoft.com/office/drawing/2014/main" id="{AD34A29D-9581-4661-BAC6-DFB4DF1F5397}"/>
                </a:ext>
              </a:extLst>
            </p:cNvPr>
            <p:cNvSpPr>
              <a:spLocks noChangeAspect="1"/>
            </p:cNvSpPr>
            <p:nvPr/>
          </p:nvSpPr>
          <p:spPr bwMode="gray">
            <a:xfrm rot="9927096">
              <a:off x="8734789" y="1347929"/>
              <a:ext cx="73611" cy="63458"/>
            </a:xfrm>
            <a:prstGeom prst="triangle">
              <a:avLst/>
            </a:prstGeom>
            <a:solidFill>
              <a:schemeClr val="accent5"/>
            </a:solidFill>
            <a:ln w="952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050" dirty="0">
                <a:solidFill>
                  <a:schemeClr val="tx1"/>
                </a:solidFill>
              </a:endParaRPr>
            </a:p>
          </p:txBody>
        </p:sp>
        <p:sp>
          <p:nvSpPr>
            <p:cNvPr id="17" name="Oval 16">
              <a:extLst>
                <a:ext uri="{FF2B5EF4-FFF2-40B4-BE49-F238E27FC236}">
                  <a16:creationId xmlns="" xmlns:a16="http://schemas.microsoft.com/office/drawing/2014/main" id="{BFF74F25-EB5E-4527-8581-0E164F89C80F}"/>
                </a:ext>
              </a:extLst>
            </p:cNvPr>
            <p:cNvSpPr/>
            <p:nvPr/>
          </p:nvSpPr>
          <p:spPr>
            <a:xfrm>
              <a:off x="8611091" y="1243852"/>
              <a:ext cx="50253" cy="50252"/>
            </a:xfrm>
            <a:prstGeom prst="ellipse">
              <a:avLst/>
            </a:prstGeom>
            <a:solidFill>
              <a:schemeClr val="accent5"/>
            </a:solidFill>
            <a:ln w="12700" cap="flat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 b="1" dirty="0">
                <a:solidFill>
                  <a:schemeClr val="bg1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="" xmlns:a16="http://schemas.microsoft.com/office/drawing/2014/main" id="{00A129B6-615D-417E-A5FF-BF0A72E04226}"/>
                </a:ext>
              </a:extLst>
            </p:cNvPr>
            <p:cNvSpPr/>
            <p:nvPr/>
          </p:nvSpPr>
          <p:spPr>
            <a:xfrm>
              <a:off x="8486575" y="1225848"/>
              <a:ext cx="328615" cy="385342"/>
            </a:xfrm>
            <a:prstGeom prst="rect">
              <a:avLst/>
            </a:prstGeom>
            <a:solidFill>
              <a:schemeClr val="bg1">
                <a:alpha val="80000"/>
              </a:schemeClr>
            </a:solidFill>
            <a:ln w="6350" cap="flat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900"/>
                </a:spcBef>
              </a:pPr>
              <a:endParaRPr lang="en-US" sz="140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9" name="Oval 18">
              <a:extLst>
                <a:ext uri="{FF2B5EF4-FFF2-40B4-BE49-F238E27FC236}">
                  <a16:creationId xmlns="" xmlns:a16="http://schemas.microsoft.com/office/drawing/2014/main" id="{3E98A2CE-5146-4C5F-A545-6FDD7370DFB0}"/>
                </a:ext>
              </a:extLst>
            </p:cNvPr>
            <p:cNvSpPr/>
            <p:nvPr/>
          </p:nvSpPr>
          <p:spPr>
            <a:xfrm>
              <a:off x="7921579" y="1349312"/>
              <a:ext cx="212364" cy="212364"/>
            </a:xfrm>
            <a:prstGeom prst="ellipse">
              <a:avLst/>
            </a:prstGeom>
            <a:solidFill>
              <a:schemeClr val="bg2"/>
            </a:solidFill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ot="0" spcFirstLastPara="0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20" name="Arc 19">
              <a:extLst>
                <a:ext uri="{FF2B5EF4-FFF2-40B4-BE49-F238E27FC236}">
                  <a16:creationId xmlns="" xmlns:a16="http://schemas.microsoft.com/office/drawing/2014/main" id="{A0AB8420-2770-4899-AC43-A47624E481BC}"/>
                </a:ext>
              </a:extLst>
            </p:cNvPr>
            <p:cNvSpPr/>
            <p:nvPr/>
          </p:nvSpPr>
          <p:spPr bwMode="gray">
            <a:xfrm>
              <a:off x="7883769" y="1267966"/>
              <a:ext cx="283644" cy="247796"/>
            </a:xfrm>
            <a:prstGeom prst="arc">
              <a:avLst>
                <a:gd name="adj1" fmla="val 11178900"/>
                <a:gd name="adj2" fmla="val 21075396"/>
              </a:avLst>
            </a:prstGeom>
            <a:ln w="19050" cap="flat">
              <a:solidFill>
                <a:schemeClr val="bg2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100" dirty="0"/>
            </a:p>
          </p:txBody>
        </p:sp>
        <p:sp>
          <p:nvSpPr>
            <p:cNvPr id="21" name="Rectangle 20">
              <a:extLst>
                <a:ext uri="{FF2B5EF4-FFF2-40B4-BE49-F238E27FC236}">
                  <a16:creationId xmlns="" xmlns:a16="http://schemas.microsoft.com/office/drawing/2014/main" id="{33C5B095-13E5-455C-9204-B2BD9ABC7DCF}"/>
                </a:ext>
              </a:extLst>
            </p:cNvPr>
            <p:cNvSpPr/>
            <p:nvPr/>
          </p:nvSpPr>
          <p:spPr>
            <a:xfrm>
              <a:off x="7877395" y="1225848"/>
              <a:ext cx="328615" cy="385342"/>
            </a:xfrm>
            <a:prstGeom prst="rect">
              <a:avLst/>
            </a:prstGeom>
            <a:solidFill>
              <a:schemeClr val="bg1">
                <a:alpha val="80000"/>
              </a:schemeClr>
            </a:solidFill>
            <a:ln w="6350" cap="flat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900"/>
                </a:spcBef>
              </a:pPr>
              <a:endParaRPr lang="en-US" sz="140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2" name="Oval 21">
              <a:extLst>
                <a:ext uri="{FF2B5EF4-FFF2-40B4-BE49-F238E27FC236}">
                  <a16:creationId xmlns="" xmlns:a16="http://schemas.microsoft.com/office/drawing/2014/main" id="{22C1417D-C0DF-425F-B1EA-C0A7EC164858}"/>
                </a:ext>
              </a:extLst>
            </p:cNvPr>
            <p:cNvSpPr/>
            <p:nvPr/>
          </p:nvSpPr>
          <p:spPr>
            <a:xfrm>
              <a:off x="8225098" y="1244357"/>
              <a:ext cx="212364" cy="212364"/>
            </a:xfrm>
            <a:prstGeom prst="ellipse">
              <a:avLst/>
            </a:prstGeom>
            <a:solidFill>
              <a:schemeClr val="accent1"/>
            </a:solidFill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ot="0" spcFirstLastPara="0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23" name="Arc 22">
              <a:extLst>
                <a:ext uri="{FF2B5EF4-FFF2-40B4-BE49-F238E27FC236}">
                  <a16:creationId xmlns="" xmlns:a16="http://schemas.microsoft.com/office/drawing/2014/main" id="{6A0208D0-2202-4068-9629-F81575FE5B60}"/>
                </a:ext>
              </a:extLst>
            </p:cNvPr>
            <p:cNvSpPr/>
            <p:nvPr/>
          </p:nvSpPr>
          <p:spPr bwMode="gray">
            <a:xfrm flipV="1">
              <a:off x="8184095" y="1313981"/>
              <a:ext cx="283644" cy="247373"/>
            </a:xfrm>
            <a:prstGeom prst="arc">
              <a:avLst>
                <a:gd name="adj1" fmla="val 11178900"/>
                <a:gd name="adj2" fmla="val 21075396"/>
              </a:avLst>
            </a:prstGeom>
            <a:ln w="19050" cap="flat">
              <a:solidFill>
                <a:schemeClr val="accent1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100" dirty="0"/>
            </a:p>
          </p:txBody>
        </p:sp>
        <p:sp>
          <p:nvSpPr>
            <p:cNvPr id="24" name="Isosceles Triangle 23">
              <a:extLst>
                <a:ext uri="{FF2B5EF4-FFF2-40B4-BE49-F238E27FC236}">
                  <a16:creationId xmlns="" xmlns:a16="http://schemas.microsoft.com/office/drawing/2014/main" id="{401D8938-53A8-4EF6-9FC7-7B0105B2302E}"/>
                </a:ext>
              </a:extLst>
            </p:cNvPr>
            <p:cNvSpPr>
              <a:spLocks noChangeAspect="1"/>
            </p:cNvSpPr>
            <p:nvPr/>
          </p:nvSpPr>
          <p:spPr bwMode="gray">
            <a:xfrm rot="11672904" flipV="1">
              <a:off x="8432310" y="1418179"/>
              <a:ext cx="73611" cy="63349"/>
            </a:xfrm>
            <a:prstGeom prst="triangle">
              <a:avLst/>
            </a:prstGeom>
            <a:solidFill>
              <a:schemeClr val="accent1"/>
            </a:solidFill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050" dirty="0">
                <a:solidFill>
                  <a:schemeClr val="tx1"/>
                </a:solidFill>
              </a:endParaRPr>
            </a:p>
          </p:txBody>
        </p:sp>
        <p:sp>
          <p:nvSpPr>
            <p:cNvPr id="25" name="Oval 24">
              <a:extLst>
                <a:ext uri="{FF2B5EF4-FFF2-40B4-BE49-F238E27FC236}">
                  <a16:creationId xmlns="" xmlns:a16="http://schemas.microsoft.com/office/drawing/2014/main" id="{98170558-834B-4009-B86E-FFC6DBC68739}"/>
                </a:ext>
              </a:extLst>
            </p:cNvPr>
            <p:cNvSpPr/>
            <p:nvPr/>
          </p:nvSpPr>
          <p:spPr>
            <a:xfrm>
              <a:off x="8306154" y="1537095"/>
              <a:ext cx="50253" cy="50252"/>
            </a:xfrm>
            <a:prstGeom prst="ellipse">
              <a:avLst/>
            </a:prstGeom>
            <a:solidFill>
              <a:schemeClr val="accent1"/>
            </a:solidFill>
            <a:ln w="12700" cap="flat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 b="1" dirty="0">
                <a:solidFill>
                  <a:schemeClr val="bg1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</p:grpSp>
      <p:sp>
        <p:nvSpPr>
          <p:cNvPr id="29" name="Rectangle 28">
            <a:extLst>
              <a:ext uri="{FF2B5EF4-FFF2-40B4-BE49-F238E27FC236}">
                <a16:creationId xmlns="" xmlns:a16="http://schemas.microsoft.com/office/drawing/2014/main" id="{B1B5D2F4-750B-4229-8508-A7066E53E75E}"/>
              </a:ext>
            </a:extLst>
          </p:cNvPr>
          <p:cNvSpPr/>
          <p:nvPr/>
        </p:nvSpPr>
        <p:spPr>
          <a:xfrm>
            <a:off x="246381" y="1640823"/>
            <a:ext cx="8646794" cy="996090"/>
          </a:xfrm>
          <a:prstGeom prst="rect">
            <a:avLst/>
          </a:prstGeom>
          <a:noFill/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97212" indent="-97212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12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PYCARET </a:t>
            </a:r>
            <a:r>
              <a:rPr lang="mr-IN" sz="12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–</a:t>
            </a:r>
            <a:r>
              <a:rPr lang="en-US" sz="12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Verification Model</a:t>
            </a:r>
            <a:endParaRPr lang="en-US" sz="12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26" name="Picture 25" descr="Screen Shot 2020-05-21 at 8.10.16 PM (2).png">
            <a:extLst>
              <a:ext uri="{FF2B5EF4-FFF2-40B4-BE49-F238E27FC236}">
                <a16:creationId xmlns="" xmlns:a16="http://schemas.microsoft.com/office/drawing/2014/main" id="{18C3B69B-82A1-4CEE-A063-35467638B34C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329" t="32922" r="38889" b="18312"/>
          <a:stretch/>
        </p:blipFill>
        <p:spPr>
          <a:xfrm>
            <a:off x="1276784" y="2076772"/>
            <a:ext cx="6590432" cy="4326683"/>
          </a:xfrm>
          <a:prstGeom prst="rect">
            <a:avLst/>
          </a:prstGeom>
        </p:spPr>
      </p:pic>
      <p:sp>
        <p:nvSpPr>
          <p:cNvPr id="27" name="Rectangle 26"/>
          <p:cNvSpPr/>
          <p:nvPr/>
        </p:nvSpPr>
        <p:spPr>
          <a:xfrm>
            <a:off x="1583667" y="3104964"/>
            <a:ext cx="5904657" cy="504057"/>
          </a:xfrm>
          <a:prstGeom prst="rect">
            <a:avLst/>
          </a:prstGeom>
          <a:solidFill>
            <a:srgbClr val="C0504D">
              <a:alpha val="0"/>
            </a:srgbClr>
          </a:solidFill>
          <a:ln>
            <a:solidFill>
              <a:srgbClr val="FF0000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US" sz="1400" dirty="0" err="1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8" name="Rectangle 27"/>
          <p:cNvSpPr/>
          <p:nvPr/>
        </p:nvSpPr>
        <p:spPr>
          <a:xfrm>
            <a:off x="1593527" y="2312876"/>
            <a:ext cx="5904657" cy="252029"/>
          </a:xfrm>
          <a:prstGeom prst="rect">
            <a:avLst/>
          </a:prstGeom>
          <a:solidFill>
            <a:srgbClr val="C0504D">
              <a:alpha val="0"/>
            </a:srgbClr>
          </a:solidFill>
          <a:ln>
            <a:solidFill>
              <a:srgbClr val="FF0000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US" sz="1400" dirty="0" err="1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Right Arrow 5"/>
          <p:cNvSpPr/>
          <p:nvPr/>
        </p:nvSpPr>
        <p:spPr>
          <a:xfrm>
            <a:off x="429630" y="3429000"/>
            <a:ext cx="1118034" cy="180020"/>
          </a:xfrm>
          <a:prstGeom prst="rightArrow">
            <a:avLst/>
          </a:prstGeom>
          <a:solidFill>
            <a:srgbClr val="3366FF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US" sz="1400" dirty="0" err="1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1604813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AA16B7AC-F676-4F67-8813-4F8F68AAD7D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224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="" xmlns:a16="http://schemas.microsoft.com/office/drawing/2014/main" id="{260A3D96-399B-450E-B597-24C3AA9AE05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US" sz="240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="" xmlns:a16="http://schemas.microsoft.com/office/drawing/2014/main" id="{48D13E25-DCE9-4BCE-806B-429683B77FA6}"/>
              </a:ext>
            </a:extLst>
          </p:cNvPr>
          <p:cNvSpPr txBox="1"/>
          <p:nvPr/>
        </p:nvSpPr>
        <p:spPr>
          <a:xfrm>
            <a:off x="244474" y="1301507"/>
            <a:ext cx="6840220" cy="249299"/>
          </a:xfrm>
          <a:prstGeom prst="rect">
            <a:avLst/>
          </a:prstGeom>
          <a:noFill/>
          <a:ln w="6350" cap="flat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A5FFFF"/>
                </a:solidFill>
              </a14:hiddenFill>
            </a:ext>
          </a:extLst>
        </p:spPr>
        <p:txBody>
          <a:bodyPr vert="horz" wrap="square" lIns="365760" tIns="0" rIns="0" bIns="0" rtlCol="0" anchor="t" anchorCtr="0">
            <a:sp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2"/>
              </a:buClr>
            </a:pP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Machine Learning Modeling and Evaluation</a:t>
            </a:r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7956AB31-F718-491D-AAC7-99EB166076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4507" y="493495"/>
            <a:ext cx="7604094" cy="338554"/>
          </a:xfrm>
        </p:spPr>
        <p:txBody>
          <a:bodyPr/>
          <a:lstStyle/>
          <a:p>
            <a:r>
              <a:rPr lang="en-US" b="1" dirty="0"/>
              <a:t>Framework</a:t>
            </a:r>
          </a:p>
        </p:txBody>
      </p:sp>
      <p:sp>
        <p:nvSpPr>
          <p:cNvPr id="5" name="Oval 4">
            <a:extLst>
              <a:ext uri="{FF2B5EF4-FFF2-40B4-BE49-F238E27FC236}">
                <a16:creationId xmlns="" xmlns:a16="http://schemas.microsoft.com/office/drawing/2014/main" id="{3D60A96E-A8F3-4D57-873D-4053E79B24CA}"/>
              </a:ext>
            </a:extLst>
          </p:cNvPr>
          <p:cNvSpPr/>
          <p:nvPr/>
        </p:nvSpPr>
        <p:spPr>
          <a:xfrm>
            <a:off x="246380" y="1273567"/>
            <a:ext cx="279400" cy="279400"/>
          </a:xfrm>
          <a:prstGeom prst="ellipse">
            <a:avLst/>
          </a:prstGeom>
          <a:solidFill>
            <a:schemeClr val="accent1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1600" b="1" dirty="0">
                <a:solidFill>
                  <a:schemeClr val="bg1"/>
                </a:solidFill>
                <a:latin typeface="Arial" panose="020B0604020202020204" pitchFamily="34" charset="0"/>
                <a:cs typeface="Arial" pitchFamily="34" charset="0"/>
              </a:rPr>
              <a:t>5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="" xmlns:a16="http://schemas.microsoft.com/office/drawing/2014/main" id="{0BBEB72A-2139-4645-915E-CEC28070B56D}"/>
              </a:ext>
            </a:extLst>
          </p:cNvPr>
          <p:cNvGrpSpPr/>
          <p:nvPr/>
        </p:nvGrpSpPr>
        <p:grpSpPr>
          <a:xfrm>
            <a:off x="7877395" y="1225848"/>
            <a:ext cx="937795" cy="385342"/>
            <a:chOff x="7877395" y="1225848"/>
            <a:chExt cx="937795" cy="385342"/>
          </a:xfrm>
        </p:grpSpPr>
        <p:sp>
          <p:nvSpPr>
            <p:cNvPr id="12" name="Isosceles Triangle 11">
              <a:extLst>
                <a:ext uri="{FF2B5EF4-FFF2-40B4-BE49-F238E27FC236}">
                  <a16:creationId xmlns="" xmlns:a16="http://schemas.microsoft.com/office/drawing/2014/main" id="{35B3CE62-F491-498C-8FB7-E66CFD69DB95}"/>
                </a:ext>
              </a:extLst>
            </p:cNvPr>
            <p:cNvSpPr>
              <a:spLocks noChangeAspect="1"/>
            </p:cNvSpPr>
            <p:nvPr/>
          </p:nvSpPr>
          <p:spPr bwMode="gray">
            <a:xfrm rot="9927096">
              <a:off x="8132907" y="1349645"/>
              <a:ext cx="73611" cy="63458"/>
            </a:xfrm>
            <a:prstGeom prst="triangle">
              <a:avLst/>
            </a:prstGeom>
            <a:solidFill>
              <a:schemeClr val="bg2"/>
            </a:solidFill>
            <a:ln w="9525">
              <a:solidFill>
                <a:srgbClr val="007F7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050" dirty="0">
                <a:solidFill>
                  <a:schemeClr val="tx1"/>
                </a:solidFill>
              </a:endParaRPr>
            </a:p>
          </p:txBody>
        </p:sp>
        <p:sp>
          <p:nvSpPr>
            <p:cNvPr id="13" name="Oval 12">
              <a:extLst>
                <a:ext uri="{FF2B5EF4-FFF2-40B4-BE49-F238E27FC236}">
                  <a16:creationId xmlns="" xmlns:a16="http://schemas.microsoft.com/office/drawing/2014/main" id="{D5057345-1014-4E3D-8249-CA3762D4EBD7}"/>
                </a:ext>
              </a:extLst>
            </p:cNvPr>
            <p:cNvSpPr/>
            <p:nvPr/>
          </p:nvSpPr>
          <p:spPr>
            <a:xfrm>
              <a:off x="8002635" y="1243852"/>
              <a:ext cx="50253" cy="50252"/>
            </a:xfrm>
            <a:prstGeom prst="ellipse">
              <a:avLst/>
            </a:prstGeom>
            <a:solidFill>
              <a:schemeClr val="bg2"/>
            </a:solidFill>
            <a:ln w="12700" cap="flat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 b="1" dirty="0">
                <a:solidFill>
                  <a:schemeClr val="bg1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14" name="Oval 13">
              <a:extLst>
                <a:ext uri="{FF2B5EF4-FFF2-40B4-BE49-F238E27FC236}">
                  <a16:creationId xmlns="" xmlns:a16="http://schemas.microsoft.com/office/drawing/2014/main" id="{63F9707F-DBB8-47E1-9D38-404826C77867}"/>
                </a:ext>
              </a:extLst>
            </p:cNvPr>
            <p:cNvSpPr/>
            <p:nvPr/>
          </p:nvSpPr>
          <p:spPr>
            <a:xfrm>
              <a:off x="8530035" y="1349312"/>
              <a:ext cx="212364" cy="212364"/>
            </a:xfrm>
            <a:prstGeom prst="ellipse">
              <a:avLst/>
            </a:prstGeom>
            <a:solidFill>
              <a:schemeClr val="accent5"/>
            </a:solidFill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ot="0" spcFirstLastPara="0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15" name="Arc 14">
              <a:extLst>
                <a:ext uri="{FF2B5EF4-FFF2-40B4-BE49-F238E27FC236}">
                  <a16:creationId xmlns="" xmlns:a16="http://schemas.microsoft.com/office/drawing/2014/main" id="{83A64A2A-0C53-4047-8B19-03F3FE3B04D9}"/>
                </a:ext>
              </a:extLst>
            </p:cNvPr>
            <p:cNvSpPr/>
            <p:nvPr/>
          </p:nvSpPr>
          <p:spPr bwMode="gray">
            <a:xfrm>
              <a:off x="8486575" y="1267966"/>
              <a:ext cx="283644" cy="247796"/>
            </a:xfrm>
            <a:prstGeom prst="arc">
              <a:avLst>
                <a:gd name="adj1" fmla="val 11178900"/>
                <a:gd name="adj2" fmla="val 21075396"/>
              </a:avLst>
            </a:prstGeom>
            <a:ln w="19050" cap="flat">
              <a:solidFill>
                <a:schemeClr val="accent5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100" dirty="0"/>
            </a:p>
          </p:txBody>
        </p:sp>
        <p:sp>
          <p:nvSpPr>
            <p:cNvPr id="16" name="Isosceles Triangle 15">
              <a:extLst>
                <a:ext uri="{FF2B5EF4-FFF2-40B4-BE49-F238E27FC236}">
                  <a16:creationId xmlns="" xmlns:a16="http://schemas.microsoft.com/office/drawing/2014/main" id="{AD34A29D-9581-4661-BAC6-DFB4DF1F5397}"/>
                </a:ext>
              </a:extLst>
            </p:cNvPr>
            <p:cNvSpPr>
              <a:spLocks noChangeAspect="1"/>
            </p:cNvSpPr>
            <p:nvPr/>
          </p:nvSpPr>
          <p:spPr bwMode="gray">
            <a:xfrm rot="9927096">
              <a:off x="8734789" y="1347929"/>
              <a:ext cx="73611" cy="63458"/>
            </a:xfrm>
            <a:prstGeom prst="triangle">
              <a:avLst/>
            </a:prstGeom>
            <a:solidFill>
              <a:schemeClr val="accent5"/>
            </a:solidFill>
            <a:ln w="952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050" dirty="0">
                <a:solidFill>
                  <a:schemeClr val="tx1"/>
                </a:solidFill>
              </a:endParaRPr>
            </a:p>
          </p:txBody>
        </p:sp>
        <p:sp>
          <p:nvSpPr>
            <p:cNvPr id="17" name="Oval 16">
              <a:extLst>
                <a:ext uri="{FF2B5EF4-FFF2-40B4-BE49-F238E27FC236}">
                  <a16:creationId xmlns="" xmlns:a16="http://schemas.microsoft.com/office/drawing/2014/main" id="{BFF74F25-EB5E-4527-8581-0E164F89C80F}"/>
                </a:ext>
              </a:extLst>
            </p:cNvPr>
            <p:cNvSpPr/>
            <p:nvPr/>
          </p:nvSpPr>
          <p:spPr>
            <a:xfrm>
              <a:off x="8611091" y="1243852"/>
              <a:ext cx="50253" cy="50252"/>
            </a:xfrm>
            <a:prstGeom prst="ellipse">
              <a:avLst/>
            </a:prstGeom>
            <a:solidFill>
              <a:schemeClr val="accent5"/>
            </a:solidFill>
            <a:ln w="12700" cap="flat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 b="1" dirty="0">
                <a:solidFill>
                  <a:schemeClr val="bg1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="" xmlns:a16="http://schemas.microsoft.com/office/drawing/2014/main" id="{00A129B6-615D-417E-A5FF-BF0A72E04226}"/>
                </a:ext>
              </a:extLst>
            </p:cNvPr>
            <p:cNvSpPr/>
            <p:nvPr/>
          </p:nvSpPr>
          <p:spPr>
            <a:xfrm>
              <a:off x="8486575" y="1225848"/>
              <a:ext cx="328615" cy="385342"/>
            </a:xfrm>
            <a:prstGeom prst="rect">
              <a:avLst/>
            </a:prstGeom>
            <a:solidFill>
              <a:schemeClr val="bg1">
                <a:alpha val="80000"/>
              </a:schemeClr>
            </a:solidFill>
            <a:ln w="6350" cap="flat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900"/>
                </a:spcBef>
              </a:pPr>
              <a:endParaRPr lang="en-US" sz="140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9" name="Oval 18">
              <a:extLst>
                <a:ext uri="{FF2B5EF4-FFF2-40B4-BE49-F238E27FC236}">
                  <a16:creationId xmlns="" xmlns:a16="http://schemas.microsoft.com/office/drawing/2014/main" id="{3E98A2CE-5146-4C5F-A545-6FDD7370DFB0}"/>
                </a:ext>
              </a:extLst>
            </p:cNvPr>
            <p:cNvSpPr/>
            <p:nvPr/>
          </p:nvSpPr>
          <p:spPr>
            <a:xfrm>
              <a:off x="7921579" y="1349312"/>
              <a:ext cx="212364" cy="212364"/>
            </a:xfrm>
            <a:prstGeom prst="ellipse">
              <a:avLst/>
            </a:prstGeom>
            <a:solidFill>
              <a:schemeClr val="bg2"/>
            </a:solidFill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ot="0" spcFirstLastPara="0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20" name="Arc 19">
              <a:extLst>
                <a:ext uri="{FF2B5EF4-FFF2-40B4-BE49-F238E27FC236}">
                  <a16:creationId xmlns="" xmlns:a16="http://schemas.microsoft.com/office/drawing/2014/main" id="{A0AB8420-2770-4899-AC43-A47624E481BC}"/>
                </a:ext>
              </a:extLst>
            </p:cNvPr>
            <p:cNvSpPr/>
            <p:nvPr/>
          </p:nvSpPr>
          <p:spPr bwMode="gray">
            <a:xfrm>
              <a:off x="7883769" y="1267966"/>
              <a:ext cx="283644" cy="247796"/>
            </a:xfrm>
            <a:prstGeom prst="arc">
              <a:avLst>
                <a:gd name="adj1" fmla="val 11178900"/>
                <a:gd name="adj2" fmla="val 21075396"/>
              </a:avLst>
            </a:prstGeom>
            <a:ln w="19050" cap="flat">
              <a:solidFill>
                <a:schemeClr val="bg2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100" dirty="0"/>
            </a:p>
          </p:txBody>
        </p:sp>
        <p:sp>
          <p:nvSpPr>
            <p:cNvPr id="21" name="Rectangle 20">
              <a:extLst>
                <a:ext uri="{FF2B5EF4-FFF2-40B4-BE49-F238E27FC236}">
                  <a16:creationId xmlns="" xmlns:a16="http://schemas.microsoft.com/office/drawing/2014/main" id="{33C5B095-13E5-455C-9204-B2BD9ABC7DCF}"/>
                </a:ext>
              </a:extLst>
            </p:cNvPr>
            <p:cNvSpPr/>
            <p:nvPr/>
          </p:nvSpPr>
          <p:spPr>
            <a:xfrm>
              <a:off x="7877395" y="1225848"/>
              <a:ext cx="328615" cy="385342"/>
            </a:xfrm>
            <a:prstGeom prst="rect">
              <a:avLst/>
            </a:prstGeom>
            <a:solidFill>
              <a:schemeClr val="bg1">
                <a:alpha val="80000"/>
              </a:schemeClr>
            </a:solidFill>
            <a:ln w="6350" cap="flat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900"/>
                </a:spcBef>
              </a:pPr>
              <a:endParaRPr lang="en-US" sz="140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2" name="Oval 21">
              <a:extLst>
                <a:ext uri="{FF2B5EF4-FFF2-40B4-BE49-F238E27FC236}">
                  <a16:creationId xmlns="" xmlns:a16="http://schemas.microsoft.com/office/drawing/2014/main" id="{22C1417D-C0DF-425F-B1EA-C0A7EC164858}"/>
                </a:ext>
              </a:extLst>
            </p:cNvPr>
            <p:cNvSpPr/>
            <p:nvPr/>
          </p:nvSpPr>
          <p:spPr>
            <a:xfrm>
              <a:off x="8225098" y="1244357"/>
              <a:ext cx="212364" cy="212364"/>
            </a:xfrm>
            <a:prstGeom prst="ellipse">
              <a:avLst/>
            </a:prstGeom>
            <a:solidFill>
              <a:schemeClr val="accent1"/>
            </a:solidFill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ot="0" spcFirstLastPara="0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23" name="Arc 22">
              <a:extLst>
                <a:ext uri="{FF2B5EF4-FFF2-40B4-BE49-F238E27FC236}">
                  <a16:creationId xmlns="" xmlns:a16="http://schemas.microsoft.com/office/drawing/2014/main" id="{6A0208D0-2202-4068-9629-F81575FE5B60}"/>
                </a:ext>
              </a:extLst>
            </p:cNvPr>
            <p:cNvSpPr/>
            <p:nvPr/>
          </p:nvSpPr>
          <p:spPr bwMode="gray">
            <a:xfrm flipV="1">
              <a:off x="8184095" y="1313981"/>
              <a:ext cx="283644" cy="247373"/>
            </a:xfrm>
            <a:prstGeom prst="arc">
              <a:avLst>
                <a:gd name="adj1" fmla="val 11178900"/>
                <a:gd name="adj2" fmla="val 21075396"/>
              </a:avLst>
            </a:prstGeom>
            <a:ln w="19050" cap="flat">
              <a:solidFill>
                <a:schemeClr val="accent1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100" dirty="0"/>
            </a:p>
          </p:txBody>
        </p:sp>
        <p:sp>
          <p:nvSpPr>
            <p:cNvPr id="24" name="Isosceles Triangle 23">
              <a:extLst>
                <a:ext uri="{FF2B5EF4-FFF2-40B4-BE49-F238E27FC236}">
                  <a16:creationId xmlns="" xmlns:a16="http://schemas.microsoft.com/office/drawing/2014/main" id="{401D8938-53A8-4EF6-9FC7-7B0105B2302E}"/>
                </a:ext>
              </a:extLst>
            </p:cNvPr>
            <p:cNvSpPr>
              <a:spLocks noChangeAspect="1"/>
            </p:cNvSpPr>
            <p:nvPr/>
          </p:nvSpPr>
          <p:spPr bwMode="gray">
            <a:xfrm rot="11672904" flipV="1">
              <a:off x="8432310" y="1418179"/>
              <a:ext cx="73611" cy="63349"/>
            </a:xfrm>
            <a:prstGeom prst="triangle">
              <a:avLst/>
            </a:prstGeom>
            <a:solidFill>
              <a:schemeClr val="accent1"/>
            </a:solidFill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050" dirty="0">
                <a:solidFill>
                  <a:schemeClr val="tx1"/>
                </a:solidFill>
              </a:endParaRPr>
            </a:p>
          </p:txBody>
        </p:sp>
        <p:sp>
          <p:nvSpPr>
            <p:cNvPr id="25" name="Oval 24">
              <a:extLst>
                <a:ext uri="{FF2B5EF4-FFF2-40B4-BE49-F238E27FC236}">
                  <a16:creationId xmlns="" xmlns:a16="http://schemas.microsoft.com/office/drawing/2014/main" id="{98170558-834B-4009-B86E-FFC6DBC68739}"/>
                </a:ext>
              </a:extLst>
            </p:cNvPr>
            <p:cNvSpPr/>
            <p:nvPr/>
          </p:nvSpPr>
          <p:spPr>
            <a:xfrm>
              <a:off x="8306154" y="1537095"/>
              <a:ext cx="50253" cy="50252"/>
            </a:xfrm>
            <a:prstGeom prst="ellipse">
              <a:avLst/>
            </a:prstGeom>
            <a:solidFill>
              <a:schemeClr val="accent1"/>
            </a:solidFill>
            <a:ln w="12700" cap="flat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 b="1" dirty="0">
                <a:solidFill>
                  <a:schemeClr val="bg1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</p:grpSp>
      <p:sp>
        <p:nvSpPr>
          <p:cNvPr id="29" name="Rectangle 28">
            <a:extLst>
              <a:ext uri="{FF2B5EF4-FFF2-40B4-BE49-F238E27FC236}">
                <a16:creationId xmlns="" xmlns:a16="http://schemas.microsoft.com/office/drawing/2014/main" id="{B1B5D2F4-750B-4229-8508-A7066E53E75E}"/>
              </a:ext>
            </a:extLst>
          </p:cNvPr>
          <p:cNvSpPr/>
          <p:nvPr/>
        </p:nvSpPr>
        <p:spPr>
          <a:xfrm>
            <a:off x="246381" y="1640823"/>
            <a:ext cx="8646794" cy="996090"/>
          </a:xfrm>
          <a:prstGeom prst="rect">
            <a:avLst/>
          </a:prstGeom>
          <a:noFill/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97212" indent="-97212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12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PYCARET </a:t>
            </a:r>
            <a:r>
              <a:rPr lang="mr-IN" sz="12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–</a:t>
            </a:r>
            <a:r>
              <a:rPr lang="en-US" sz="12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Verification Model</a:t>
            </a:r>
          </a:p>
          <a:p>
            <a:pPr marL="97212" indent="-97212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12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Random Forest Model Plots</a:t>
            </a:r>
            <a:endParaRPr lang="en-US" sz="12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9" name="Picture 8" descr="Screen Shot 2020-05-22 at 1.53.09 PM (2).png"/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139" t="46173" r="49444" b="18765"/>
          <a:stretch/>
        </p:blipFill>
        <p:spPr>
          <a:xfrm>
            <a:off x="-508" y="2636913"/>
            <a:ext cx="4109020" cy="2664296"/>
          </a:xfrm>
          <a:prstGeom prst="rect">
            <a:avLst/>
          </a:prstGeom>
        </p:spPr>
      </p:pic>
      <p:pic>
        <p:nvPicPr>
          <p:cNvPr id="7" name="Picture 6" descr="img1.png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67944" y="2525080"/>
            <a:ext cx="4990307" cy="28921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35187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AA16B7AC-F676-4F67-8813-4F8F68AAD7D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356637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234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="" xmlns:a16="http://schemas.microsoft.com/office/drawing/2014/main" id="{260A3D96-399B-450E-B597-24C3AA9AE05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US" sz="240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="" xmlns:a16="http://schemas.microsoft.com/office/drawing/2014/main" id="{948A2FB1-4C70-4234-A301-2EDCD6277EF6}"/>
              </a:ext>
            </a:extLst>
          </p:cNvPr>
          <p:cNvSpPr txBox="1"/>
          <p:nvPr/>
        </p:nvSpPr>
        <p:spPr>
          <a:xfrm>
            <a:off x="244473" y="1628140"/>
            <a:ext cx="8570717" cy="225703"/>
          </a:xfrm>
          <a:prstGeom prst="rect">
            <a:avLst/>
          </a:prstGeom>
          <a:noFill/>
          <a:ln w="6350" cap="flat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A5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2"/>
              </a:buClr>
            </a:pPr>
            <a:endParaRPr lang="en-US" sz="1600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Title 1">
            <a:extLst>
              <a:ext uri="{FF2B5EF4-FFF2-40B4-BE49-F238E27FC236}">
                <a16:creationId xmlns="" xmlns:a16="http://schemas.microsoft.com/office/drawing/2014/main" id="{7956AB31-F718-491D-AAC7-99EB16607684}"/>
              </a:ext>
            </a:extLst>
          </p:cNvPr>
          <p:cNvSpPr txBox="1">
            <a:spLocks/>
          </p:cNvSpPr>
          <p:nvPr/>
        </p:nvSpPr>
        <p:spPr>
          <a:xfrm>
            <a:off x="396907" y="645895"/>
            <a:ext cx="7604094" cy="338554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0" kern="1200" baseline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en-US" b="1" dirty="0" smtClean="0"/>
              <a:t>Framework</a:t>
            </a:r>
            <a:endParaRPr lang="en-US" b="1" dirty="0"/>
          </a:p>
        </p:txBody>
      </p:sp>
      <p:grpSp>
        <p:nvGrpSpPr>
          <p:cNvPr id="47" name="Group 46">
            <a:extLst>
              <a:ext uri="{FF2B5EF4-FFF2-40B4-BE49-F238E27FC236}">
                <a16:creationId xmlns="" xmlns:a16="http://schemas.microsoft.com/office/drawing/2014/main" id="{0BBEB72A-2139-4645-915E-CEC28070B56D}"/>
              </a:ext>
            </a:extLst>
          </p:cNvPr>
          <p:cNvGrpSpPr/>
          <p:nvPr/>
        </p:nvGrpSpPr>
        <p:grpSpPr>
          <a:xfrm>
            <a:off x="7877395" y="1225848"/>
            <a:ext cx="937795" cy="385342"/>
            <a:chOff x="7877395" y="1225848"/>
            <a:chExt cx="937795" cy="385342"/>
          </a:xfrm>
        </p:grpSpPr>
        <p:sp>
          <p:nvSpPr>
            <p:cNvPr id="48" name="Isosceles Triangle 47">
              <a:extLst>
                <a:ext uri="{FF2B5EF4-FFF2-40B4-BE49-F238E27FC236}">
                  <a16:creationId xmlns="" xmlns:a16="http://schemas.microsoft.com/office/drawing/2014/main" id="{35B3CE62-F491-498C-8FB7-E66CFD69DB95}"/>
                </a:ext>
              </a:extLst>
            </p:cNvPr>
            <p:cNvSpPr>
              <a:spLocks noChangeAspect="1"/>
            </p:cNvSpPr>
            <p:nvPr/>
          </p:nvSpPr>
          <p:spPr bwMode="gray">
            <a:xfrm rot="9927096">
              <a:off x="8132907" y="1349645"/>
              <a:ext cx="73611" cy="63458"/>
            </a:xfrm>
            <a:prstGeom prst="triangle">
              <a:avLst/>
            </a:prstGeom>
            <a:solidFill>
              <a:schemeClr val="bg2"/>
            </a:solidFill>
            <a:ln w="9525">
              <a:solidFill>
                <a:srgbClr val="007F7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050" dirty="0">
                <a:solidFill>
                  <a:schemeClr val="tx1"/>
                </a:solidFill>
              </a:endParaRPr>
            </a:p>
          </p:txBody>
        </p:sp>
        <p:sp>
          <p:nvSpPr>
            <p:cNvPr id="49" name="Oval 48">
              <a:extLst>
                <a:ext uri="{FF2B5EF4-FFF2-40B4-BE49-F238E27FC236}">
                  <a16:creationId xmlns="" xmlns:a16="http://schemas.microsoft.com/office/drawing/2014/main" id="{D5057345-1014-4E3D-8249-CA3762D4EBD7}"/>
                </a:ext>
              </a:extLst>
            </p:cNvPr>
            <p:cNvSpPr/>
            <p:nvPr/>
          </p:nvSpPr>
          <p:spPr>
            <a:xfrm>
              <a:off x="8002635" y="1243852"/>
              <a:ext cx="50253" cy="50252"/>
            </a:xfrm>
            <a:prstGeom prst="ellipse">
              <a:avLst/>
            </a:prstGeom>
            <a:solidFill>
              <a:schemeClr val="bg2"/>
            </a:solidFill>
            <a:ln w="12700" cap="flat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 b="1" dirty="0">
                <a:solidFill>
                  <a:schemeClr val="bg1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50" name="Oval 49">
              <a:extLst>
                <a:ext uri="{FF2B5EF4-FFF2-40B4-BE49-F238E27FC236}">
                  <a16:creationId xmlns="" xmlns:a16="http://schemas.microsoft.com/office/drawing/2014/main" id="{63F9707F-DBB8-47E1-9D38-404826C77867}"/>
                </a:ext>
              </a:extLst>
            </p:cNvPr>
            <p:cNvSpPr/>
            <p:nvPr/>
          </p:nvSpPr>
          <p:spPr>
            <a:xfrm>
              <a:off x="8530035" y="1349312"/>
              <a:ext cx="212364" cy="212364"/>
            </a:xfrm>
            <a:prstGeom prst="ellipse">
              <a:avLst/>
            </a:prstGeom>
            <a:solidFill>
              <a:schemeClr val="accent5"/>
            </a:solidFill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ot="0" spcFirstLastPara="0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51" name="Arc 50">
              <a:extLst>
                <a:ext uri="{FF2B5EF4-FFF2-40B4-BE49-F238E27FC236}">
                  <a16:creationId xmlns="" xmlns:a16="http://schemas.microsoft.com/office/drawing/2014/main" id="{83A64A2A-0C53-4047-8B19-03F3FE3B04D9}"/>
                </a:ext>
              </a:extLst>
            </p:cNvPr>
            <p:cNvSpPr/>
            <p:nvPr/>
          </p:nvSpPr>
          <p:spPr bwMode="gray">
            <a:xfrm>
              <a:off x="8486575" y="1267966"/>
              <a:ext cx="283644" cy="247796"/>
            </a:xfrm>
            <a:prstGeom prst="arc">
              <a:avLst>
                <a:gd name="adj1" fmla="val 11178900"/>
                <a:gd name="adj2" fmla="val 21075396"/>
              </a:avLst>
            </a:prstGeom>
            <a:ln w="19050" cap="flat">
              <a:solidFill>
                <a:schemeClr val="accent5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100" dirty="0"/>
            </a:p>
          </p:txBody>
        </p:sp>
        <p:sp>
          <p:nvSpPr>
            <p:cNvPr id="52" name="Isosceles Triangle 51">
              <a:extLst>
                <a:ext uri="{FF2B5EF4-FFF2-40B4-BE49-F238E27FC236}">
                  <a16:creationId xmlns="" xmlns:a16="http://schemas.microsoft.com/office/drawing/2014/main" id="{AD34A29D-9581-4661-BAC6-DFB4DF1F5397}"/>
                </a:ext>
              </a:extLst>
            </p:cNvPr>
            <p:cNvSpPr>
              <a:spLocks noChangeAspect="1"/>
            </p:cNvSpPr>
            <p:nvPr/>
          </p:nvSpPr>
          <p:spPr bwMode="gray">
            <a:xfrm rot="9927096">
              <a:off x="8734789" y="1347929"/>
              <a:ext cx="73611" cy="63458"/>
            </a:xfrm>
            <a:prstGeom prst="triangle">
              <a:avLst/>
            </a:prstGeom>
            <a:solidFill>
              <a:schemeClr val="accent5"/>
            </a:solidFill>
            <a:ln w="952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050" dirty="0">
                <a:solidFill>
                  <a:schemeClr val="tx1"/>
                </a:solidFill>
              </a:endParaRPr>
            </a:p>
          </p:txBody>
        </p:sp>
        <p:sp>
          <p:nvSpPr>
            <p:cNvPr id="53" name="Oval 52">
              <a:extLst>
                <a:ext uri="{FF2B5EF4-FFF2-40B4-BE49-F238E27FC236}">
                  <a16:creationId xmlns="" xmlns:a16="http://schemas.microsoft.com/office/drawing/2014/main" id="{BFF74F25-EB5E-4527-8581-0E164F89C80F}"/>
                </a:ext>
              </a:extLst>
            </p:cNvPr>
            <p:cNvSpPr/>
            <p:nvPr/>
          </p:nvSpPr>
          <p:spPr>
            <a:xfrm>
              <a:off x="8611091" y="1243852"/>
              <a:ext cx="50253" cy="50252"/>
            </a:xfrm>
            <a:prstGeom prst="ellipse">
              <a:avLst/>
            </a:prstGeom>
            <a:solidFill>
              <a:schemeClr val="accent5"/>
            </a:solidFill>
            <a:ln w="12700" cap="flat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 b="1" dirty="0">
                <a:solidFill>
                  <a:schemeClr val="bg1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54" name="Rectangle 53">
              <a:extLst>
                <a:ext uri="{FF2B5EF4-FFF2-40B4-BE49-F238E27FC236}">
                  <a16:creationId xmlns="" xmlns:a16="http://schemas.microsoft.com/office/drawing/2014/main" id="{00A129B6-615D-417E-A5FF-BF0A72E04226}"/>
                </a:ext>
              </a:extLst>
            </p:cNvPr>
            <p:cNvSpPr/>
            <p:nvPr/>
          </p:nvSpPr>
          <p:spPr>
            <a:xfrm>
              <a:off x="8486575" y="1225848"/>
              <a:ext cx="328615" cy="385342"/>
            </a:xfrm>
            <a:prstGeom prst="rect">
              <a:avLst/>
            </a:prstGeom>
            <a:solidFill>
              <a:schemeClr val="bg1">
                <a:alpha val="80000"/>
              </a:schemeClr>
            </a:solidFill>
            <a:ln w="6350" cap="flat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900"/>
                </a:spcBef>
              </a:pPr>
              <a:endParaRPr lang="en-US" sz="140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55" name="Oval 54">
              <a:extLst>
                <a:ext uri="{FF2B5EF4-FFF2-40B4-BE49-F238E27FC236}">
                  <a16:creationId xmlns="" xmlns:a16="http://schemas.microsoft.com/office/drawing/2014/main" id="{3E98A2CE-5146-4C5F-A545-6FDD7370DFB0}"/>
                </a:ext>
              </a:extLst>
            </p:cNvPr>
            <p:cNvSpPr/>
            <p:nvPr/>
          </p:nvSpPr>
          <p:spPr>
            <a:xfrm>
              <a:off x="7921579" y="1349312"/>
              <a:ext cx="212364" cy="212364"/>
            </a:xfrm>
            <a:prstGeom prst="ellipse">
              <a:avLst/>
            </a:prstGeom>
            <a:solidFill>
              <a:schemeClr val="bg2"/>
            </a:solidFill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ot="0" spcFirstLastPara="0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56" name="Arc 55">
              <a:extLst>
                <a:ext uri="{FF2B5EF4-FFF2-40B4-BE49-F238E27FC236}">
                  <a16:creationId xmlns="" xmlns:a16="http://schemas.microsoft.com/office/drawing/2014/main" id="{A0AB8420-2770-4899-AC43-A47624E481BC}"/>
                </a:ext>
              </a:extLst>
            </p:cNvPr>
            <p:cNvSpPr/>
            <p:nvPr/>
          </p:nvSpPr>
          <p:spPr bwMode="gray">
            <a:xfrm>
              <a:off x="7883769" y="1267966"/>
              <a:ext cx="283644" cy="247796"/>
            </a:xfrm>
            <a:prstGeom prst="arc">
              <a:avLst>
                <a:gd name="adj1" fmla="val 11178900"/>
                <a:gd name="adj2" fmla="val 21075396"/>
              </a:avLst>
            </a:prstGeom>
            <a:ln w="19050" cap="flat">
              <a:solidFill>
                <a:schemeClr val="bg2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100" dirty="0"/>
            </a:p>
          </p:txBody>
        </p:sp>
        <p:sp>
          <p:nvSpPr>
            <p:cNvPr id="57" name="Rectangle 56">
              <a:extLst>
                <a:ext uri="{FF2B5EF4-FFF2-40B4-BE49-F238E27FC236}">
                  <a16:creationId xmlns="" xmlns:a16="http://schemas.microsoft.com/office/drawing/2014/main" id="{33C5B095-13E5-455C-9204-B2BD9ABC7DCF}"/>
                </a:ext>
              </a:extLst>
            </p:cNvPr>
            <p:cNvSpPr/>
            <p:nvPr/>
          </p:nvSpPr>
          <p:spPr>
            <a:xfrm>
              <a:off x="7877395" y="1225848"/>
              <a:ext cx="328615" cy="385342"/>
            </a:xfrm>
            <a:prstGeom prst="rect">
              <a:avLst/>
            </a:prstGeom>
            <a:solidFill>
              <a:schemeClr val="bg1">
                <a:alpha val="80000"/>
              </a:schemeClr>
            </a:solidFill>
            <a:ln w="6350" cap="flat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900"/>
                </a:spcBef>
              </a:pPr>
              <a:endParaRPr lang="en-US" sz="140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58" name="Oval 57">
              <a:extLst>
                <a:ext uri="{FF2B5EF4-FFF2-40B4-BE49-F238E27FC236}">
                  <a16:creationId xmlns="" xmlns:a16="http://schemas.microsoft.com/office/drawing/2014/main" id="{22C1417D-C0DF-425F-B1EA-C0A7EC164858}"/>
                </a:ext>
              </a:extLst>
            </p:cNvPr>
            <p:cNvSpPr/>
            <p:nvPr/>
          </p:nvSpPr>
          <p:spPr>
            <a:xfrm>
              <a:off x="8225098" y="1244357"/>
              <a:ext cx="212364" cy="212364"/>
            </a:xfrm>
            <a:prstGeom prst="ellipse">
              <a:avLst/>
            </a:prstGeom>
            <a:solidFill>
              <a:schemeClr val="accent1"/>
            </a:solidFill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ot="0" spcFirstLastPara="0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59" name="Arc 58">
              <a:extLst>
                <a:ext uri="{FF2B5EF4-FFF2-40B4-BE49-F238E27FC236}">
                  <a16:creationId xmlns="" xmlns:a16="http://schemas.microsoft.com/office/drawing/2014/main" id="{6A0208D0-2202-4068-9629-F81575FE5B60}"/>
                </a:ext>
              </a:extLst>
            </p:cNvPr>
            <p:cNvSpPr/>
            <p:nvPr/>
          </p:nvSpPr>
          <p:spPr bwMode="gray">
            <a:xfrm flipV="1">
              <a:off x="8184095" y="1313981"/>
              <a:ext cx="283644" cy="247373"/>
            </a:xfrm>
            <a:prstGeom prst="arc">
              <a:avLst>
                <a:gd name="adj1" fmla="val 11178900"/>
                <a:gd name="adj2" fmla="val 21075396"/>
              </a:avLst>
            </a:prstGeom>
            <a:ln w="19050" cap="flat">
              <a:solidFill>
                <a:schemeClr val="accent1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100" dirty="0"/>
            </a:p>
          </p:txBody>
        </p:sp>
        <p:sp>
          <p:nvSpPr>
            <p:cNvPr id="60" name="Isosceles Triangle 59">
              <a:extLst>
                <a:ext uri="{FF2B5EF4-FFF2-40B4-BE49-F238E27FC236}">
                  <a16:creationId xmlns="" xmlns:a16="http://schemas.microsoft.com/office/drawing/2014/main" id="{401D8938-53A8-4EF6-9FC7-7B0105B2302E}"/>
                </a:ext>
              </a:extLst>
            </p:cNvPr>
            <p:cNvSpPr>
              <a:spLocks noChangeAspect="1"/>
            </p:cNvSpPr>
            <p:nvPr/>
          </p:nvSpPr>
          <p:spPr bwMode="gray">
            <a:xfrm rot="11672904" flipV="1">
              <a:off x="8432310" y="1418179"/>
              <a:ext cx="73611" cy="63349"/>
            </a:xfrm>
            <a:prstGeom prst="triangle">
              <a:avLst/>
            </a:prstGeom>
            <a:solidFill>
              <a:schemeClr val="accent1"/>
            </a:solidFill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050" dirty="0">
                <a:solidFill>
                  <a:schemeClr val="tx1"/>
                </a:solidFill>
              </a:endParaRPr>
            </a:p>
          </p:txBody>
        </p:sp>
        <p:sp>
          <p:nvSpPr>
            <p:cNvPr id="61" name="Oval 60">
              <a:extLst>
                <a:ext uri="{FF2B5EF4-FFF2-40B4-BE49-F238E27FC236}">
                  <a16:creationId xmlns="" xmlns:a16="http://schemas.microsoft.com/office/drawing/2014/main" id="{98170558-834B-4009-B86E-FFC6DBC68739}"/>
                </a:ext>
              </a:extLst>
            </p:cNvPr>
            <p:cNvSpPr/>
            <p:nvPr/>
          </p:nvSpPr>
          <p:spPr>
            <a:xfrm>
              <a:off x="8306154" y="1537095"/>
              <a:ext cx="50253" cy="50252"/>
            </a:xfrm>
            <a:prstGeom prst="ellipse">
              <a:avLst/>
            </a:prstGeom>
            <a:solidFill>
              <a:schemeClr val="accent1"/>
            </a:solidFill>
            <a:ln w="12700" cap="flat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 b="1" dirty="0">
                <a:solidFill>
                  <a:schemeClr val="bg1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</p:grpSp>
      <p:sp>
        <p:nvSpPr>
          <p:cNvPr id="62" name="TextBox 61">
            <a:extLst>
              <a:ext uri="{FF2B5EF4-FFF2-40B4-BE49-F238E27FC236}">
                <a16:creationId xmlns="" xmlns:a16="http://schemas.microsoft.com/office/drawing/2014/main" id="{48D13E25-DCE9-4BCE-806B-429683B77FA6}"/>
              </a:ext>
            </a:extLst>
          </p:cNvPr>
          <p:cNvSpPr txBox="1"/>
          <p:nvPr/>
        </p:nvSpPr>
        <p:spPr>
          <a:xfrm>
            <a:off x="244474" y="1301507"/>
            <a:ext cx="6840220" cy="249299"/>
          </a:xfrm>
          <a:prstGeom prst="rect">
            <a:avLst/>
          </a:prstGeom>
          <a:noFill/>
          <a:ln w="6350" cap="flat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A5FFFF"/>
                </a:solidFill>
              </a14:hiddenFill>
            </a:ext>
          </a:extLst>
        </p:spPr>
        <p:txBody>
          <a:bodyPr vert="horz" wrap="square" lIns="365760" tIns="0" rIns="0" bIns="0" rtlCol="0" anchor="t" anchorCtr="0">
            <a:sp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2"/>
              </a:buClr>
            </a:pP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Machine Learning Modeling and Evaluation</a:t>
            </a:r>
          </a:p>
        </p:txBody>
      </p:sp>
      <p:sp>
        <p:nvSpPr>
          <p:cNvPr id="63" name="Oval 62">
            <a:extLst>
              <a:ext uri="{FF2B5EF4-FFF2-40B4-BE49-F238E27FC236}">
                <a16:creationId xmlns="" xmlns:a16="http://schemas.microsoft.com/office/drawing/2014/main" id="{3D60A96E-A8F3-4D57-873D-4053E79B24CA}"/>
              </a:ext>
            </a:extLst>
          </p:cNvPr>
          <p:cNvSpPr/>
          <p:nvPr/>
        </p:nvSpPr>
        <p:spPr>
          <a:xfrm>
            <a:off x="246380" y="1273567"/>
            <a:ext cx="279400" cy="279400"/>
          </a:xfrm>
          <a:prstGeom prst="ellipse">
            <a:avLst/>
          </a:prstGeom>
          <a:solidFill>
            <a:schemeClr val="accent1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1600" b="1" dirty="0">
                <a:solidFill>
                  <a:schemeClr val="bg1"/>
                </a:solidFill>
                <a:latin typeface="Arial" panose="020B0604020202020204" pitchFamily="34" charset="0"/>
                <a:cs typeface="Arial" pitchFamily="34" charset="0"/>
              </a:rPr>
              <a:t>5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="" xmlns:a16="http://schemas.microsoft.com/office/drawing/2014/main" id="{8CB181B4-F7F7-46DD-8436-013077DF9C04}"/>
              </a:ext>
            </a:extLst>
          </p:cNvPr>
          <p:cNvSpPr/>
          <p:nvPr/>
        </p:nvSpPr>
        <p:spPr>
          <a:xfrm>
            <a:off x="246381" y="1640822"/>
            <a:ext cx="8646794" cy="4020425"/>
          </a:xfrm>
          <a:prstGeom prst="rect">
            <a:avLst/>
          </a:prstGeom>
          <a:noFill/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97212" indent="-97212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12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Comparing Optimal Model in Sci-kit Learn with model output in PYCARET</a:t>
            </a:r>
            <a:endParaRPr lang="en-US" sz="12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38963256"/>
              </p:ext>
            </p:extLst>
          </p:nvPr>
        </p:nvGraphicFramePr>
        <p:xfrm>
          <a:off x="1799692" y="2132856"/>
          <a:ext cx="4350690" cy="205223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450230"/>
                <a:gridCol w="1450230"/>
                <a:gridCol w="1450230"/>
              </a:tblGrid>
              <a:tr h="844062">
                <a:tc>
                  <a:txBody>
                    <a:bodyPr/>
                    <a:lstStyle/>
                    <a:p>
                      <a:r>
                        <a:rPr lang="en-US" sz="1800" b="1" dirty="0" smtClean="0"/>
                        <a:t>RF-</a:t>
                      </a:r>
                      <a:r>
                        <a:rPr lang="en-US" sz="1800" b="1" dirty="0" err="1" smtClean="0"/>
                        <a:t>Scikit</a:t>
                      </a:r>
                      <a:r>
                        <a:rPr lang="en-US" sz="1800" b="1" dirty="0" smtClean="0"/>
                        <a:t>-Learn</a:t>
                      </a:r>
                      <a:endParaRPr lang="en-US" sz="1800" b="1" dirty="0"/>
                    </a:p>
                  </a:txBody>
                  <a:tcPr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b="1" dirty="0" smtClean="0"/>
                        <a:t>PN</a:t>
                      </a:r>
                      <a:endParaRPr lang="en-US" sz="1800" b="1" dirty="0"/>
                    </a:p>
                  </a:txBody>
                  <a:tcPr>
                    <a:solidFill>
                      <a:srgbClr val="F3CD63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b="1" dirty="0" smtClean="0"/>
                        <a:t>PP</a:t>
                      </a:r>
                      <a:endParaRPr lang="en-US" sz="1800" b="1" dirty="0"/>
                    </a:p>
                  </a:txBody>
                  <a:tcPr>
                    <a:solidFill>
                      <a:srgbClr val="F3CD63"/>
                    </a:solidFill>
                  </a:tcPr>
                </a:tc>
              </a:tr>
              <a:tr h="604084">
                <a:tc>
                  <a:txBody>
                    <a:bodyPr/>
                    <a:lstStyle/>
                    <a:p>
                      <a:r>
                        <a:rPr lang="en-US" sz="1800" b="1" dirty="0" smtClean="0"/>
                        <a:t>TN</a:t>
                      </a:r>
                      <a:endParaRPr lang="en-US" sz="1800" b="1" dirty="0"/>
                    </a:p>
                  </a:txBody>
                  <a:tcPr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 smtClean="0"/>
                        <a:t>4212</a:t>
                      </a:r>
                      <a:endParaRPr lang="en-US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 smtClean="0"/>
                        <a:t>141</a:t>
                      </a:r>
                      <a:endParaRPr lang="en-US" sz="1800" dirty="0"/>
                    </a:p>
                  </a:txBody>
                  <a:tcPr/>
                </a:tc>
              </a:tr>
              <a:tr h="604084">
                <a:tc>
                  <a:txBody>
                    <a:bodyPr/>
                    <a:lstStyle/>
                    <a:p>
                      <a:r>
                        <a:rPr lang="en-US" sz="1800" b="1" dirty="0" smtClean="0"/>
                        <a:t>TP</a:t>
                      </a:r>
                      <a:endParaRPr lang="en-US" sz="1800" b="1" dirty="0"/>
                    </a:p>
                  </a:txBody>
                  <a:tcPr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 smtClean="0"/>
                        <a:t>208</a:t>
                      </a:r>
                      <a:endParaRPr lang="en-US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 smtClean="0"/>
                        <a:t>3197</a:t>
                      </a:r>
                      <a:endParaRPr lang="en-US" sz="1800" dirty="0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29" name="Table 2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89164967"/>
              </p:ext>
            </p:extLst>
          </p:nvPr>
        </p:nvGraphicFramePr>
        <p:xfrm>
          <a:off x="1799692" y="4437112"/>
          <a:ext cx="4350691" cy="2124235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485353"/>
                <a:gridCol w="1485353"/>
                <a:gridCol w="1379985"/>
              </a:tblGrid>
              <a:tr h="873677">
                <a:tc>
                  <a:txBody>
                    <a:bodyPr/>
                    <a:lstStyle/>
                    <a:p>
                      <a:r>
                        <a:rPr lang="en-US" sz="1800" b="1" dirty="0" smtClean="0"/>
                        <a:t>RF-</a:t>
                      </a:r>
                      <a:r>
                        <a:rPr lang="en-US" sz="1800" b="1" dirty="0" err="1" smtClean="0"/>
                        <a:t>Pycaret</a:t>
                      </a:r>
                      <a:endParaRPr lang="en-US" sz="1800" b="1" dirty="0"/>
                    </a:p>
                  </a:txBody>
                  <a:tcPr>
                    <a:solidFill>
                      <a:srgbClr val="F3CD63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b="1" dirty="0" smtClean="0"/>
                        <a:t>PN</a:t>
                      </a:r>
                      <a:endParaRPr lang="en-US" sz="1800" b="1" dirty="0"/>
                    </a:p>
                  </a:txBody>
                  <a:tcPr>
                    <a:solidFill>
                      <a:srgbClr val="F3CD63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b="1" dirty="0" smtClean="0"/>
                        <a:t>PP</a:t>
                      </a:r>
                      <a:endParaRPr lang="en-US" sz="1800" b="1" dirty="0"/>
                    </a:p>
                  </a:txBody>
                  <a:tcPr>
                    <a:solidFill>
                      <a:srgbClr val="F3CD63"/>
                    </a:solidFill>
                  </a:tcPr>
                </a:tc>
              </a:tr>
              <a:tr h="625279">
                <a:tc>
                  <a:txBody>
                    <a:bodyPr/>
                    <a:lstStyle/>
                    <a:p>
                      <a:r>
                        <a:rPr lang="en-US" sz="1800" b="1" dirty="0" smtClean="0"/>
                        <a:t>TN</a:t>
                      </a:r>
                      <a:endParaRPr lang="en-US" sz="1800" b="1" dirty="0"/>
                    </a:p>
                  </a:txBody>
                  <a:tcPr>
                    <a:solidFill>
                      <a:srgbClr val="F3CD63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 smtClean="0"/>
                        <a:t>4207</a:t>
                      </a:r>
                      <a:endParaRPr lang="en-US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 smtClean="0"/>
                        <a:t>146</a:t>
                      </a:r>
                      <a:endParaRPr lang="en-US" sz="1800" dirty="0"/>
                    </a:p>
                  </a:txBody>
                  <a:tcPr/>
                </a:tc>
              </a:tr>
              <a:tr h="625279">
                <a:tc>
                  <a:txBody>
                    <a:bodyPr/>
                    <a:lstStyle/>
                    <a:p>
                      <a:r>
                        <a:rPr lang="en-US" sz="1800" b="1" dirty="0" smtClean="0"/>
                        <a:t>TP</a:t>
                      </a:r>
                      <a:endParaRPr lang="en-US" sz="1800" b="1" dirty="0"/>
                    </a:p>
                  </a:txBody>
                  <a:tcPr>
                    <a:solidFill>
                      <a:srgbClr val="F3CD63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 smtClean="0"/>
                        <a:t>261</a:t>
                      </a:r>
                      <a:endParaRPr lang="en-US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 smtClean="0"/>
                        <a:t>3144</a:t>
                      </a:r>
                      <a:endParaRPr lang="en-US" sz="1800" dirty="0"/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825769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AA16B7AC-F676-4F67-8813-4F8F68AAD7D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326737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54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="" xmlns:a16="http://schemas.microsoft.com/office/drawing/2014/main" id="{260A3D96-399B-450E-B597-24C3AA9AE05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US" sz="240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="" xmlns:a16="http://schemas.microsoft.com/office/drawing/2014/main" id="{948A2FB1-4C70-4234-A301-2EDCD6277EF6}"/>
              </a:ext>
            </a:extLst>
          </p:cNvPr>
          <p:cNvSpPr txBox="1"/>
          <p:nvPr/>
        </p:nvSpPr>
        <p:spPr>
          <a:xfrm>
            <a:off x="244473" y="1628140"/>
            <a:ext cx="8570717" cy="225703"/>
          </a:xfrm>
          <a:prstGeom prst="rect">
            <a:avLst/>
          </a:prstGeom>
          <a:noFill/>
          <a:ln w="6350" cap="flat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A5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2"/>
              </a:buClr>
            </a:pPr>
            <a:endParaRPr lang="en-US" sz="1600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Title 1">
            <a:extLst>
              <a:ext uri="{FF2B5EF4-FFF2-40B4-BE49-F238E27FC236}">
                <a16:creationId xmlns="" xmlns:a16="http://schemas.microsoft.com/office/drawing/2014/main" id="{7956AB31-F718-491D-AAC7-99EB16607684}"/>
              </a:ext>
            </a:extLst>
          </p:cNvPr>
          <p:cNvSpPr txBox="1">
            <a:spLocks/>
          </p:cNvSpPr>
          <p:nvPr/>
        </p:nvSpPr>
        <p:spPr>
          <a:xfrm>
            <a:off x="396907" y="645895"/>
            <a:ext cx="7604094" cy="338554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0" kern="1200" baseline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en-US" b="1" dirty="0" smtClean="0"/>
              <a:t>Framework</a:t>
            </a:r>
            <a:endParaRPr lang="en-US" b="1" dirty="0"/>
          </a:p>
        </p:txBody>
      </p:sp>
      <p:grpSp>
        <p:nvGrpSpPr>
          <p:cNvPr id="47" name="Group 46">
            <a:extLst>
              <a:ext uri="{FF2B5EF4-FFF2-40B4-BE49-F238E27FC236}">
                <a16:creationId xmlns="" xmlns:a16="http://schemas.microsoft.com/office/drawing/2014/main" id="{0BBEB72A-2139-4645-915E-CEC28070B56D}"/>
              </a:ext>
            </a:extLst>
          </p:cNvPr>
          <p:cNvGrpSpPr/>
          <p:nvPr/>
        </p:nvGrpSpPr>
        <p:grpSpPr>
          <a:xfrm>
            <a:off x="7877395" y="1225848"/>
            <a:ext cx="937795" cy="385342"/>
            <a:chOff x="7877395" y="1225848"/>
            <a:chExt cx="937795" cy="385342"/>
          </a:xfrm>
        </p:grpSpPr>
        <p:sp>
          <p:nvSpPr>
            <p:cNvPr id="48" name="Isosceles Triangle 47">
              <a:extLst>
                <a:ext uri="{FF2B5EF4-FFF2-40B4-BE49-F238E27FC236}">
                  <a16:creationId xmlns="" xmlns:a16="http://schemas.microsoft.com/office/drawing/2014/main" id="{35B3CE62-F491-498C-8FB7-E66CFD69DB95}"/>
                </a:ext>
              </a:extLst>
            </p:cNvPr>
            <p:cNvSpPr>
              <a:spLocks noChangeAspect="1"/>
            </p:cNvSpPr>
            <p:nvPr/>
          </p:nvSpPr>
          <p:spPr bwMode="gray">
            <a:xfrm rot="9927096">
              <a:off x="8132907" y="1349645"/>
              <a:ext cx="73611" cy="63458"/>
            </a:xfrm>
            <a:prstGeom prst="triangle">
              <a:avLst/>
            </a:prstGeom>
            <a:solidFill>
              <a:schemeClr val="bg2"/>
            </a:solidFill>
            <a:ln w="9525">
              <a:solidFill>
                <a:srgbClr val="007F7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050" dirty="0">
                <a:solidFill>
                  <a:schemeClr val="tx1"/>
                </a:solidFill>
              </a:endParaRPr>
            </a:p>
          </p:txBody>
        </p:sp>
        <p:sp>
          <p:nvSpPr>
            <p:cNvPr id="49" name="Oval 48">
              <a:extLst>
                <a:ext uri="{FF2B5EF4-FFF2-40B4-BE49-F238E27FC236}">
                  <a16:creationId xmlns="" xmlns:a16="http://schemas.microsoft.com/office/drawing/2014/main" id="{D5057345-1014-4E3D-8249-CA3762D4EBD7}"/>
                </a:ext>
              </a:extLst>
            </p:cNvPr>
            <p:cNvSpPr/>
            <p:nvPr/>
          </p:nvSpPr>
          <p:spPr>
            <a:xfrm>
              <a:off x="8002635" y="1243852"/>
              <a:ext cx="50253" cy="50252"/>
            </a:xfrm>
            <a:prstGeom prst="ellipse">
              <a:avLst/>
            </a:prstGeom>
            <a:solidFill>
              <a:schemeClr val="bg2"/>
            </a:solidFill>
            <a:ln w="12700" cap="flat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 b="1" dirty="0">
                <a:solidFill>
                  <a:schemeClr val="bg1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50" name="Oval 49">
              <a:extLst>
                <a:ext uri="{FF2B5EF4-FFF2-40B4-BE49-F238E27FC236}">
                  <a16:creationId xmlns="" xmlns:a16="http://schemas.microsoft.com/office/drawing/2014/main" id="{63F9707F-DBB8-47E1-9D38-404826C77867}"/>
                </a:ext>
              </a:extLst>
            </p:cNvPr>
            <p:cNvSpPr/>
            <p:nvPr/>
          </p:nvSpPr>
          <p:spPr>
            <a:xfrm>
              <a:off x="8530035" y="1349312"/>
              <a:ext cx="212364" cy="212364"/>
            </a:xfrm>
            <a:prstGeom prst="ellipse">
              <a:avLst/>
            </a:prstGeom>
            <a:solidFill>
              <a:schemeClr val="accent5"/>
            </a:solidFill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ot="0" spcFirstLastPara="0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51" name="Arc 50">
              <a:extLst>
                <a:ext uri="{FF2B5EF4-FFF2-40B4-BE49-F238E27FC236}">
                  <a16:creationId xmlns="" xmlns:a16="http://schemas.microsoft.com/office/drawing/2014/main" id="{83A64A2A-0C53-4047-8B19-03F3FE3B04D9}"/>
                </a:ext>
              </a:extLst>
            </p:cNvPr>
            <p:cNvSpPr/>
            <p:nvPr/>
          </p:nvSpPr>
          <p:spPr bwMode="gray">
            <a:xfrm>
              <a:off x="8486575" y="1267966"/>
              <a:ext cx="283644" cy="247796"/>
            </a:xfrm>
            <a:prstGeom prst="arc">
              <a:avLst>
                <a:gd name="adj1" fmla="val 11178900"/>
                <a:gd name="adj2" fmla="val 21075396"/>
              </a:avLst>
            </a:prstGeom>
            <a:ln w="19050" cap="flat">
              <a:solidFill>
                <a:schemeClr val="accent5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100" dirty="0"/>
            </a:p>
          </p:txBody>
        </p:sp>
        <p:sp>
          <p:nvSpPr>
            <p:cNvPr id="52" name="Isosceles Triangle 51">
              <a:extLst>
                <a:ext uri="{FF2B5EF4-FFF2-40B4-BE49-F238E27FC236}">
                  <a16:creationId xmlns="" xmlns:a16="http://schemas.microsoft.com/office/drawing/2014/main" id="{AD34A29D-9581-4661-BAC6-DFB4DF1F5397}"/>
                </a:ext>
              </a:extLst>
            </p:cNvPr>
            <p:cNvSpPr>
              <a:spLocks noChangeAspect="1"/>
            </p:cNvSpPr>
            <p:nvPr/>
          </p:nvSpPr>
          <p:spPr bwMode="gray">
            <a:xfrm rot="9927096">
              <a:off x="8734789" y="1347929"/>
              <a:ext cx="73611" cy="63458"/>
            </a:xfrm>
            <a:prstGeom prst="triangle">
              <a:avLst/>
            </a:prstGeom>
            <a:solidFill>
              <a:schemeClr val="accent5"/>
            </a:solidFill>
            <a:ln w="952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050" dirty="0">
                <a:solidFill>
                  <a:schemeClr val="tx1"/>
                </a:solidFill>
              </a:endParaRPr>
            </a:p>
          </p:txBody>
        </p:sp>
        <p:sp>
          <p:nvSpPr>
            <p:cNvPr id="53" name="Oval 52">
              <a:extLst>
                <a:ext uri="{FF2B5EF4-FFF2-40B4-BE49-F238E27FC236}">
                  <a16:creationId xmlns="" xmlns:a16="http://schemas.microsoft.com/office/drawing/2014/main" id="{BFF74F25-EB5E-4527-8581-0E164F89C80F}"/>
                </a:ext>
              </a:extLst>
            </p:cNvPr>
            <p:cNvSpPr/>
            <p:nvPr/>
          </p:nvSpPr>
          <p:spPr>
            <a:xfrm>
              <a:off x="8611091" y="1243852"/>
              <a:ext cx="50253" cy="50252"/>
            </a:xfrm>
            <a:prstGeom prst="ellipse">
              <a:avLst/>
            </a:prstGeom>
            <a:solidFill>
              <a:schemeClr val="accent5"/>
            </a:solidFill>
            <a:ln w="12700" cap="flat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 b="1" dirty="0">
                <a:solidFill>
                  <a:schemeClr val="bg1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54" name="Rectangle 53">
              <a:extLst>
                <a:ext uri="{FF2B5EF4-FFF2-40B4-BE49-F238E27FC236}">
                  <a16:creationId xmlns="" xmlns:a16="http://schemas.microsoft.com/office/drawing/2014/main" id="{00A129B6-615D-417E-A5FF-BF0A72E04226}"/>
                </a:ext>
              </a:extLst>
            </p:cNvPr>
            <p:cNvSpPr/>
            <p:nvPr/>
          </p:nvSpPr>
          <p:spPr>
            <a:xfrm>
              <a:off x="8486575" y="1225848"/>
              <a:ext cx="328615" cy="385342"/>
            </a:xfrm>
            <a:prstGeom prst="rect">
              <a:avLst/>
            </a:prstGeom>
            <a:solidFill>
              <a:schemeClr val="bg1">
                <a:alpha val="80000"/>
              </a:schemeClr>
            </a:solidFill>
            <a:ln w="6350" cap="flat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900"/>
                </a:spcBef>
              </a:pPr>
              <a:endParaRPr lang="en-US" sz="140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55" name="Oval 54">
              <a:extLst>
                <a:ext uri="{FF2B5EF4-FFF2-40B4-BE49-F238E27FC236}">
                  <a16:creationId xmlns="" xmlns:a16="http://schemas.microsoft.com/office/drawing/2014/main" id="{3E98A2CE-5146-4C5F-A545-6FDD7370DFB0}"/>
                </a:ext>
              </a:extLst>
            </p:cNvPr>
            <p:cNvSpPr/>
            <p:nvPr/>
          </p:nvSpPr>
          <p:spPr>
            <a:xfrm>
              <a:off x="7921579" y="1349312"/>
              <a:ext cx="212364" cy="212364"/>
            </a:xfrm>
            <a:prstGeom prst="ellipse">
              <a:avLst/>
            </a:prstGeom>
            <a:solidFill>
              <a:schemeClr val="bg2"/>
            </a:solidFill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ot="0" spcFirstLastPara="0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56" name="Arc 55">
              <a:extLst>
                <a:ext uri="{FF2B5EF4-FFF2-40B4-BE49-F238E27FC236}">
                  <a16:creationId xmlns="" xmlns:a16="http://schemas.microsoft.com/office/drawing/2014/main" id="{A0AB8420-2770-4899-AC43-A47624E481BC}"/>
                </a:ext>
              </a:extLst>
            </p:cNvPr>
            <p:cNvSpPr/>
            <p:nvPr/>
          </p:nvSpPr>
          <p:spPr bwMode="gray">
            <a:xfrm>
              <a:off x="7883769" y="1267966"/>
              <a:ext cx="283644" cy="247796"/>
            </a:xfrm>
            <a:prstGeom prst="arc">
              <a:avLst>
                <a:gd name="adj1" fmla="val 11178900"/>
                <a:gd name="adj2" fmla="val 21075396"/>
              </a:avLst>
            </a:prstGeom>
            <a:ln w="19050" cap="flat">
              <a:solidFill>
                <a:schemeClr val="bg2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100" dirty="0"/>
            </a:p>
          </p:txBody>
        </p:sp>
        <p:sp>
          <p:nvSpPr>
            <p:cNvPr id="57" name="Rectangle 56">
              <a:extLst>
                <a:ext uri="{FF2B5EF4-FFF2-40B4-BE49-F238E27FC236}">
                  <a16:creationId xmlns="" xmlns:a16="http://schemas.microsoft.com/office/drawing/2014/main" id="{33C5B095-13E5-455C-9204-B2BD9ABC7DCF}"/>
                </a:ext>
              </a:extLst>
            </p:cNvPr>
            <p:cNvSpPr/>
            <p:nvPr/>
          </p:nvSpPr>
          <p:spPr>
            <a:xfrm>
              <a:off x="7877395" y="1225848"/>
              <a:ext cx="328615" cy="385342"/>
            </a:xfrm>
            <a:prstGeom prst="rect">
              <a:avLst/>
            </a:prstGeom>
            <a:solidFill>
              <a:schemeClr val="bg1">
                <a:alpha val="80000"/>
              </a:schemeClr>
            </a:solidFill>
            <a:ln w="6350" cap="flat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900"/>
                </a:spcBef>
              </a:pPr>
              <a:endParaRPr lang="en-US" sz="140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58" name="Oval 57">
              <a:extLst>
                <a:ext uri="{FF2B5EF4-FFF2-40B4-BE49-F238E27FC236}">
                  <a16:creationId xmlns="" xmlns:a16="http://schemas.microsoft.com/office/drawing/2014/main" id="{22C1417D-C0DF-425F-B1EA-C0A7EC164858}"/>
                </a:ext>
              </a:extLst>
            </p:cNvPr>
            <p:cNvSpPr/>
            <p:nvPr/>
          </p:nvSpPr>
          <p:spPr>
            <a:xfrm>
              <a:off x="8225098" y="1244357"/>
              <a:ext cx="212364" cy="212364"/>
            </a:xfrm>
            <a:prstGeom prst="ellipse">
              <a:avLst/>
            </a:prstGeom>
            <a:solidFill>
              <a:schemeClr val="accent1"/>
            </a:solidFill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ot="0" spcFirstLastPara="0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59" name="Arc 58">
              <a:extLst>
                <a:ext uri="{FF2B5EF4-FFF2-40B4-BE49-F238E27FC236}">
                  <a16:creationId xmlns="" xmlns:a16="http://schemas.microsoft.com/office/drawing/2014/main" id="{6A0208D0-2202-4068-9629-F81575FE5B60}"/>
                </a:ext>
              </a:extLst>
            </p:cNvPr>
            <p:cNvSpPr/>
            <p:nvPr/>
          </p:nvSpPr>
          <p:spPr bwMode="gray">
            <a:xfrm flipV="1">
              <a:off x="8184095" y="1313981"/>
              <a:ext cx="283644" cy="247373"/>
            </a:xfrm>
            <a:prstGeom prst="arc">
              <a:avLst>
                <a:gd name="adj1" fmla="val 11178900"/>
                <a:gd name="adj2" fmla="val 21075396"/>
              </a:avLst>
            </a:prstGeom>
            <a:ln w="19050" cap="flat">
              <a:solidFill>
                <a:schemeClr val="accent1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100" dirty="0"/>
            </a:p>
          </p:txBody>
        </p:sp>
        <p:sp>
          <p:nvSpPr>
            <p:cNvPr id="60" name="Isosceles Triangle 59">
              <a:extLst>
                <a:ext uri="{FF2B5EF4-FFF2-40B4-BE49-F238E27FC236}">
                  <a16:creationId xmlns="" xmlns:a16="http://schemas.microsoft.com/office/drawing/2014/main" id="{401D8938-53A8-4EF6-9FC7-7B0105B2302E}"/>
                </a:ext>
              </a:extLst>
            </p:cNvPr>
            <p:cNvSpPr>
              <a:spLocks noChangeAspect="1"/>
            </p:cNvSpPr>
            <p:nvPr/>
          </p:nvSpPr>
          <p:spPr bwMode="gray">
            <a:xfrm rot="11672904" flipV="1">
              <a:off x="8432310" y="1418179"/>
              <a:ext cx="73611" cy="63349"/>
            </a:xfrm>
            <a:prstGeom prst="triangle">
              <a:avLst/>
            </a:prstGeom>
            <a:solidFill>
              <a:schemeClr val="accent1"/>
            </a:solidFill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050" dirty="0">
                <a:solidFill>
                  <a:schemeClr val="tx1"/>
                </a:solidFill>
              </a:endParaRPr>
            </a:p>
          </p:txBody>
        </p:sp>
        <p:sp>
          <p:nvSpPr>
            <p:cNvPr id="61" name="Oval 60">
              <a:extLst>
                <a:ext uri="{FF2B5EF4-FFF2-40B4-BE49-F238E27FC236}">
                  <a16:creationId xmlns="" xmlns:a16="http://schemas.microsoft.com/office/drawing/2014/main" id="{98170558-834B-4009-B86E-FFC6DBC68739}"/>
                </a:ext>
              </a:extLst>
            </p:cNvPr>
            <p:cNvSpPr/>
            <p:nvPr/>
          </p:nvSpPr>
          <p:spPr>
            <a:xfrm>
              <a:off x="8306154" y="1537095"/>
              <a:ext cx="50253" cy="50252"/>
            </a:xfrm>
            <a:prstGeom prst="ellipse">
              <a:avLst/>
            </a:prstGeom>
            <a:solidFill>
              <a:schemeClr val="accent1"/>
            </a:solidFill>
            <a:ln w="12700" cap="flat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 b="1" dirty="0">
                <a:solidFill>
                  <a:schemeClr val="bg1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</p:grpSp>
      <p:sp>
        <p:nvSpPr>
          <p:cNvPr id="62" name="TextBox 61">
            <a:extLst>
              <a:ext uri="{FF2B5EF4-FFF2-40B4-BE49-F238E27FC236}">
                <a16:creationId xmlns="" xmlns:a16="http://schemas.microsoft.com/office/drawing/2014/main" id="{48D13E25-DCE9-4BCE-806B-429683B77FA6}"/>
              </a:ext>
            </a:extLst>
          </p:cNvPr>
          <p:cNvSpPr txBox="1"/>
          <p:nvPr/>
        </p:nvSpPr>
        <p:spPr>
          <a:xfrm>
            <a:off x="244474" y="1301507"/>
            <a:ext cx="6840220" cy="249299"/>
          </a:xfrm>
          <a:prstGeom prst="rect">
            <a:avLst/>
          </a:prstGeom>
          <a:noFill/>
          <a:ln w="6350" cap="flat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A5FFFF"/>
                </a:solidFill>
              </a14:hiddenFill>
            </a:ext>
          </a:extLst>
        </p:spPr>
        <p:txBody>
          <a:bodyPr vert="horz" wrap="square" lIns="365760" tIns="0" rIns="0" bIns="0" rtlCol="0" anchor="t" anchorCtr="0">
            <a:sp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2"/>
              </a:buClr>
            </a:pP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Machine Learning Modeling and Evaluation</a:t>
            </a:r>
          </a:p>
        </p:txBody>
      </p:sp>
      <p:sp>
        <p:nvSpPr>
          <p:cNvPr id="63" name="Oval 62">
            <a:extLst>
              <a:ext uri="{FF2B5EF4-FFF2-40B4-BE49-F238E27FC236}">
                <a16:creationId xmlns="" xmlns:a16="http://schemas.microsoft.com/office/drawing/2014/main" id="{3D60A96E-A8F3-4D57-873D-4053E79B24CA}"/>
              </a:ext>
            </a:extLst>
          </p:cNvPr>
          <p:cNvSpPr/>
          <p:nvPr/>
        </p:nvSpPr>
        <p:spPr>
          <a:xfrm>
            <a:off x="246380" y="1273567"/>
            <a:ext cx="279400" cy="279400"/>
          </a:xfrm>
          <a:prstGeom prst="ellipse">
            <a:avLst/>
          </a:prstGeom>
          <a:solidFill>
            <a:schemeClr val="accent1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1600" b="1" dirty="0">
                <a:solidFill>
                  <a:schemeClr val="bg1"/>
                </a:solidFill>
                <a:latin typeface="Arial" panose="020B0604020202020204" pitchFamily="34" charset="0"/>
                <a:cs typeface="Arial" pitchFamily="34" charset="0"/>
              </a:rPr>
              <a:t>5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="" xmlns:a16="http://schemas.microsoft.com/office/drawing/2014/main" id="{8CB181B4-F7F7-46DD-8436-013077DF9C04}"/>
              </a:ext>
            </a:extLst>
          </p:cNvPr>
          <p:cNvSpPr/>
          <p:nvPr/>
        </p:nvSpPr>
        <p:spPr>
          <a:xfrm>
            <a:off x="246381" y="1640822"/>
            <a:ext cx="8646794" cy="4020425"/>
          </a:xfrm>
          <a:prstGeom prst="rect">
            <a:avLst/>
          </a:prstGeom>
          <a:noFill/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97212" indent="-97212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12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Comparing Optimal Model in Sci-kit Learn with model output in PYCARET</a:t>
            </a:r>
            <a:endParaRPr lang="en-US" sz="12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26" name="Table 2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2859864"/>
              </p:ext>
            </p:extLst>
          </p:nvPr>
        </p:nvGraphicFramePr>
        <p:xfrm>
          <a:off x="1524000" y="2240868"/>
          <a:ext cx="6096000" cy="429768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048000"/>
                <a:gridCol w="3048000"/>
              </a:tblGrid>
              <a:tr h="564804">
                <a:tc>
                  <a:txBody>
                    <a:bodyPr/>
                    <a:lstStyle/>
                    <a:p>
                      <a:r>
                        <a:rPr lang="en-US" b="1" dirty="0" smtClean="0"/>
                        <a:t>RF-</a:t>
                      </a:r>
                      <a:r>
                        <a:rPr lang="en-US" b="1" dirty="0" err="1" smtClean="0"/>
                        <a:t>Scikit</a:t>
                      </a:r>
                      <a:r>
                        <a:rPr lang="en-US" b="1" dirty="0" smtClean="0"/>
                        <a:t>-Learn</a:t>
                      </a:r>
                      <a:r>
                        <a:rPr lang="en-US" b="1" baseline="0" dirty="0" smtClean="0"/>
                        <a:t> Feature Importance</a:t>
                      </a:r>
                      <a:endParaRPr lang="en-US" b="1" dirty="0"/>
                    </a:p>
                  </a:txBody>
                  <a:tcPr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b="1" dirty="0" smtClean="0"/>
                        <a:t>RF-</a:t>
                      </a:r>
                      <a:r>
                        <a:rPr lang="en-US" b="1" dirty="0" err="1" smtClean="0"/>
                        <a:t>Pycaret</a:t>
                      </a:r>
                      <a:r>
                        <a:rPr lang="en-US" b="1" dirty="0" smtClean="0"/>
                        <a:t> Feature Importance</a:t>
                      </a:r>
                      <a:endParaRPr lang="en-US" b="1" dirty="0"/>
                    </a:p>
                  </a:txBody>
                  <a:tcPr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</a:tr>
              <a:tr h="327228">
                <a:tc>
                  <a:txBody>
                    <a:bodyPr/>
                    <a:lstStyle/>
                    <a:p>
                      <a:r>
                        <a:rPr lang="en-US" dirty="0" smtClean="0"/>
                        <a:t>Online Boarding</a:t>
                      </a:r>
                      <a:endParaRPr lang="en-US" dirty="0"/>
                    </a:p>
                  </a:txBody>
                  <a:tcP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Online Boarding _5</a:t>
                      </a:r>
                      <a:endParaRPr lang="en-US" dirty="0"/>
                    </a:p>
                  </a:txBody>
                  <a:tcP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</a:tr>
              <a:tr h="327228">
                <a:tc>
                  <a:txBody>
                    <a:bodyPr/>
                    <a:lstStyle/>
                    <a:p>
                      <a:r>
                        <a:rPr lang="en-US" dirty="0" smtClean="0"/>
                        <a:t>Inflight Wi-Fi</a:t>
                      </a:r>
                    </a:p>
                  </a:txBody>
                  <a:tcP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Class_0</a:t>
                      </a:r>
                      <a:endParaRPr lang="en-US" dirty="0"/>
                    </a:p>
                  </a:txBody>
                  <a:tcP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</a:tr>
              <a:tr h="327228">
                <a:tc>
                  <a:txBody>
                    <a:bodyPr/>
                    <a:lstStyle/>
                    <a:p>
                      <a:r>
                        <a:rPr lang="en-US" dirty="0" smtClean="0"/>
                        <a:t>Class</a:t>
                      </a:r>
                      <a:endParaRPr lang="en-US" dirty="0"/>
                    </a:p>
                  </a:txBody>
                  <a:tcP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Inflight_Wi-Fi_5</a:t>
                      </a:r>
                      <a:endParaRPr lang="en-US" dirty="0"/>
                    </a:p>
                  </a:txBody>
                  <a:tcP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</a:tr>
              <a:tr h="327228">
                <a:tc>
                  <a:txBody>
                    <a:bodyPr/>
                    <a:lstStyle/>
                    <a:p>
                      <a:r>
                        <a:rPr lang="en-US" dirty="0" smtClean="0"/>
                        <a:t>Travel Type</a:t>
                      </a:r>
                      <a:endParaRPr lang="en-US" dirty="0"/>
                    </a:p>
                  </a:txBody>
                  <a:tcP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Travel Type_1</a:t>
                      </a:r>
                      <a:endParaRPr lang="en-US" dirty="0"/>
                    </a:p>
                  </a:txBody>
                  <a:tcP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</a:tr>
              <a:tr h="327228">
                <a:tc>
                  <a:txBody>
                    <a:bodyPr/>
                    <a:lstStyle/>
                    <a:p>
                      <a:r>
                        <a:rPr lang="en-US" dirty="0" smtClean="0"/>
                        <a:t>Inflight Entertainment</a:t>
                      </a:r>
                      <a:endParaRPr lang="en-US" dirty="0"/>
                    </a:p>
                  </a:txBody>
                  <a:tcP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Flight Distance</a:t>
                      </a:r>
                      <a:endParaRPr lang="en-US" dirty="0"/>
                    </a:p>
                  </a:txBody>
                  <a:tcP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</a:tr>
              <a:tr h="327228">
                <a:tc>
                  <a:txBody>
                    <a:bodyPr/>
                    <a:lstStyle/>
                    <a:p>
                      <a:r>
                        <a:rPr lang="en-US" dirty="0" smtClean="0"/>
                        <a:t>Ease of Online Booking</a:t>
                      </a:r>
                      <a:endParaRPr lang="en-US" dirty="0"/>
                    </a:p>
                  </a:txBody>
                  <a:tcP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Class_1</a:t>
                      </a:r>
                      <a:endParaRPr lang="en-US" dirty="0"/>
                    </a:p>
                  </a:txBody>
                  <a:tcP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</a:tr>
              <a:tr h="327228">
                <a:tc>
                  <a:txBody>
                    <a:bodyPr/>
                    <a:lstStyle/>
                    <a:p>
                      <a:r>
                        <a:rPr lang="en-US" dirty="0" smtClean="0"/>
                        <a:t>Seat Comfort</a:t>
                      </a:r>
                      <a:endParaRPr lang="en-US" dirty="0"/>
                    </a:p>
                  </a:txBody>
                  <a:tcP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Online Boarding_4</a:t>
                      </a:r>
                      <a:endParaRPr lang="en-US" dirty="0"/>
                    </a:p>
                  </a:txBody>
                  <a:tcP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</a:tr>
              <a:tr h="327228">
                <a:tc>
                  <a:txBody>
                    <a:bodyPr/>
                    <a:lstStyle/>
                    <a:p>
                      <a:r>
                        <a:rPr lang="en-US" dirty="0" smtClean="0"/>
                        <a:t>Customer Type</a:t>
                      </a:r>
                      <a:endParaRPr lang="en-US" dirty="0"/>
                    </a:p>
                  </a:txBody>
                  <a:tcP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Inflight</a:t>
                      </a:r>
                      <a:r>
                        <a:rPr lang="en-US" baseline="0" dirty="0" smtClean="0"/>
                        <a:t> Wi-Fi_0</a:t>
                      </a:r>
                      <a:endParaRPr lang="en-US" dirty="0"/>
                    </a:p>
                  </a:txBody>
                  <a:tcP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</a:tr>
              <a:tr h="327228">
                <a:tc>
                  <a:txBody>
                    <a:bodyPr/>
                    <a:lstStyle/>
                    <a:p>
                      <a:r>
                        <a:rPr lang="en-US" dirty="0" smtClean="0"/>
                        <a:t>Seat Pitch</a:t>
                      </a:r>
                      <a:endParaRPr lang="en-US" dirty="0"/>
                    </a:p>
                  </a:txBody>
                  <a:tcP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Age</a:t>
                      </a:r>
                      <a:endParaRPr lang="en-US" dirty="0"/>
                    </a:p>
                  </a:txBody>
                  <a:tcP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</a:tr>
              <a:tr h="327228">
                <a:tc>
                  <a:txBody>
                    <a:bodyPr/>
                    <a:lstStyle/>
                    <a:p>
                      <a:r>
                        <a:rPr lang="en-US" dirty="0" smtClean="0"/>
                        <a:t>Flight</a:t>
                      </a:r>
                      <a:r>
                        <a:rPr lang="en-US" baseline="0" dirty="0" smtClean="0"/>
                        <a:t> Distance</a:t>
                      </a:r>
                      <a:endParaRPr lang="en-US" dirty="0"/>
                    </a:p>
                  </a:txBody>
                  <a:tcP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Inflight_Wi-Fi 2</a:t>
                      </a:r>
                      <a:endParaRPr lang="en-US" dirty="0"/>
                    </a:p>
                  </a:txBody>
                  <a:tcP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28" name="Rectangle 27"/>
          <p:cNvSpPr/>
          <p:nvPr/>
        </p:nvSpPr>
        <p:spPr>
          <a:xfrm>
            <a:off x="1532012" y="2888940"/>
            <a:ext cx="3039988" cy="360040"/>
          </a:xfrm>
          <a:prstGeom prst="rect">
            <a:avLst/>
          </a:prstGeom>
          <a:solidFill>
            <a:srgbClr val="C0504D">
              <a:alpha val="0"/>
            </a:srgbClr>
          </a:solidFill>
          <a:ln w="57150" cmpd="sng">
            <a:solidFill>
              <a:srgbClr val="FF0000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US" sz="1400" dirty="0" err="1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2" name="Rectangle 31"/>
          <p:cNvSpPr/>
          <p:nvPr/>
        </p:nvSpPr>
        <p:spPr>
          <a:xfrm>
            <a:off x="1532012" y="3969060"/>
            <a:ext cx="3039988" cy="360040"/>
          </a:xfrm>
          <a:prstGeom prst="rect">
            <a:avLst/>
          </a:prstGeom>
          <a:solidFill>
            <a:srgbClr val="C0504D">
              <a:alpha val="0"/>
            </a:srgbClr>
          </a:solidFill>
          <a:ln w="57150" cmpd="sng">
            <a:solidFill>
              <a:srgbClr val="FF0000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US" sz="1400" dirty="0" err="1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3" name="Rectangle 32"/>
          <p:cNvSpPr/>
          <p:nvPr/>
        </p:nvSpPr>
        <p:spPr>
          <a:xfrm>
            <a:off x="1524000" y="6171848"/>
            <a:ext cx="3039988" cy="360040"/>
          </a:xfrm>
          <a:prstGeom prst="rect">
            <a:avLst/>
          </a:prstGeom>
          <a:solidFill>
            <a:srgbClr val="C0504D">
              <a:alpha val="0"/>
            </a:srgbClr>
          </a:solidFill>
          <a:ln w="57150" cmpd="sng">
            <a:solidFill>
              <a:srgbClr val="FF0000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US" sz="1400" dirty="0" err="1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4" name="Rectangle 33"/>
          <p:cNvSpPr/>
          <p:nvPr/>
        </p:nvSpPr>
        <p:spPr>
          <a:xfrm>
            <a:off x="4556348" y="2886720"/>
            <a:ext cx="3039988" cy="360040"/>
          </a:xfrm>
          <a:prstGeom prst="rect">
            <a:avLst/>
          </a:prstGeom>
          <a:solidFill>
            <a:srgbClr val="C0504D">
              <a:alpha val="0"/>
            </a:srgbClr>
          </a:solidFill>
          <a:ln w="57150" cmpd="sng">
            <a:solidFill>
              <a:srgbClr val="FF0000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US" sz="1400" dirty="0" err="1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5" name="Rectangle 34"/>
          <p:cNvSpPr/>
          <p:nvPr/>
        </p:nvSpPr>
        <p:spPr>
          <a:xfrm>
            <a:off x="4565145" y="3244540"/>
            <a:ext cx="3031191" cy="360040"/>
          </a:xfrm>
          <a:prstGeom prst="rect">
            <a:avLst/>
          </a:prstGeom>
          <a:solidFill>
            <a:srgbClr val="C0504D">
              <a:alpha val="0"/>
            </a:srgbClr>
          </a:solidFill>
          <a:ln w="57150" cmpd="sng">
            <a:solidFill>
              <a:srgbClr val="FF0000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US" sz="1400" dirty="0" err="1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7" name="Rectangle 36"/>
          <p:cNvSpPr/>
          <p:nvPr/>
        </p:nvSpPr>
        <p:spPr>
          <a:xfrm>
            <a:off x="4556348" y="3969060"/>
            <a:ext cx="3039988" cy="360040"/>
          </a:xfrm>
          <a:prstGeom prst="rect">
            <a:avLst/>
          </a:prstGeom>
          <a:solidFill>
            <a:srgbClr val="C0504D">
              <a:alpha val="0"/>
            </a:srgbClr>
          </a:solidFill>
          <a:ln w="57150" cmpd="sng">
            <a:solidFill>
              <a:srgbClr val="FF0000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US" sz="1400" dirty="0" err="1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8" name="Rectangle 37"/>
          <p:cNvSpPr/>
          <p:nvPr/>
        </p:nvSpPr>
        <p:spPr>
          <a:xfrm>
            <a:off x="4556348" y="4335347"/>
            <a:ext cx="3039988" cy="360040"/>
          </a:xfrm>
          <a:prstGeom prst="rect">
            <a:avLst/>
          </a:prstGeom>
          <a:solidFill>
            <a:srgbClr val="C0504D">
              <a:alpha val="0"/>
            </a:srgbClr>
          </a:solidFill>
          <a:ln w="57150" cmpd="sng">
            <a:solidFill>
              <a:srgbClr val="FF0000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US" sz="1400" dirty="0" err="1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9" name="Rectangle 38"/>
          <p:cNvSpPr/>
          <p:nvPr/>
        </p:nvSpPr>
        <p:spPr>
          <a:xfrm>
            <a:off x="4556348" y="4695387"/>
            <a:ext cx="3039988" cy="360040"/>
          </a:xfrm>
          <a:prstGeom prst="rect">
            <a:avLst/>
          </a:prstGeom>
          <a:solidFill>
            <a:srgbClr val="C0504D">
              <a:alpha val="0"/>
            </a:srgbClr>
          </a:solidFill>
          <a:ln w="57150" cmpd="sng">
            <a:solidFill>
              <a:srgbClr val="FF0000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US" sz="1400" dirty="0" err="1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0" name="Rectangle 39"/>
          <p:cNvSpPr/>
          <p:nvPr/>
        </p:nvSpPr>
        <p:spPr>
          <a:xfrm>
            <a:off x="4572000" y="5445224"/>
            <a:ext cx="3039988" cy="360040"/>
          </a:xfrm>
          <a:prstGeom prst="rect">
            <a:avLst/>
          </a:prstGeom>
          <a:solidFill>
            <a:srgbClr val="C0504D">
              <a:alpha val="0"/>
            </a:srgbClr>
          </a:solidFill>
          <a:ln w="57150" cmpd="sng">
            <a:solidFill>
              <a:srgbClr val="FF0000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US" sz="1400" dirty="0" err="1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1" name="Rectangle 40"/>
          <p:cNvSpPr/>
          <p:nvPr/>
        </p:nvSpPr>
        <p:spPr>
          <a:xfrm>
            <a:off x="4572000" y="6171848"/>
            <a:ext cx="3039988" cy="360040"/>
          </a:xfrm>
          <a:prstGeom prst="rect">
            <a:avLst/>
          </a:prstGeom>
          <a:solidFill>
            <a:srgbClr val="C0504D">
              <a:alpha val="0"/>
            </a:srgbClr>
          </a:solidFill>
          <a:ln w="57150" cmpd="sng">
            <a:solidFill>
              <a:srgbClr val="FF0000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US" sz="1400" dirty="0" err="1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2" name="Rectangle 41"/>
          <p:cNvSpPr/>
          <p:nvPr/>
        </p:nvSpPr>
        <p:spPr>
          <a:xfrm>
            <a:off x="4562925" y="3604580"/>
            <a:ext cx="3031191" cy="360040"/>
          </a:xfrm>
          <a:prstGeom prst="rect">
            <a:avLst/>
          </a:prstGeom>
          <a:solidFill>
            <a:srgbClr val="C0504D">
              <a:alpha val="0"/>
            </a:srgbClr>
          </a:solidFill>
          <a:ln w="57150" cmpd="sng">
            <a:solidFill>
              <a:srgbClr val="FF0000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US" sz="1400" dirty="0" err="1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3" name="Rectangle 42"/>
          <p:cNvSpPr/>
          <p:nvPr/>
        </p:nvSpPr>
        <p:spPr>
          <a:xfrm>
            <a:off x="1532012" y="3248980"/>
            <a:ext cx="3039988" cy="360040"/>
          </a:xfrm>
          <a:prstGeom prst="rect">
            <a:avLst/>
          </a:prstGeom>
          <a:solidFill>
            <a:srgbClr val="C0504D">
              <a:alpha val="0"/>
            </a:srgbClr>
          </a:solidFill>
          <a:ln w="57150" cmpd="sng">
            <a:solidFill>
              <a:srgbClr val="FF0000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US" sz="1400" dirty="0" err="1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4" name="Rectangle 43"/>
          <p:cNvSpPr/>
          <p:nvPr/>
        </p:nvSpPr>
        <p:spPr>
          <a:xfrm>
            <a:off x="1532012" y="3604580"/>
            <a:ext cx="3039988" cy="360040"/>
          </a:xfrm>
          <a:prstGeom prst="rect">
            <a:avLst/>
          </a:prstGeom>
          <a:solidFill>
            <a:srgbClr val="C0504D">
              <a:alpha val="0"/>
            </a:srgbClr>
          </a:solidFill>
          <a:ln w="57150" cmpd="sng">
            <a:solidFill>
              <a:srgbClr val="FF0000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US" sz="1400" dirty="0" err="1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9978803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AA16B7AC-F676-4F67-8813-4F8F68AAD7D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37718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204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="" xmlns:a16="http://schemas.microsoft.com/office/drawing/2014/main" id="{260A3D96-399B-450E-B597-24C3AA9AE05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US" sz="240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7956AB31-F718-491D-AAC7-99EB166076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4507" y="493495"/>
            <a:ext cx="7604094" cy="338554"/>
          </a:xfrm>
        </p:spPr>
        <p:txBody>
          <a:bodyPr/>
          <a:lstStyle/>
          <a:p>
            <a:r>
              <a:rPr lang="en-US" b="1" dirty="0"/>
              <a:t>Key</a:t>
            </a:r>
            <a:r>
              <a:rPr lang="en-US" dirty="0"/>
              <a:t> </a:t>
            </a:r>
            <a:r>
              <a:rPr lang="en-US" b="1" dirty="0"/>
              <a:t>Results</a:t>
            </a:r>
          </a:p>
        </p:txBody>
      </p:sp>
      <p:sp>
        <p:nvSpPr>
          <p:cNvPr id="12" name="Isosceles Triangle 11">
            <a:extLst>
              <a:ext uri="{FF2B5EF4-FFF2-40B4-BE49-F238E27FC236}">
                <a16:creationId xmlns="" xmlns:a16="http://schemas.microsoft.com/office/drawing/2014/main" id="{35B3CE62-F491-498C-8FB7-E66CFD69DB95}"/>
              </a:ext>
            </a:extLst>
          </p:cNvPr>
          <p:cNvSpPr>
            <a:spLocks noChangeAspect="1"/>
          </p:cNvSpPr>
          <p:nvPr/>
        </p:nvSpPr>
        <p:spPr bwMode="gray">
          <a:xfrm rot="9927096">
            <a:off x="8132907" y="1349645"/>
            <a:ext cx="73611" cy="63458"/>
          </a:xfrm>
          <a:prstGeom prst="triangle">
            <a:avLst/>
          </a:prstGeom>
          <a:solidFill>
            <a:schemeClr val="bg2"/>
          </a:solidFill>
          <a:ln w="9525">
            <a:solidFill>
              <a:srgbClr val="007F7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050" dirty="0">
              <a:solidFill>
                <a:schemeClr val="tx1"/>
              </a:solidFill>
            </a:endParaRPr>
          </a:p>
        </p:txBody>
      </p:sp>
      <p:sp>
        <p:nvSpPr>
          <p:cNvPr id="13" name="Oval 12">
            <a:extLst>
              <a:ext uri="{FF2B5EF4-FFF2-40B4-BE49-F238E27FC236}">
                <a16:creationId xmlns="" xmlns:a16="http://schemas.microsoft.com/office/drawing/2014/main" id="{D5057345-1014-4E3D-8249-CA3762D4EBD7}"/>
              </a:ext>
            </a:extLst>
          </p:cNvPr>
          <p:cNvSpPr/>
          <p:nvPr/>
        </p:nvSpPr>
        <p:spPr>
          <a:xfrm>
            <a:off x="8002635" y="1243852"/>
            <a:ext cx="50253" cy="50252"/>
          </a:xfrm>
          <a:prstGeom prst="ellipse">
            <a:avLst/>
          </a:prstGeom>
          <a:solidFill>
            <a:schemeClr val="bg2"/>
          </a:solidFill>
          <a:ln w="12700" cap="flat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US" b="1" dirty="0">
              <a:solidFill>
                <a:schemeClr val="bg1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19" name="Oval 18">
            <a:extLst>
              <a:ext uri="{FF2B5EF4-FFF2-40B4-BE49-F238E27FC236}">
                <a16:creationId xmlns="" xmlns:a16="http://schemas.microsoft.com/office/drawing/2014/main" id="{3E98A2CE-5146-4C5F-A545-6FDD7370DFB0}"/>
              </a:ext>
            </a:extLst>
          </p:cNvPr>
          <p:cNvSpPr/>
          <p:nvPr/>
        </p:nvSpPr>
        <p:spPr>
          <a:xfrm>
            <a:off x="7921579" y="1349312"/>
            <a:ext cx="212364" cy="212364"/>
          </a:xfrm>
          <a:prstGeom prst="ellipse">
            <a:avLst/>
          </a:prstGeom>
          <a:solidFill>
            <a:schemeClr val="bg2"/>
          </a:solidFill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ot="0" spcFirstLastPara="0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sp>
        <p:nvSpPr>
          <p:cNvPr id="20" name="Arc 19">
            <a:extLst>
              <a:ext uri="{FF2B5EF4-FFF2-40B4-BE49-F238E27FC236}">
                <a16:creationId xmlns="" xmlns:a16="http://schemas.microsoft.com/office/drawing/2014/main" id="{A0AB8420-2770-4899-AC43-A47624E481BC}"/>
              </a:ext>
            </a:extLst>
          </p:cNvPr>
          <p:cNvSpPr/>
          <p:nvPr/>
        </p:nvSpPr>
        <p:spPr bwMode="gray">
          <a:xfrm>
            <a:off x="7883769" y="1267966"/>
            <a:ext cx="283644" cy="247796"/>
          </a:xfrm>
          <a:prstGeom prst="arc">
            <a:avLst>
              <a:gd name="adj1" fmla="val 11178900"/>
              <a:gd name="adj2" fmla="val 21075396"/>
            </a:avLst>
          </a:prstGeom>
          <a:ln w="19050" cap="flat">
            <a:solidFill>
              <a:schemeClr val="bg2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100" dirty="0"/>
          </a:p>
        </p:txBody>
      </p:sp>
      <p:sp>
        <p:nvSpPr>
          <p:cNvPr id="22" name="Oval 21">
            <a:extLst>
              <a:ext uri="{FF2B5EF4-FFF2-40B4-BE49-F238E27FC236}">
                <a16:creationId xmlns="" xmlns:a16="http://schemas.microsoft.com/office/drawing/2014/main" id="{22C1417D-C0DF-425F-B1EA-C0A7EC164858}"/>
              </a:ext>
            </a:extLst>
          </p:cNvPr>
          <p:cNvSpPr/>
          <p:nvPr/>
        </p:nvSpPr>
        <p:spPr>
          <a:xfrm>
            <a:off x="8225098" y="1244357"/>
            <a:ext cx="212364" cy="212364"/>
          </a:xfrm>
          <a:prstGeom prst="ellipse">
            <a:avLst/>
          </a:prstGeom>
          <a:solidFill>
            <a:schemeClr val="accent1"/>
          </a:solidFill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ot="0" spcFirstLastPara="0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sp>
        <p:nvSpPr>
          <p:cNvPr id="23" name="Arc 22">
            <a:extLst>
              <a:ext uri="{FF2B5EF4-FFF2-40B4-BE49-F238E27FC236}">
                <a16:creationId xmlns="" xmlns:a16="http://schemas.microsoft.com/office/drawing/2014/main" id="{6A0208D0-2202-4068-9629-F81575FE5B60}"/>
              </a:ext>
            </a:extLst>
          </p:cNvPr>
          <p:cNvSpPr/>
          <p:nvPr/>
        </p:nvSpPr>
        <p:spPr bwMode="gray">
          <a:xfrm flipV="1">
            <a:off x="8184095" y="1313981"/>
            <a:ext cx="283644" cy="247373"/>
          </a:xfrm>
          <a:prstGeom prst="arc">
            <a:avLst>
              <a:gd name="adj1" fmla="val 11178900"/>
              <a:gd name="adj2" fmla="val 21075396"/>
            </a:avLst>
          </a:prstGeom>
          <a:ln w="19050" cap="flat">
            <a:solidFill>
              <a:schemeClr val="accent1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100" dirty="0"/>
          </a:p>
        </p:txBody>
      </p:sp>
      <p:sp>
        <p:nvSpPr>
          <p:cNvPr id="24" name="Isosceles Triangle 23">
            <a:extLst>
              <a:ext uri="{FF2B5EF4-FFF2-40B4-BE49-F238E27FC236}">
                <a16:creationId xmlns="" xmlns:a16="http://schemas.microsoft.com/office/drawing/2014/main" id="{401D8938-53A8-4EF6-9FC7-7B0105B2302E}"/>
              </a:ext>
            </a:extLst>
          </p:cNvPr>
          <p:cNvSpPr>
            <a:spLocks noChangeAspect="1"/>
          </p:cNvSpPr>
          <p:nvPr/>
        </p:nvSpPr>
        <p:spPr bwMode="gray">
          <a:xfrm rot="11672904" flipV="1">
            <a:off x="8432310" y="1418179"/>
            <a:ext cx="73611" cy="63349"/>
          </a:xfrm>
          <a:prstGeom prst="triangle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050" dirty="0">
              <a:solidFill>
                <a:schemeClr val="tx1"/>
              </a:solidFill>
            </a:endParaRPr>
          </a:p>
        </p:txBody>
      </p:sp>
      <p:sp>
        <p:nvSpPr>
          <p:cNvPr id="25" name="Oval 24">
            <a:extLst>
              <a:ext uri="{FF2B5EF4-FFF2-40B4-BE49-F238E27FC236}">
                <a16:creationId xmlns="" xmlns:a16="http://schemas.microsoft.com/office/drawing/2014/main" id="{98170558-834B-4009-B86E-FFC6DBC68739}"/>
              </a:ext>
            </a:extLst>
          </p:cNvPr>
          <p:cNvSpPr/>
          <p:nvPr/>
        </p:nvSpPr>
        <p:spPr>
          <a:xfrm>
            <a:off x="8306154" y="1537095"/>
            <a:ext cx="50253" cy="50252"/>
          </a:xfrm>
          <a:prstGeom prst="ellipse">
            <a:avLst/>
          </a:prstGeom>
          <a:solidFill>
            <a:schemeClr val="accent1"/>
          </a:solidFill>
          <a:ln w="12700" cap="flat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US" b="1" dirty="0">
              <a:solidFill>
                <a:schemeClr val="bg1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="" xmlns:a16="http://schemas.microsoft.com/office/drawing/2014/main" id="{74EF4513-3A8D-479D-8506-B04D34BAD5EF}"/>
              </a:ext>
            </a:extLst>
          </p:cNvPr>
          <p:cNvSpPr/>
          <p:nvPr/>
        </p:nvSpPr>
        <p:spPr>
          <a:xfrm>
            <a:off x="7877395" y="1225848"/>
            <a:ext cx="624820" cy="385342"/>
          </a:xfrm>
          <a:prstGeom prst="rect">
            <a:avLst/>
          </a:prstGeom>
          <a:solidFill>
            <a:schemeClr val="bg1">
              <a:alpha val="80000"/>
            </a:schemeClr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US" sz="1400" dirty="0" err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4" name="Oval 33">
            <a:extLst>
              <a:ext uri="{FF2B5EF4-FFF2-40B4-BE49-F238E27FC236}">
                <a16:creationId xmlns="" xmlns:a16="http://schemas.microsoft.com/office/drawing/2014/main" id="{1E23AC5D-AF52-4337-959B-08FA5F4FFE7C}"/>
              </a:ext>
            </a:extLst>
          </p:cNvPr>
          <p:cNvSpPr/>
          <p:nvPr/>
        </p:nvSpPr>
        <p:spPr>
          <a:xfrm>
            <a:off x="8530035" y="1349312"/>
            <a:ext cx="212364" cy="212364"/>
          </a:xfrm>
          <a:prstGeom prst="ellipse">
            <a:avLst/>
          </a:prstGeom>
          <a:solidFill>
            <a:schemeClr val="accent5"/>
          </a:solidFill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ot="0" spcFirstLastPara="0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sp>
        <p:nvSpPr>
          <p:cNvPr id="35" name="Arc 34">
            <a:extLst>
              <a:ext uri="{FF2B5EF4-FFF2-40B4-BE49-F238E27FC236}">
                <a16:creationId xmlns="" xmlns:a16="http://schemas.microsoft.com/office/drawing/2014/main" id="{2E909D16-7872-40C2-9C88-E299FF68714C}"/>
              </a:ext>
            </a:extLst>
          </p:cNvPr>
          <p:cNvSpPr/>
          <p:nvPr/>
        </p:nvSpPr>
        <p:spPr bwMode="gray">
          <a:xfrm>
            <a:off x="8486575" y="1267966"/>
            <a:ext cx="283644" cy="247796"/>
          </a:xfrm>
          <a:prstGeom prst="arc">
            <a:avLst>
              <a:gd name="adj1" fmla="val 11178900"/>
              <a:gd name="adj2" fmla="val 21075396"/>
            </a:avLst>
          </a:prstGeom>
          <a:ln w="19050" cap="flat">
            <a:solidFill>
              <a:schemeClr val="accent5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100" dirty="0"/>
          </a:p>
        </p:txBody>
      </p:sp>
      <p:sp>
        <p:nvSpPr>
          <p:cNvPr id="36" name="Isosceles Triangle 35">
            <a:extLst>
              <a:ext uri="{FF2B5EF4-FFF2-40B4-BE49-F238E27FC236}">
                <a16:creationId xmlns="" xmlns:a16="http://schemas.microsoft.com/office/drawing/2014/main" id="{FFD7579F-0F9B-4C5B-989E-DEE6994238F7}"/>
              </a:ext>
            </a:extLst>
          </p:cNvPr>
          <p:cNvSpPr>
            <a:spLocks noChangeAspect="1"/>
          </p:cNvSpPr>
          <p:nvPr/>
        </p:nvSpPr>
        <p:spPr bwMode="gray">
          <a:xfrm rot="9927096">
            <a:off x="8734789" y="1347929"/>
            <a:ext cx="73611" cy="63458"/>
          </a:xfrm>
          <a:prstGeom prst="triangle">
            <a:avLst/>
          </a:prstGeom>
          <a:solidFill>
            <a:schemeClr val="accent5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050" dirty="0">
              <a:solidFill>
                <a:schemeClr val="tx1"/>
              </a:solidFill>
            </a:endParaRPr>
          </a:p>
        </p:txBody>
      </p:sp>
      <p:sp>
        <p:nvSpPr>
          <p:cNvPr id="37" name="Oval 36">
            <a:extLst>
              <a:ext uri="{FF2B5EF4-FFF2-40B4-BE49-F238E27FC236}">
                <a16:creationId xmlns="" xmlns:a16="http://schemas.microsoft.com/office/drawing/2014/main" id="{A8753EB7-BF7E-4FD9-AF8B-BB280AD4226A}"/>
              </a:ext>
            </a:extLst>
          </p:cNvPr>
          <p:cNvSpPr/>
          <p:nvPr/>
        </p:nvSpPr>
        <p:spPr>
          <a:xfrm>
            <a:off x="8611091" y="1243852"/>
            <a:ext cx="50253" cy="50252"/>
          </a:xfrm>
          <a:prstGeom prst="ellipse">
            <a:avLst/>
          </a:prstGeom>
          <a:solidFill>
            <a:schemeClr val="accent5"/>
          </a:solidFill>
          <a:ln w="12700" cap="flat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US" b="1" dirty="0">
              <a:solidFill>
                <a:schemeClr val="bg1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="" xmlns:a16="http://schemas.microsoft.com/office/drawing/2014/main" id="{8CB181B4-F7F7-46DD-8436-013077DF9C04}"/>
              </a:ext>
            </a:extLst>
          </p:cNvPr>
          <p:cNvSpPr/>
          <p:nvPr/>
        </p:nvSpPr>
        <p:spPr>
          <a:xfrm>
            <a:off x="246381" y="1640822"/>
            <a:ext cx="8646794" cy="4020425"/>
          </a:xfrm>
          <a:prstGeom prst="rect">
            <a:avLst/>
          </a:prstGeom>
          <a:noFill/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97212" indent="-97212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</a:pPr>
            <a:endParaRPr lang="en-US" sz="12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="" xmlns:a16="http://schemas.microsoft.com/office/drawing/2014/main" id="{8CB181B4-F7F7-46DD-8436-013077DF9C04}"/>
              </a:ext>
            </a:extLst>
          </p:cNvPr>
          <p:cNvSpPr/>
          <p:nvPr/>
        </p:nvSpPr>
        <p:spPr>
          <a:xfrm>
            <a:off x="398781" y="1793222"/>
            <a:ext cx="8646794" cy="4020425"/>
          </a:xfrm>
          <a:prstGeom prst="rect">
            <a:avLst/>
          </a:prstGeom>
          <a:noFill/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97212" indent="-97212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Random Forest Classification gave the most accurate predications for Churn Rates</a:t>
            </a:r>
          </a:p>
          <a:p>
            <a:pPr marL="97212" indent="-97212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Key Features that must be taken into consideration in any future revamp to enhance airline customer base (in order of importance):</a:t>
            </a:r>
          </a:p>
          <a:p>
            <a:pPr marL="1011612" lvl="2" indent="-97212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Online Boarding</a:t>
            </a:r>
          </a:p>
          <a:p>
            <a:pPr marL="1011612" lvl="2" indent="-97212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Inflight Wi-Fi</a:t>
            </a:r>
          </a:p>
          <a:p>
            <a:pPr marL="1011612" lvl="2" indent="-97212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Class Type</a:t>
            </a:r>
          </a:p>
          <a:p>
            <a:pPr marL="1011612" lvl="2" indent="-97212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Travel Type</a:t>
            </a:r>
          </a:p>
          <a:p>
            <a:pPr marL="1011612" lvl="2" indent="-97212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Inflight Entertainment</a:t>
            </a:r>
          </a:p>
          <a:p>
            <a:pPr marL="1011612" lvl="2" indent="-97212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Easy Online Booking</a:t>
            </a:r>
          </a:p>
          <a:p>
            <a:pPr marL="1011612" lvl="2" indent="-97212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Seat Comfort</a:t>
            </a:r>
          </a:p>
          <a:p>
            <a:pPr marL="1011612" lvl="2" indent="-97212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Customer Type</a:t>
            </a:r>
          </a:p>
          <a:p>
            <a:pPr marL="1011612" lvl="2" indent="-97212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Seat Pitch</a:t>
            </a:r>
          </a:p>
          <a:p>
            <a:pPr marL="1011612" lvl="2" indent="-97212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Flight Distance</a:t>
            </a:r>
            <a:endParaRPr lang="en-US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  <a:p>
            <a:pPr marL="1011612" lvl="2" indent="-97212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</a:pPr>
            <a:endParaRPr lang="en-US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="" xmlns:a16="http://schemas.microsoft.com/office/drawing/2014/main" id="{48D13E25-DCE9-4BCE-806B-429683B77FA6}"/>
              </a:ext>
            </a:extLst>
          </p:cNvPr>
          <p:cNvSpPr txBox="1"/>
          <p:nvPr/>
        </p:nvSpPr>
        <p:spPr>
          <a:xfrm>
            <a:off x="115598" y="1301507"/>
            <a:ext cx="7084694" cy="253916"/>
          </a:xfrm>
          <a:prstGeom prst="rect">
            <a:avLst/>
          </a:prstGeom>
          <a:noFill/>
          <a:ln w="6350" cap="flat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A5FFFF"/>
                </a:solidFill>
              </a14:hiddenFill>
            </a:ext>
          </a:extLst>
        </p:spPr>
        <p:txBody>
          <a:bodyPr vert="horz" wrap="square" lIns="365760" tIns="0" rIns="0" bIns="0" rtlCol="0" anchor="t" anchorCtr="0">
            <a:sp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2"/>
              </a:buClr>
            </a:pPr>
            <a:r>
              <a:rPr lang="en-US" b="1" dirty="0" smtClean="0">
                <a:latin typeface="Arial" panose="020B0604020202020204" pitchFamily="34" charset="0"/>
                <a:cs typeface="Arial" panose="020B0604020202020204" pitchFamily="34" charset="0"/>
              </a:rPr>
              <a:t>Conclusion</a:t>
            </a:r>
            <a:endParaRPr lang="en-US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2470" name="Google Shape;1279;p44"/>
          <p:cNvGrpSpPr/>
          <p:nvPr/>
        </p:nvGrpSpPr>
        <p:grpSpPr>
          <a:xfrm>
            <a:off x="4895338" y="3616914"/>
            <a:ext cx="2628990" cy="2260358"/>
            <a:chOff x="3064200" y="238125"/>
            <a:chExt cx="1152975" cy="1152625"/>
          </a:xfrm>
        </p:grpSpPr>
        <p:sp>
          <p:nvSpPr>
            <p:cNvPr id="2471" name="Google Shape;1280;p44"/>
            <p:cNvSpPr/>
            <p:nvPr/>
          </p:nvSpPr>
          <p:spPr>
            <a:xfrm>
              <a:off x="4026950" y="723275"/>
              <a:ext cx="169700" cy="169500"/>
            </a:xfrm>
            <a:custGeom>
              <a:avLst/>
              <a:gdLst/>
              <a:ahLst/>
              <a:cxnLst/>
              <a:rect l="l" t="t" r="r" b="b"/>
              <a:pathLst>
                <a:path w="6788" h="6780" extrusionOk="0">
                  <a:moveTo>
                    <a:pt x="3404" y="0"/>
                  </a:moveTo>
                  <a:lnTo>
                    <a:pt x="0" y="3404"/>
                  </a:lnTo>
                  <a:lnTo>
                    <a:pt x="3383" y="6780"/>
                  </a:lnTo>
                  <a:lnTo>
                    <a:pt x="6787" y="3383"/>
                  </a:lnTo>
                  <a:lnTo>
                    <a:pt x="3404" y="0"/>
                  </a:lnTo>
                  <a:close/>
                </a:path>
              </a:pathLst>
            </a:custGeom>
            <a:solidFill>
              <a:srgbClr val="E4F0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72" name="Google Shape;1281;p44"/>
            <p:cNvSpPr/>
            <p:nvPr/>
          </p:nvSpPr>
          <p:spPr>
            <a:xfrm>
              <a:off x="4112050" y="703075"/>
              <a:ext cx="105125" cy="104775"/>
            </a:xfrm>
            <a:custGeom>
              <a:avLst/>
              <a:gdLst/>
              <a:ahLst/>
              <a:cxnLst/>
              <a:rect l="l" t="t" r="r" b="b"/>
              <a:pathLst>
                <a:path w="4205" h="4191" extrusionOk="0">
                  <a:moveTo>
                    <a:pt x="892" y="1"/>
                  </a:moveTo>
                  <a:cubicBezTo>
                    <a:pt x="839" y="1"/>
                    <a:pt x="786" y="22"/>
                    <a:pt x="744" y="64"/>
                  </a:cubicBezTo>
                  <a:lnTo>
                    <a:pt x="0" y="808"/>
                  </a:lnTo>
                  <a:lnTo>
                    <a:pt x="3383" y="4191"/>
                  </a:lnTo>
                  <a:lnTo>
                    <a:pt x="4127" y="3440"/>
                  </a:lnTo>
                  <a:cubicBezTo>
                    <a:pt x="4204" y="3363"/>
                    <a:pt x="4204" y="3229"/>
                    <a:pt x="4127" y="3152"/>
                  </a:cubicBezTo>
                  <a:lnTo>
                    <a:pt x="1039" y="64"/>
                  </a:lnTo>
                  <a:cubicBezTo>
                    <a:pt x="997" y="22"/>
                    <a:pt x="944" y="1"/>
                    <a:pt x="892" y="1"/>
                  </a:cubicBezTo>
                  <a:close/>
                </a:path>
              </a:pathLst>
            </a:custGeom>
            <a:solidFill>
              <a:srgbClr val="88BE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73" name="Google Shape;1282;p44"/>
            <p:cNvSpPr/>
            <p:nvPr/>
          </p:nvSpPr>
          <p:spPr>
            <a:xfrm>
              <a:off x="4010100" y="808350"/>
              <a:ext cx="101450" cy="101450"/>
            </a:xfrm>
            <a:custGeom>
              <a:avLst/>
              <a:gdLst/>
              <a:ahLst/>
              <a:cxnLst/>
              <a:rect l="l" t="t" r="r" b="b"/>
              <a:pathLst>
                <a:path w="4058" h="4058" extrusionOk="0">
                  <a:moveTo>
                    <a:pt x="674" y="1"/>
                  </a:moveTo>
                  <a:lnTo>
                    <a:pt x="1" y="2436"/>
                  </a:lnTo>
                  <a:lnTo>
                    <a:pt x="1615" y="4058"/>
                  </a:lnTo>
                  <a:lnTo>
                    <a:pt x="4057" y="3377"/>
                  </a:lnTo>
                  <a:lnTo>
                    <a:pt x="674" y="1"/>
                  </a:lnTo>
                  <a:close/>
                </a:path>
              </a:pathLst>
            </a:custGeom>
            <a:solidFill>
              <a:srgbClr val="88BE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74" name="Google Shape;1283;p44"/>
            <p:cNvSpPr/>
            <p:nvPr/>
          </p:nvSpPr>
          <p:spPr>
            <a:xfrm>
              <a:off x="4026950" y="723275"/>
              <a:ext cx="101075" cy="101075"/>
            </a:xfrm>
            <a:custGeom>
              <a:avLst/>
              <a:gdLst/>
              <a:ahLst/>
              <a:cxnLst/>
              <a:rect l="l" t="t" r="r" b="b"/>
              <a:pathLst>
                <a:path w="4043" h="4043" extrusionOk="0">
                  <a:moveTo>
                    <a:pt x="3404" y="0"/>
                  </a:moveTo>
                  <a:lnTo>
                    <a:pt x="0" y="3404"/>
                  </a:lnTo>
                  <a:lnTo>
                    <a:pt x="646" y="4043"/>
                  </a:lnTo>
                  <a:lnTo>
                    <a:pt x="4043" y="639"/>
                  </a:lnTo>
                  <a:lnTo>
                    <a:pt x="340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75" name="Google Shape;1284;p44"/>
            <p:cNvSpPr/>
            <p:nvPr/>
          </p:nvSpPr>
          <p:spPr>
            <a:xfrm>
              <a:off x="4112050" y="707725"/>
              <a:ext cx="38450" cy="31525"/>
            </a:xfrm>
            <a:custGeom>
              <a:avLst/>
              <a:gdLst/>
              <a:ahLst/>
              <a:cxnLst/>
              <a:rect l="l" t="t" r="r" b="b"/>
              <a:pathLst>
                <a:path w="1538" h="1261" extrusionOk="0">
                  <a:moveTo>
                    <a:pt x="892" y="1"/>
                  </a:moveTo>
                  <a:cubicBezTo>
                    <a:pt x="721" y="1"/>
                    <a:pt x="551" y="68"/>
                    <a:pt x="421" y="201"/>
                  </a:cubicBezTo>
                  <a:lnTo>
                    <a:pt x="0" y="622"/>
                  </a:lnTo>
                  <a:lnTo>
                    <a:pt x="639" y="1261"/>
                  </a:lnTo>
                  <a:lnTo>
                    <a:pt x="1537" y="376"/>
                  </a:lnTo>
                  <a:lnTo>
                    <a:pt x="1362" y="201"/>
                  </a:lnTo>
                  <a:cubicBezTo>
                    <a:pt x="1232" y="68"/>
                    <a:pt x="1062" y="1"/>
                    <a:pt x="892" y="1"/>
                  </a:cubicBezTo>
                  <a:close/>
                </a:path>
              </a:pathLst>
            </a:custGeom>
            <a:solidFill>
              <a:srgbClr val="B0D4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76" name="Google Shape;1285;p44"/>
            <p:cNvSpPr/>
            <p:nvPr/>
          </p:nvSpPr>
          <p:spPr>
            <a:xfrm>
              <a:off x="4014675" y="808350"/>
              <a:ext cx="28425" cy="44425"/>
            </a:xfrm>
            <a:custGeom>
              <a:avLst/>
              <a:gdLst/>
              <a:ahLst/>
              <a:cxnLst/>
              <a:rect l="l" t="t" r="r" b="b"/>
              <a:pathLst>
                <a:path w="1137" h="1777" extrusionOk="0">
                  <a:moveTo>
                    <a:pt x="491" y="1"/>
                  </a:moveTo>
                  <a:lnTo>
                    <a:pt x="0" y="1777"/>
                  </a:lnTo>
                  <a:lnTo>
                    <a:pt x="1137" y="640"/>
                  </a:lnTo>
                  <a:lnTo>
                    <a:pt x="491" y="1"/>
                  </a:lnTo>
                  <a:close/>
                </a:path>
              </a:pathLst>
            </a:custGeom>
            <a:solidFill>
              <a:srgbClr val="88BE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77" name="Google Shape;1286;p44"/>
            <p:cNvSpPr/>
            <p:nvPr/>
          </p:nvSpPr>
          <p:spPr>
            <a:xfrm>
              <a:off x="4087650" y="783975"/>
              <a:ext cx="109000" cy="108800"/>
            </a:xfrm>
            <a:custGeom>
              <a:avLst/>
              <a:gdLst/>
              <a:ahLst/>
              <a:cxnLst/>
              <a:rect l="l" t="t" r="r" b="b"/>
              <a:pathLst>
                <a:path w="4360" h="4352" extrusionOk="0">
                  <a:moveTo>
                    <a:pt x="3405" y="0"/>
                  </a:moveTo>
                  <a:lnTo>
                    <a:pt x="1" y="3404"/>
                  </a:lnTo>
                  <a:lnTo>
                    <a:pt x="955" y="4352"/>
                  </a:lnTo>
                  <a:lnTo>
                    <a:pt x="4359" y="955"/>
                  </a:lnTo>
                  <a:lnTo>
                    <a:pt x="3405" y="0"/>
                  </a:lnTo>
                  <a:close/>
                </a:path>
              </a:pathLst>
            </a:custGeom>
            <a:solidFill>
              <a:srgbClr val="C5D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78" name="Google Shape;1287;p44"/>
            <p:cNvSpPr/>
            <p:nvPr/>
          </p:nvSpPr>
          <p:spPr>
            <a:xfrm>
              <a:off x="4172750" y="761700"/>
              <a:ext cx="40900" cy="46150"/>
            </a:xfrm>
            <a:custGeom>
              <a:avLst/>
              <a:gdLst/>
              <a:ahLst/>
              <a:cxnLst/>
              <a:rect l="l" t="t" r="r" b="b"/>
              <a:pathLst>
                <a:path w="1636" h="1846" extrusionOk="0">
                  <a:moveTo>
                    <a:pt x="892" y="0"/>
                  </a:moveTo>
                  <a:lnTo>
                    <a:pt x="1" y="891"/>
                  </a:lnTo>
                  <a:lnTo>
                    <a:pt x="955" y="1846"/>
                  </a:lnTo>
                  <a:lnTo>
                    <a:pt x="1369" y="1425"/>
                  </a:lnTo>
                  <a:cubicBezTo>
                    <a:pt x="1636" y="1165"/>
                    <a:pt x="1636" y="744"/>
                    <a:pt x="1369" y="484"/>
                  </a:cubicBezTo>
                  <a:lnTo>
                    <a:pt x="892" y="0"/>
                  </a:lnTo>
                  <a:close/>
                </a:path>
              </a:pathLst>
            </a:custGeom>
            <a:solidFill>
              <a:srgbClr val="709CD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79" name="Google Shape;1288;p44"/>
            <p:cNvSpPr/>
            <p:nvPr/>
          </p:nvSpPr>
          <p:spPr>
            <a:xfrm>
              <a:off x="4048700" y="869075"/>
              <a:ext cx="62850" cy="40725"/>
            </a:xfrm>
            <a:custGeom>
              <a:avLst/>
              <a:gdLst/>
              <a:ahLst/>
              <a:cxnLst/>
              <a:rect l="l" t="t" r="r" b="b"/>
              <a:pathLst>
                <a:path w="2514" h="1629" extrusionOk="0">
                  <a:moveTo>
                    <a:pt x="1559" y="0"/>
                  </a:moveTo>
                  <a:lnTo>
                    <a:pt x="1" y="1558"/>
                  </a:lnTo>
                  <a:lnTo>
                    <a:pt x="71" y="1629"/>
                  </a:lnTo>
                  <a:lnTo>
                    <a:pt x="2513" y="948"/>
                  </a:lnTo>
                  <a:lnTo>
                    <a:pt x="1559" y="0"/>
                  </a:lnTo>
                  <a:close/>
                </a:path>
              </a:pathLst>
            </a:custGeom>
            <a:solidFill>
              <a:srgbClr val="709CD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80" name="Google Shape;1289;p44"/>
            <p:cNvSpPr/>
            <p:nvPr/>
          </p:nvSpPr>
          <p:spPr>
            <a:xfrm>
              <a:off x="3745150" y="582025"/>
              <a:ext cx="426225" cy="808725"/>
            </a:xfrm>
            <a:custGeom>
              <a:avLst/>
              <a:gdLst/>
              <a:ahLst/>
              <a:cxnLst/>
              <a:rect l="l" t="t" r="r" b="b"/>
              <a:pathLst>
                <a:path w="17049" h="32349" extrusionOk="0">
                  <a:moveTo>
                    <a:pt x="8851" y="0"/>
                  </a:moveTo>
                  <a:lnTo>
                    <a:pt x="1" y="8857"/>
                  </a:lnTo>
                  <a:lnTo>
                    <a:pt x="5342" y="14199"/>
                  </a:lnTo>
                  <a:lnTo>
                    <a:pt x="15189" y="32348"/>
                  </a:lnTo>
                  <a:lnTo>
                    <a:pt x="17048" y="27983"/>
                  </a:lnTo>
                  <a:lnTo>
                    <a:pt x="885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81" name="Google Shape;1290;p44"/>
            <p:cNvSpPr/>
            <p:nvPr/>
          </p:nvSpPr>
          <p:spPr>
            <a:xfrm>
              <a:off x="3910100" y="582025"/>
              <a:ext cx="261275" cy="738700"/>
            </a:xfrm>
            <a:custGeom>
              <a:avLst/>
              <a:gdLst/>
              <a:ahLst/>
              <a:cxnLst/>
              <a:rect l="l" t="t" r="r" b="b"/>
              <a:pathLst>
                <a:path w="10451" h="29548" extrusionOk="0">
                  <a:moveTo>
                    <a:pt x="2253" y="0"/>
                  </a:moveTo>
                  <a:lnTo>
                    <a:pt x="0" y="2253"/>
                  </a:lnTo>
                  <a:lnTo>
                    <a:pt x="9784" y="29548"/>
                  </a:lnTo>
                  <a:lnTo>
                    <a:pt x="10450" y="27983"/>
                  </a:lnTo>
                  <a:lnTo>
                    <a:pt x="2253" y="0"/>
                  </a:lnTo>
                  <a:close/>
                </a:path>
              </a:pathLst>
            </a:custGeom>
            <a:solidFill>
              <a:srgbClr val="EA551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82" name="Google Shape;1291;p44"/>
            <p:cNvSpPr/>
            <p:nvPr/>
          </p:nvSpPr>
          <p:spPr>
            <a:xfrm>
              <a:off x="3764800" y="612375"/>
              <a:ext cx="221450" cy="234800"/>
            </a:xfrm>
            <a:custGeom>
              <a:avLst/>
              <a:gdLst/>
              <a:ahLst/>
              <a:cxnLst/>
              <a:rect l="l" t="t" r="r" b="b"/>
              <a:pathLst>
                <a:path w="8858" h="9392" extrusionOk="0">
                  <a:moveTo>
                    <a:pt x="8423" y="0"/>
                  </a:moveTo>
                  <a:lnTo>
                    <a:pt x="1" y="8423"/>
                  </a:lnTo>
                  <a:lnTo>
                    <a:pt x="962" y="9391"/>
                  </a:lnTo>
                  <a:lnTo>
                    <a:pt x="8858" y="1495"/>
                  </a:lnTo>
                  <a:lnTo>
                    <a:pt x="8423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83" name="Google Shape;1292;p44"/>
            <p:cNvSpPr/>
            <p:nvPr/>
          </p:nvSpPr>
          <p:spPr>
            <a:xfrm>
              <a:off x="4031500" y="784150"/>
              <a:ext cx="53725" cy="122500"/>
            </a:xfrm>
            <a:custGeom>
              <a:avLst/>
              <a:gdLst/>
              <a:ahLst/>
              <a:cxnLst/>
              <a:rect l="l" t="t" r="r" b="b"/>
              <a:pathLst>
                <a:path w="2149" h="4900" extrusionOk="0">
                  <a:moveTo>
                    <a:pt x="787" y="0"/>
                  </a:moveTo>
                  <a:lnTo>
                    <a:pt x="1" y="786"/>
                  </a:lnTo>
                  <a:lnTo>
                    <a:pt x="1201" y="4899"/>
                  </a:lnTo>
                  <a:lnTo>
                    <a:pt x="2148" y="4640"/>
                  </a:lnTo>
                  <a:lnTo>
                    <a:pt x="787" y="0"/>
                  </a:lnTo>
                  <a:close/>
                </a:path>
              </a:pathLst>
            </a:custGeom>
            <a:solidFill>
              <a:srgbClr val="AFBCC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84" name="Google Shape;1293;p44"/>
            <p:cNvSpPr/>
            <p:nvPr/>
          </p:nvSpPr>
          <p:spPr>
            <a:xfrm>
              <a:off x="3561975" y="258300"/>
              <a:ext cx="169700" cy="169500"/>
            </a:xfrm>
            <a:custGeom>
              <a:avLst/>
              <a:gdLst/>
              <a:ahLst/>
              <a:cxnLst/>
              <a:rect l="l" t="t" r="r" b="b"/>
              <a:pathLst>
                <a:path w="6788" h="6780" extrusionOk="0">
                  <a:moveTo>
                    <a:pt x="3404" y="0"/>
                  </a:moveTo>
                  <a:lnTo>
                    <a:pt x="0" y="3404"/>
                  </a:lnTo>
                  <a:lnTo>
                    <a:pt x="3383" y="6780"/>
                  </a:lnTo>
                  <a:lnTo>
                    <a:pt x="6787" y="3376"/>
                  </a:lnTo>
                  <a:lnTo>
                    <a:pt x="3404" y="0"/>
                  </a:lnTo>
                  <a:close/>
                </a:path>
              </a:pathLst>
            </a:custGeom>
            <a:solidFill>
              <a:srgbClr val="E4F0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85" name="Google Shape;1294;p44"/>
            <p:cNvSpPr/>
            <p:nvPr/>
          </p:nvSpPr>
          <p:spPr>
            <a:xfrm>
              <a:off x="3647075" y="238125"/>
              <a:ext cx="105125" cy="104575"/>
            </a:xfrm>
            <a:custGeom>
              <a:avLst/>
              <a:gdLst/>
              <a:ahLst/>
              <a:cxnLst/>
              <a:rect l="l" t="t" r="r" b="b"/>
              <a:pathLst>
                <a:path w="4205" h="4183" extrusionOk="0">
                  <a:moveTo>
                    <a:pt x="889" y="0"/>
                  </a:moveTo>
                  <a:cubicBezTo>
                    <a:pt x="836" y="0"/>
                    <a:pt x="783" y="21"/>
                    <a:pt x="744" y="63"/>
                  </a:cubicBezTo>
                  <a:lnTo>
                    <a:pt x="0" y="807"/>
                  </a:lnTo>
                  <a:lnTo>
                    <a:pt x="3376" y="4183"/>
                  </a:lnTo>
                  <a:lnTo>
                    <a:pt x="4127" y="3439"/>
                  </a:lnTo>
                  <a:cubicBezTo>
                    <a:pt x="4204" y="3362"/>
                    <a:pt x="4204" y="3228"/>
                    <a:pt x="4127" y="3144"/>
                  </a:cubicBezTo>
                  <a:lnTo>
                    <a:pt x="1039" y="63"/>
                  </a:lnTo>
                  <a:cubicBezTo>
                    <a:pt x="997" y="21"/>
                    <a:pt x="943" y="0"/>
                    <a:pt x="889" y="0"/>
                  </a:cubicBezTo>
                  <a:close/>
                </a:path>
              </a:pathLst>
            </a:custGeom>
            <a:solidFill>
              <a:srgbClr val="88BE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86" name="Google Shape;1295;p44"/>
            <p:cNvSpPr/>
            <p:nvPr/>
          </p:nvSpPr>
          <p:spPr>
            <a:xfrm>
              <a:off x="3544950" y="343400"/>
              <a:ext cx="101625" cy="101425"/>
            </a:xfrm>
            <a:custGeom>
              <a:avLst/>
              <a:gdLst/>
              <a:ahLst/>
              <a:cxnLst/>
              <a:rect l="l" t="t" r="r" b="b"/>
              <a:pathLst>
                <a:path w="4065" h="4057" extrusionOk="0">
                  <a:moveTo>
                    <a:pt x="681" y="0"/>
                  </a:moveTo>
                  <a:lnTo>
                    <a:pt x="1" y="2435"/>
                  </a:lnTo>
                  <a:lnTo>
                    <a:pt x="1622" y="4057"/>
                  </a:lnTo>
                  <a:lnTo>
                    <a:pt x="4064" y="3376"/>
                  </a:lnTo>
                  <a:lnTo>
                    <a:pt x="681" y="0"/>
                  </a:lnTo>
                  <a:close/>
                </a:path>
              </a:pathLst>
            </a:custGeom>
            <a:solidFill>
              <a:srgbClr val="88BE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87" name="Google Shape;1296;p44"/>
            <p:cNvSpPr/>
            <p:nvPr/>
          </p:nvSpPr>
          <p:spPr>
            <a:xfrm>
              <a:off x="3630400" y="326725"/>
              <a:ext cx="101275" cy="101075"/>
            </a:xfrm>
            <a:custGeom>
              <a:avLst/>
              <a:gdLst/>
              <a:ahLst/>
              <a:cxnLst/>
              <a:rect l="l" t="t" r="r" b="b"/>
              <a:pathLst>
                <a:path w="4051" h="4043" extrusionOk="0">
                  <a:moveTo>
                    <a:pt x="3405" y="0"/>
                  </a:moveTo>
                  <a:lnTo>
                    <a:pt x="1" y="3404"/>
                  </a:lnTo>
                  <a:lnTo>
                    <a:pt x="646" y="4043"/>
                  </a:lnTo>
                  <a:lnTo>
                    <a:pt x="4050" y="646"/>
                  </a:lnTo>
                  <a:lnTo>
                    <a:pt x="3405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88" name="Google Shape;1297;p44"/>
            <p:cNvSpPr/>
            <p:nvPr/>
          </p:nvSpPr>
          <p:spPr>
            <a:xfrm>
              <a:off x="3715500" y="304425"/>
              <a:ext cx="33200" cy="38275"/>
            </a:xfrm>
            <a:custGeom>
              <a:avLst/>
              <a:gdLst/>
              <a:ahLst/>
              <a:cxnLst/>
              <a:rect l="l" t="t" r="r" b="b"/>
              <a:pathLst>
                <a:path w="1328" h="1531" extrusionOk="0">
                  <a:moveTo>
                    <a:pt x="892" y="1"/>
                  </a:moveTo>
                  <a:lnTo>
                    <a:pt x="1" y="892"/>
                  </a:lnTo>
                  <a:lnTo>
                    <a:pt x="646" y="1531"/>
                  </a:lnTo>
                  <a:lnTo>
                    <a:pt x="1067" y="1110"/>
                  </a:lnTo>
                  <a:cubicBezTo>
                    <a:pt x="1327" y="850"/>
                    <a:pt x="1327" y="429"/>
                    <a:pt x="1067" y="169"/>
                  </a:cubicBezTo>
                  <a:lnTo>
                    <a:pt x="892" y="1"/>
                  </a:lnTo>
                  <a:close/>
                </a:path>
              </a:pathLst>
            </a:custGeom>
            <a:solidFill>
              <a:srgbClr val="B0D4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89" name="Google Shape;1298;p44"/>
            <p:cNvSpPr/>
            <p:nvPr/>
          </p:nvSpPr>
          <p:spPr>
            <a:xfrm>
              <a:off x="3601975" y="411825"/>
              <a:ext cx="44600" cy="28450"/>
            </a:xfrm>
            <a:custGeom>
              <a:avLst/>
              <a:gdLst/>
              <a:ahLst/>
              <a:cxnLst/>
              <a:rect l="l" t="t" r="r" b="b"/>
              <a:pathLst>
                <a:path w="1784" h="1138" extrusionOk="0">
                  <a:moveTo>
                    <a:pt x="1138" y="0"/>
                  </a:moveTo>
                  <a:lnTo>
                    <a:pt x="1" y="1137"/>
                  </a:lnTo>
                  <a:lnTo>
                    <a:pt x="1783" y="639"/>
                  </a:lnTo>
                  <a:lnTo>
                    <a:pt x="1138" y="0"/>
                  </a:lnTo>
                  <a:close/>
                </a:path>
              </a:pathLst>
            </a:custGeom>
            <a:solidFill>
              <a:srgbClr val="88BE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90" name="Google Shape;1299;p44"/>
            <p:cNvSpPr/>
            <p:nvPr/>
          </p:nvSpPr>
          <p:spPr>
            <a:xfrm>
              <a:off x="3561975" y="258300"/>
              <a:ext cx="108800" cy="108800"/>
            </a:xfrm>
            <a:custGeom>
              <a:avLst/>
              <a:gdLst/>
              <a:ahLst/>
              <a:cxnLst/>
              <a:rect l="l" t="t" r="r" b="b"/>
              <a:pathLst>
                <a:path w="4352" h="4352" extrusionOk="0">
                  <a:moveTo>
                    <a:pt x="3404" y="0"/>
                  </a:moveTo>
                  <a:lnTo>
                    <a:pt x="0" y="3404"/>
                  </a:lnTo>
                  <a:lnTo>
                    <a:pt x="955" y="4352"/>
                  </a:lnTo>
                  <a:lnTo>
                    <a:pt x="4352" y="948"/>
                  </a:lnTo>
                  <a:lnTo>
                    <a:pt x="3404" y="0"/>
                  </a:lnTo>
                  <a:close/>
                </a:path>
              </a:pathLst>
            </a:custGeom>
            <a:solidFill>
              <a:srgbClr val="C5D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91" name="Google Shape;1300;p44"/>
            <p:cNvSpPr/>
            <p:nvPr/>
          </p:nvSpPr>
          <p:spPr>
            <a:xfrm>
              <a:off x="3647075" y="242900"/>
              <a:ext cx="46000" cy="39100"/>
            </a:xfrm>
            <a:custGeom>
              <a:avLst/>
              <a:gdLst/>
              <a:ahLst/>
              <a:cxnLst/>
              <a:rect l="l" t="t" r="r" b="b"/>
              <a:pathLst>
                <a:path w="1840" h="1564" extrusionOk="0">
                  <a:moveTo>
                    <a:pt x="892" y="0"/>
                  </a:moveTo>
                  <a:cubicBezTo>
                    <a:pt x="722" y="0"/>
                    <a:pt x="551" y="65"/>
                    <a:pt x="422" y="195"/>
                  </a:cubicBezTo>
                  <a:lnTo>
                    <a:pt x="0" y="616"/>
                  </a:lnTo>
                  <a:lnTo>
                    <a:pt x="948" y="1564"/>
                  </a:lnTo>
                  <a:lnTo>
                    <a:pt x="1839" y="672"/>
                  </a:lnTo>
                  <a:lnTo>
                    <a:pt x="1362" y="195"/>
                  </a:lnTo>
                  <a:cubicBezTo>
                    <a:pt x="1232" y="65"/>
                    <a:pt x="1062" y="0"/>
                    <a:pt x="892" y="0"/>
                  </a:cubicBezTo>
                  <a:close/>
                </a:path>
              </a:pathLst>
            </a:custGeom>
            <a:solidFill>
              <a:srgbClr val="709CD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92" name="Google Shape;1301;p44"/>
            <p:cNvSpPr/>
            <p:nvPr/>
          </p:nvSpPr>
          <p:spPr>
            <a:xfrm>
              <a:off x="3544950" y="343400"/>
              <a:ext cx="40900" cy="62650"/>
            </a:xfrm>
            <a:custGeom>
              <a:avLst/>
              <a:gdLst/>
              <a:ahLst/>
              <a:cxnLst/>
              <a:rect l="l" t="t" r="r" b="b"/>
              <a:pathLst>
                <a:path w="1636" h="2506" extrusionOk="0">
                  <a:moveTo>
                    <a:pt x="681" y="0"/>
                  </a:moveTo>
                  <a:lnTo>
                    <a:pt x="1" y="2435"/>
                  </a:lnTo>
                  <a:lnTo>
                    <a:pt x="78" y="2506"/>
                  </a:lnTo>
                  <a:lnTo>
                    <a:pt x="1636" y="948"/>
                  </a:lnTo>
                  <a:lnTo>
                    <a:pt x="681" y="0"/>
                  </a:lnTo>
                  <a:close/>
                </a:path>
              </a:pathLst>
            </a:custGeom>
            <a:solidFill>
              <a:srgbClr val="709CD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93" name="Google Shape;1302;p44"/>
            <p:cNvSpPr/>
            <p:nvPr/>
          </p:nvSpPr>
          <p:spPr>
            <a:xfrm>
              <a:off x="3064200" y="283375"/>
              <a:ext cx="808550" cy="426400"/>
            </a:xfrm>
            <a:custGeom>
              <a:avLst/>
              <a:gdLst/>
              <a:ahLst/>
              <a:cxnLst/>
              <a:rect l="l" t="t" r="r" b="b"/>
              <a:pathLst>
                <a:path w="32342" h="17056" extrusionOk="0">
                  <a:moveTo>
                    <a:pt x="4359" y="1"/>
                  </a:moveTo>
                  <a:lnTo>
                    <a:pt x="0" y="1861"/>
                  </a:lnTo>
                  <a:lnTo>
                    <a:pt x="18150" y="11708"/>
                  </a:lnTo>
                  <a:lnTo>
                    <a:pt x="23491" y="17056"/>
                  </a:lnTo>
                  <a:lnTo>
                    <a:pt x="32341" y="8198"/>
                  </a:lnTo>
                  <a:lnTo>
                    <a:pt x="4359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94" name="Google Shape;1303;p44"/>
            <p:cNvSpPr/>
            <p:nvPr/>
          </p:nvSpPr>
          <p:spPr>
            <a:xfrm>
              <a:off x="3134025" y="283375"/>
              <a:ext cx="738725" cy="261300"/>
            </a:xfrm>
            <a:custGeom>
              <a:avLst/>
              <a:gdLst/>
              <a:ahLst/>
              <a:cxnLst/>
              <a:rect l="l" t="t" r="r" b="b"/>
              <a:pathLst>
                <a:path w="29549" h="10452" extrusionOk="0">
                  <a:moveTo>
                    <a:pt x="1566" y="1"/>
                  </a:moveTo>
                  <a:lnTo>
                    <a:pt x="1" y="668"/>
                  </a:lnTo>
                  <a:lnTo>
                    <a:pt x="27295" y="10451"/>
                  </a:lnTo>
                  <a:lnTo>
                    <a:pt x="29548" y="8198"/>
                  </a:lnTo>
                  <a:lnTo>
                    <a:pt x="1566" y="1"/>
                  </a:lnTo>
                  <a:close/>
                </a:path>
              </a:pathLst>
            </a:custGeom>
            <a:solidFill>
              <a:srgbClr val="EA551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95" name="Google Shape;1304;p44"/>
            <p:cNvSpPr/>
            <p:nvPr/>
          </p:nvSpPr>
          <p:spPr>
            <a:xfrm>
              <a:off x="3607775" y="468675"/>
              <a:ext cx="234600" cy="221450"/>
            </a:xfrm>
            <a:custGeom>
              <a:avLst/>
              <a:gdLst/>
              <a:ahLst/>
              <a:cxnLst/>
              <a:rect l="l" t="t" r="r" b="b"/>
              <a:pathLst>
                <a:path w="9384" h="8858" extrusionOk="0">
                  <a:moveTo>
                    <a:pt x="7889" y="0"/>
                  </a:moveTo>
                  <a:lnTo>
                    <a:pt x="0" y="7889"/>
                  </a:lnTo>
                  <a:lnTo>
                    <a:pt x="962" y="8858"/>
                  </a:lnTo>
                  <a:lnTo>
                    <a:pt x="9384" y="435"/>
                  </a:lnTo>
                  <a:lnTo>
                    <a:pt x="7889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96" name="Google Shape;1305;p44"/>
            <p:cNvSpPr/>
            <p:nvPr/>
          </p:nvSpPr>
          <p:spPr>
            <a:xfrm>
              <a:off x="3548125" y="369525"/>
              <a:ext cx="122650" cy="53900"/>
            </a:xfrm>
            <a:custGeom>
              <a:avLst/>
              <a:gdLst/>
              <a:ahLst/>
              <a:cxnLst/>
              <a:rect l="l" t="t" r="r" b="b"/>
              <a:pathLst>
                <a:path w="4906" h="2156" extrusionOk="0">
                  <a:moveTo>
                    <a:pt x="267" y="1"/>
                  </a:moveTo>
                  <a:lnTo>
                    <a:pt x="0" y="948"/>
                  </a:lnTo>
                  <a:lnTo>
                    <a:pt x="4113" y="2155"/>
                  </a:lnTo>
                  <a:lnTo>
                    <a:pt x="4906" y="1362"/>
                  </a:lnTo>
                  <a:lnTo>
                    <a:pt x="267" y="1"/>
                  </a:lnTo>
                  <a:close/>
                </a:path>
              </a:pathLst>
            </a:custGeom>
            <a:solidFill>
              <a:srgbClr val="AFBCC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97" name="Google Shape;1306;p44"/>
            <p:cNvSpPr/>
            <p:nvPr/>
          </p:nvSpPr>
          <p:spPr>
            <a:xfrm>
              <a:off x="3094900" y="917325"/>
              <a:ext cx="280400" cy="186000"/>
            </a:xfrm>
            <a:custGeom>
              <a:avLst/>
              <a:gdLst/>
              <a:ahLst/>
              <a:cxnLst/>
              <a:rect l="l" t="t" r="r" b="b"/>
              <a:pathLst>
                <a:path w="11216" h="7440" extrusionOk="0">
                  <a:moveTo>
                    <a:pt x="2541" y="0"/>
                  </a:moveTo>
                  <a:lnTo>
                    <a:pt x="0" y="1720"/>
                  </a:lnTo>
                  <a:lnTo>
                    <a:pt x="8928" y="7440"/>
                  </a:lnTo>
                  <a:lnTo>
                    <a:pt x="11216" y="3271"/>
                  </a:lnTo>
                  <a:lnTo>
                    <a:pt x="2541" y="0"/>
                  </a:lnTo>
                  <a:close/>
                </a:path>
              </a:pathLst>
            </a:custGeom>
            <a:solidFill>
              <a:srgbClr val="EA551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98" name="Google Shape;1307;p44"/>
            <p:cNvSpPr/>
            <p:nvPr/>
          </p:nvSpPr>
          <p:spPr>
            <a:xfrm>
              <a:off x="3350200" y="1078400"/>
              <a:ext cx="186175" cy="280225"/>
            </a:xfrm>
            <a:custGeom>
              <a:avLst/>
              <a:gdLst/>
              <a:ahLst/>
              <a:cxnLst/>
              <a:rect l="l" t="t" r="r" b="b"/>
              <a:pathLst>
                <a:path w="7447" h="11209" extrusionOk="0">
                  <a:moveTo>
                    <a:pt x="4176" y="0"/>
                  </a:moveTo>
                  <a:lnTo>
                    <a:pt x="0" y="2288"/>
                  </a:lnTo>
                  <a:lnTo>
                    <a:pt x="5727" y="11209"/>
                  </a:lnTo>
                  <a:lnTo>
                    <a:pt x="7447" y="8675"/>
                  </a:lnTo>
                  <a:lnTo>
                    <a:pt x="4176" y="0"/>
                  </a:lnTo>
                  <a:close/>
                </a:path>
              </a:pathLst>
            </a:custGeom>
            <a:solidFill>
              <a:srgbClr val="EA551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99" name="Google Shape;1308;p44"/>
            <p:cNvSpPr/>
            <p:nvPr/>
          </p:nvSpPr>
          <p:spPr>
            <a:xfrm>
              <a:off x="3282650" y="274000"/>
              <a:ext cx="919950" cy="899000"/>
            </a:xfrm>
            <a:custGeom>
              <a:avLst/>
              <a:gdLst/>
              <a:ahLst/>
              <a:cxnLst/>
              <a:rect l="l" t="t" r="r" b="b"/>
              <a:pathLst>
                <a:path w="36798" h="35960" extrusionOk="0">
                  <a:moveTo>
                    <a:pt x="33509" y="0"/>
                  </a:moveTo>
                  <a:cubicBezTo>
                    <a:pt x="32245" y="0"/>
                    <a:pt x="30575" y="357"/>
                    <a:pt x="28909" y="1765"/>
                  </a:cubicBezTo>
                  <a:lnTo>
                    <a:pt x="3727" y="26948"/>
                  </a:lnTo>
                  <a:lnTo>
                    <a:pt x="0" y="33741"/>
                  </a:lnTo>
                  <a:lnTo>
                    <a:pt x="1109" y="34850"/>
                  </a:lnTo>
                  <a:lnTo>
                    <a:pt x="2218" y="35959"/>
                  </a:lnTo>
                  <a:lnTo>
                    <a:pt x="9012" y="32226"/>
                  </a:lnTo>
                  <a:lnTo>
                    <a:pt x="34194" y="7050"/>
                  </a:lnTo>
                  <a:cubicBezTo>
                    <a:pt x="36798" y="3955"/>
                    <a:pt x="35801" y="853"/>
                    <a:pt x="35612" y="348"/>
                  </a:cubicBezTo>
                  <a:lnTo>
                    <a:pt x="35605" y="348"/>
                  </a:lnTo>
                  <a:cubicBezTo>
                    <a:pt x="35372" y="260"/>
                    <a:pt x="34588" y="0"/>
                    <a:pt x="33509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00" name="Google Shape;1309;p44"/>
            <p:cNvSpPr/>
            <p:nvPr/>
          </p:nvSpPr>
          <p:spPr>
            <a:xfrm>
              <a:off x="3305275" y="287075"/>
              <a:ext cx="892075" cy="885750"/>
            </a:xfrm>
            <a:custGeom>
              <a:avLst/>
              <a:gdLst/>
              <a:ahLst/>
              <a:cxnLst/>
              <a:rect l="l" t="t" r="r" b="b"/>
              <a:pathLst>
                <a:path w="35683" h="35430" extrusionOk="0">
                  <a:moveTo>
                    <a:pt x="34763" y="0"/>
                  </a:moveTo>
                  <a:lnTo>
                    <a:pt x="34763" y="0"/>
                  </a:lnTo>
                  <a:cubicBezTo>
                    <a:pt x="34538" y="1004"/>
                    <a:pt x="33970" y="2499"/>
                    <a:pt x="32791" y="4162"/>
                  </a:cubicBezTo>
                  <a:cubicBezTo>
                    <a:pt x="32377" y="4731"/>
                    <a:pt x="31920" y="5271"/>
                    <a:pt x="31422" y="5762"/>
                  </a:cubicBezTo>
                  <a:lnTo>
                    <a:pt x="8135" y="29050"/>
                  </a:lnTo>
                  <a:cubicBezTo>
                    <a:pt x="7244" y="29941"/>
                    <a:pt x="6233" y="30699"/>
                    <a:pt x="5138" y="31302"/>
                  </a:cubicBezTo>
                  <a:lnTo>
                    <a:pt x="1" y="34117"/>
                  </a:lnTo>
                  <a:lnTo>
                    <a:pt x="204" y="34320"/>
                  </a:lnTo>
                  <a:lnTo>
                    <a:pt x="1313" y="35429"/>
                  </a:lnTo>
                  <a:lnTo>
                    <a:pt x="8107" y="31703"/>
                  </a:lnTo>
                  <a:lnTo>
                    <a:pt x="33282" y="6520"/>
                  </a:lnTo>
                  <a:cubicBezTo>
                    <a:pt x="35682" y="3678"/>
                    <a:pt x="35029" y="835"/>
                    <a:pt x="34763" y="0"/>
                  </a:cubicBezTo>
                  <a:close/>
                </a:path>
              </a:pathLst>
            </a:custGeom>
            <a:solidFill>
              <a:srgbClr val="E5E9E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01" name="Google Shape;1310;p44"/>
            <p:cNvSpPr/>
            <p:nvPr/>
          </p:nvSpPr>
          <p:spPr>
            <a:xfrm>
              <a:off x="4026425" y="313900"/>
              <a:ext cx="114425" cy="114250"/>
            </a:xfrm>
            <a:custGeom>
              <a:avLst/>
              <a:gdLst/>
              <a:ahLst/>
              <a:cxnLst/>
              <a:rect l="l" t="t" r="r" b="b"/>
              <a:pathLst>
                <a:path w="4577" h="4570" extrusionOk="0">
                  <a:moveTo>
                    <a:pt x="2024" y="1"/>
                  </a:moveTo>
                  <a:cubicBezTo>
                    <a:pt x="2021" y="1"/>
                    <a:pt x="2018" y="1"/>
                    <a:pt x="2015" y="1"/>
                  </a:cubicBezTo>
                  <a:cubicBezTo>
                    <a:pt x="1397" y="1"/>
                    <a:pt x="709" y="205"/>
                    <a:pt x="0" y="794"/>
                  </a:cubicBezTo>
                  <a:lnTo>
                    <a:pt x="1678" y="1145"/>
                  </a:lnTo>
                  <a:cubicBezTo>
                    <a:pt x="2464" y="1306"/>
                    <a:pt x="3215" y="2050"/>
                    <a:pt x="3390" y="2836"/>
                  </a:cubicBezTo>
                  <a:lnTo>
                    <a:pt x="3776" y="4570"/>
                  </a:lnTo>
                  <a:cubicBezTo>
                    <a:pt x="4366" y="3868"/>
                    <a:pt x="4562" y="3166"/>
                    <a:pt x="4569" y="2556"/>
                  </a:cubicBezTo>
                  <a:cubicBezTo>
                    <a:pt x="4576" y="1331"/>
                    <a:pt x="3250" y="1"/>
                    <a:pt x="2024" y="1"/>
                  </a:cubicBezTo>
                  <a:close/>
                </a:path>
              </a:pathLst>
            </a:custGeom>
            <a:solidFill>
              <a:srgbClr val="3F577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02" name="Google Shape;1311;p44"/>
            <p:cNvSpPr/>
            <p:nvPr/>
          </p:nvSpPr>
          <p:spPr>
            <a:xfrm>
              <a:off x="3271950" y="1117700"/>
              <a:ext cx="66325" cy="63500"/>
            </a:xfrm>
            <a:custGeom>
              <a:avLst/>
              <a:gdLst/>
              <a:ahLst/>
              <a:cxnLst/>
              <a:rect l="l" t="t" r="r" b="b"/>
              <a:pathLst>
                <a:path w="2653" h="2540" extrusionOk="0">
                  <a:moveTo>
                    <a:pt x="435" y="1"/>
                  </a:moveTo>
                  <a:cubicBezTo>
                    <a:pt x="0" y="429"/>
                    <a:pt x="0" y="1130"/>
                    <a:pt x="435" y="1566"/>
                  </a:cubicBezTo>
                  <a:lnTo>
                    <a:pt x="1088" y="2218"/>
                  </a:lnTo>
                  <a:cubicBezTo>
                    <a:pt x="1302" y="2432"/>
                    <a:pt x="1584" y="2539"/>
                    <a:pt x="1868" y="2539"/>
                  </a:cubicBezTo>
                  <a:cubicBezTo>
                    <a:pt x="2151" y="2539"/>
                    <a:pt x="2435" y="2432"/>
                    <a:pt x="2653" y="2218"/>
                  </a:cubicBezTo>
                  <a:lnTo>
                    <a:pt x="435" y="1"/>
                  </a:lnTo>
                  <a:close/>
                </a:path>
              </a:pathLst>
            </a:custGeom>
            <a:solidFill>
              <a:srgbClr val="3F577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03" name="Google Shape;1312;p44"/>
            <p:cNvSpPr/>
            <p:nvPr/>
          </p:nvSpPr>
          <p:spPr>
            <a:xfrm>
              <a:off x="3974475" y="375350"/>
              <a:ext cx="23025" cy="19925"/>
            </a:xfrm>
            <a:custGeom>
              <a:avLst/>
              <a:gdLst/>
              <a:ahLst/>
              <a:cxnLst/>
              <a:rect l="l" t="t" r="r" b="b"/>
              <a:pathLst>
                <a:path w="921" h="797" extrusionOk="0">
                  <a:moveTo>
                    <a:pt x="363" y="0"/>
                  </a:moveTo>
                  <a:cubicBezTo>
                    <a:pt x="166" y="0"/>
                    <a:pt x="0" y="249"/>
                    <a:pt x="169" y="435"/>
                  </a:cubicBezTo>
                  <a:lnTo>
                    <a:pt x="457" y="722"/>
                  </a:lnTo>
                  <a:cubicBezTo>
                    <a:pt x="506" y="771"/>
                    <a:pt x="571" y="796"/>
                    <a:pt x="637" y="796"/>
                  </a:cubicBezTo>
                  <a:cubicBezTo>
                    <a:pt x="703" y="796"/>
                    <a:pt x="769" y="771"/>
                    <a:pt x="822" y="722"/>
                  </a:cubicBezTo>
                  <a:cubicBezTo>
                    <a:pt x="920" y="617"/>
                    <a:pt x="920" y="456"/>
                    <a:pt x="822" y="350"/>
                  </a:cubicBezTo>
                  <a:lnTo>
                    <a:pt x="534" y="70"/>
                  </a:lnTo>
                  <a:cubicBezTo>
                    <a:pt x="479" y="21"/>
                    <a:pt x="420" y="0"/>
                    <a:pt x="363" y="0"/>
                  </a:cubicBezTo>
                  <a:close/>
                </a:path>
              </a:pathLst>
            </a:custGeom>
            <a:solidFill>
              <a:srgbClr val="3F577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04" name="Google Shape;1313;p44"/>
            <p:cNvSpPr/>
            <p:nvPr/>
          </p:nvSpPr>
          <p:spPr>
            <a:xfrm>
              <a:off x="3930700" y="418725"/>
              <a:ext cx="23275" cy="20050"/>
            </a:xfrm>
            <a:custGeom>
              <a:avLst/>
              <a:gdLst/>
              <a:ahLst/>
              <a:cxnLst/>
              <a:rect l="l" t="t" r="r" b="b"/>
              <a:pathLst>
                <a:path w="931" h="802" extrusionOk="0">
                  <a:moveTo>
                    <a:pt x="372" y="0"/>
                  </a:moveTo>
                  <a:cubicBezTo>
                    <a:pt x="174" y="0"/>
                    <a:pt x="1" y="256"/>
                    <a:pt x="180" y="440"/>
                  </a:cubicBezTo>
                  <a:lnTo>
                    <a:pt x="467" y="728"/>
                  </a:lnTo>
                  <a:cubicBezTo>
                    <a:pt x="517" y="777"/>
                    <a:pt x="581" y="802"/>
                    <a:pt x="647" y="802"/>
                  </a:cubicBezTo>
                  <a:cubicBezTo>
                    <a:pt x="713" y="802"/>
                    <a:pt x="780" y="777"/>
                    <a:pt x="832" y="728"/>
                  </a:cubicBezTo>
                  <a:cubicBezTo>
                    <a:pt x="931" y="623"/>
                    <a:pt x="931" y="461"/>
                    <a:pt x="832" y="363"/>
                  </a:cubicBezTo>
                  <a:lnTo>
                    <a:pt x="545" y="75"/>
                  </a:lnTo>
                  <a:cubicBezTo>
                    <a:pt x="490" y="22"/>
                    <a:pt x="430" y="0"/>
                    <a:pt x="372" y="0"/>
                  </a:cubicBezTo>
                  <a:close/>
                </a:path>
              </a:pathLst>
            </a:custGeom>
            <a:solidFill>
              <a:srgbClr val="3F577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05" name="Google Shape;1314;p44"/>
            <p:cNvSpPr/>
            <p:nvPr/>
          </p:nvSpPr>
          <p:spPr>
            <a:xfrm>
              <a:off x="3886925" y="462175"/>
              <a:ext cx="23550" cy="20125"/>
            </a:xfrm>
            <a:custGeom>
              <a:avLst/>
              <a:gdLst/>
              <a:ahLst/>
              <a:cxnLst/>
              <a:rect l="l" t="t" r="r" b="b"/>
              <a:pathLst>
                <a:path w="942" h="805" extrusionOk="0">
                  <a:moveTo>
                    <a:pt x="376" y="0"/>
                  </a:moveTo>
                  <a:cubicBezTo>
                    <a:pt x="174" y="0"/>
                    <a:pt x="1" y="259"/>
                    <a:pt x="190" y="443"/>
                  </a:cubicBezTo>
                  <a:lnTo>
                    <a:pt x="478" y="730"/>
                  </a:lnTo>
                  <a:cubicBezTo>
                    <a:pt x="527" y="780"/>
                    <a:pt x="592" y="804"/>
                    <a:pt x="658" y="804"/>
                  </a:cubicBezTo>
                  <a:cubicBezTo>
                    <a:pt x="723" y="804"/>
                    <a:pt x="790" y="780"/>
                    <a:pt x="843" y="730"/>
                  </a:cubicBezTo>
                  <a:cubicBezTo>
                    <a:pt x="941" y="625"/>
                    <a:pt x="941" y="464"/>
                    <a:pt x="843" y="366"/>
                  </a:cubicBezTo>
                  <a:lnTo>
                    <a:pt x="555" y="78"/>
                  </a:lnTo>
                  <a:cubicBezTo>
                    <a:pt x="499" y="23"/>
                    <a:pt x="436" y="0"/>
                    <a:pt x="376" y="0"/>
                  </a:cubicBezTo>
                  <a:close/>
                </a:path>
              </a:pathLst>
            </a:custGeom>
            <a:solidFill>
              <a:srgbClr val="3F577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06" name="Google Shape;1315;p44"/>
            <p:cNvSpPr/>
            <p:nvPr/>
          </p:nvSpPr>
          <p:spPr>
            <a:xfrm>
              <a:off x="3843675" y="505825"/>
              <a:ext cx="23275" cy="19975"/>
            </a:xfrm>
            <a:custGeom>
              <a:avLst/>
              <a:gdLst/>
              <a:ahLst/>
              <a:cxnLst/>
              <a:rect l="l" t="t" r="r" b="b"/>
              <a:pathLst>
                <a:path w="931" h="799" extrusionOk="0">
                  <a:moveTo>
                    <a:pt x="370" y="0"/>
                  </a:moveTo>
                  <a:cubicBezTo>
                    <a:pt x="170" y="0"/>
                    <a:pt x="0" y="252"/>
                    <a:pt x="180" y="437"/>
                  </a:cubicBezTo>
                  <a:lnTo>
                    <a:pt x="460" y="725"/>
                  </a:lnTo>
                  <a:cubicBezTo>
                    <a:pt x="513" y="774"/>
                    <a:pt x="580" y="799"/>
                    <a:pt x="646" y="799"/>
                  </a:cubicBezTo>
                  <a:cubicBezTo>
                    <a:pt x="713" y="799"/>
                    <a:pt x="780" y="774"/>
                    <a:pt x="832" y="725"/>
                  </a:cubicBezTo>
                  <a:cubicBezTo>
                    <a:pt x="930" y="620"/>
                    <a:pt x="930" y="458"/>
                    <a:pt x="832" y="360"/>
                  </a:cubicBezTo>
                  <a:lnTo>
                    <a:pt x="544" y="72"/>
                  </a:lnTo>
                  <a:cubicBezTo>
                    <a:pt x="489" y="22"/>
                    <a:pt x="428" y="0"/>
                    <a:pt x="370" y="0"/>
                  </a:cubicBezTo>
                  <a:close/>
                </a:path>
              </a:pathLst>
            </a:custGeom>
            <a:solidFill>
              <a:srgbClr val="3F577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07" name="Google Shape;1316;p44"/>
            <p:cNvSpPr/>
            <p:nvPr/>
          </p:nvSpPr>
          <p:spPr>
            <a:xfrm>
              <a:off x="3799425" y="548825"/>
              <a:ext cx="23825" cy="20500"/>
            </a:xfrm>
            <a:custGeom>
              <a:avLst/>
              <a:gdLst/>
              <a:ahLst/>
              <a:cxnLst/>
              <a:rect l="l" t="t" r="r" b="b"/>
              <a:pathLst>
                <a:path w="953" h="820" extrusionOk="0">
                  <a:moveTo>
                    <a:pt x="384" y="1"/>
                  </a:moveTo>
                  <a:cubicBezTo>
                    <a:pt x="179" y="1"/>
                    <a:pt x="0" y="276"/>
                    <a:pt x="209" y="458"/>
                  </a:cubicBezTo>
                  <a:lnTo>
                    <a:pt x="490" y="746"/>
                  </a:lnTo>
                  <a:cubicBezTo>
                    <a:pt x="542" y="795"/>
                    <a:pt x="609" y="819"/>
                    <a:pt x="675" y="819"/>
                  </a:cubicBezTo>
                  <a:cubicBezTo>
                    <a:pt x="741" y="819"/>
                    <a:pt x="806" y="795"/>
                    <a:pt x="855" y="746"/>
                  </a:cubicBezTo>
                  <a:cubicBezTo>
                    <a:pt x="953" y="640"/>
                    <a:pt x="953" y="479"/>
                    <a:pt x="855" y="381"/>
                  </a:cubicBezTo>
                  <a:lnTo>
                    <a:pt x="574" y="93"/>
                  </a:lnTo>
                  <a:cubicBezTo>
                    <a:pt x="515" y="28"/>
                    <a:pt x="448" y="1"/>
                    <a:pt x="384" y="1"/>
                  </a:cubicBezTo>
                  <a:close/>
                </a:path>
              </a:pathLst>
            </a:custGeom>
            <a:solidFill>
              <a:srgbClr val="3F577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08" name="Google Shape;1317;p44"/>
            <p:cNvSpPr/>
            <p:nvPr/>
          </p:nvSpPr>
          <p:spPr>
            <a:xfrm>
              <a:off x="3755925" y="592500"/>
              <a:ext cx="23825" cy="20325"/>
            </a:xfrm>
            <a:custGeom>
              <a:avLst/>
              <a:gdLst/>
              <a:ahLst/>
              <a:cxnLst/>
              <a:rect l="l" t="t" r="r" b="b"/>
              <a:pathLst>
                <a:path w="953" h="813" extrusionOk="0">
                  <a:moveTo>
                    <a:pt x="382" y="0"/>
                  </a:moveTo>
                  <a:cubicBezTo>
                    <a:pt x="177" y="0"/>
                    <a:pt x="1" y="272"/>
                    <a:pt x="208" y="458"/>
                  </a:cubicBezTo>
                  <a:lnTo>
                    <a:pt x="489" y="739"/>
                  </a:lnTo>
                  <a:cubicBezTo>
                    <a:pt x="542" y="788"/>
                    <a:pt x="608" y="813"/>
                    <a:pt x="674" y="813"/>
                  </a:cubicBezTo>
                  <a:cubicBezTo>
                    <a:pt x="740" y="813"/>
                    <a:pt x="805" y="788"/>
                    <a:pt x="854" y="739"/>
                  </a:cubicBezTo>
                  <a:cubicBezTo>
                    <a:pt x="952" y="641"/>
                    <a:pt x="952" y="473"/>
                    <a:pt x="854" y="374"/>
                  </a:cubicBezTo>
                  <a:lnTo>
                    <a:pt x="573" y="94"/>
                  </a:lnTo>
                  <a:cubicBezTo>
                    <a:pt x="514" y="28"/>
                    <a:pt x="447" y="0"/>
                    <a:pt x="382" y="0"/>
                  </a:cubicBezTo>
                  <a:close/>
                </a:path>
              </a:pathLst>
            </a:custGeom>
            <a:solidFill>
              <a:srgbClr val="3F577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09" name="Google Shape;1318;p44"/>
            <p:cNvSpPr/>
            <p:nvPr/>
          </p:nvSpPr>
          <p:spPr>
            <a:xfrm>
              <a:off x="3712650" y="636000"/>
              <a:ext cx="23575" cy="20350"/>
            </a:xfrm>
            <a:custGeom>
              <a:avLst/>
              <a:gdLst/>
              <a:ahLst/>
              <a:cxnLst/>
              <a:rect l="l" t="t" r="r" b="b"/>
              <a:pathLst>
                <a:path w="943" h="814" extrusionOk="0">
                  <a:moveTo>
                    <a:pt x="379" y="1"/>
                  </a:moveTo>
                  <a:cubicBezTo>
                    <a:pt x="175" y="1"/>
                    <a:pt x="0" y="271"/>
                    <a:pt x="199" y="459"/>
                  </a:cubicBezTo>
                  <a:lnTo>
                    <a:pt x="480" y="740"/>
                  </a:lnTo>
                  <a:cubicBezTo>
                    <a:pt x="532" y="789"/>
                    <a:pt x="599" y="813"/>
                    <a:pt x="665" y="813"/>
                  </a:cubicBezTo>
                  <a:cubicBezTo>
                    <a:pt x="730" y="813"/>
                    <a:pt x="795" y="789"/>
                    <a:pt x="845" y="740"/>
                  </a:cubicBezTo>
                  <a:cubicBezTo>
                    <a:pt x="943" y="635"/>
                    <a:pt x="943" y="473"/>
                    <a:pt x="845" y="375"/>
                  </a:cubicBezTo>
                  <a:lnTo>
                    <a:pt x="564" y="87"/>
                  </a:lnTo>
                  <a:cubicBezTo>
                    <a:pt x="506" y="26"/>
                    <a:pt x="441" y="1"/>
                    <a:pt x="379" y="1"/>
                  </a:cubicBezTo>
                  <a:close/>
                </a:path>
              </a:pathLst>
            </a:custGeom>
            <a:solidFill>
              <a:srgbClr val="3F577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10" name="Google Shape;1319;p44"/>
            <p:cNvSpPr/>
            <p:nvPr/>
          </p:nvSpPr>
          <p:spPr>
            <a:xfrm>
              <a:off x="3669400" y="679825"/>
              <a:ext cx="23500" cy="20050"/>
            </a:xfrm>
            <a:custGeom>
              <a:avLst/>
              <a:gdLst/>
              <a:ahLst/>
              <a:cxnLst/>
              <a:rect l="l" t="t" r="r" b="b"/>
              <a:pathLst>
                <a:path w="940" h="802" extrusionOk="0">
                  <a:moveTo>
                    <a:pt x="371" y="0"/>
                  </a:moveTo>
                  <a:cubicBezTo>
                    <a:pt x="170" y="0"/>
                    <a:pt x="0" y="258"/>
                    <a:pt x="188" y="447"/>
                  </a:cubicBezTo>
                  <a:lnTo>
                    <a:pt x="469" y="727"/>
                  </a:lnTo>
                  <a:cubicBezTo>
                    <a:pt x="522" y="776"/>
                    <a:pt x="588" y="801"/>
                    <a:pt x="654" y="801"/>
                  </a:cubicBezTo>
                  <a:cubicBezTo>
                    <a:pt x="720" y="801"/>
                    <a:pt x="785" y="776"/>
                    <a:pt x="834" y="727"/>
                  </a:cubicBezTo>
                  <a:cubicBezTo>
                    <a:pt x="939" y="629"/>
                    <a:pt x="939" y="461"/>
                    <a:pt x="834" y="362"/>
                  </a:cubicBezTo>
                  <a:lnTo>
                    <a:pt x="553" y="82"/>
                  </a:lnTo>
                  <a:cubicBezTo>
                    <a:pt x="496" y="24"/>
                    <a:pt x="432" y="0"/>
                    <a:pt x="371" y="0"/>
                  </a:cubicBezTo>
                  <a:close/>
                </a:path>
              </a:pathLst>
            </a:custGeom>
            <a:solidFill>
              <a:srgbClr val="3F577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11" name="Google Shape;1320;p44"/>
            <p:cNvSpPr/>
            <p:nvPr/>
          </p:nvSpPr>
          <p:spPr>
            <a:xfrm>
              <a:off x="3625625" y="723175"/>
              <a:ext cx="23575" cy="20200"/>
            </a:xfrm>
            <a:custGeom>
              <a:avLst/>
              <a:gdLst/>
              <a:ahLst/>
              <a:cxnLst/>
              <a:rect l="l" t="t" r="r" b="b"/>
              <a:pathLst>
                <a:path w="943" h="808" extrusionOk="0">
                  <a:moveTo>
                    <a:pt x="377" y="1"/>
                  </a:moveTo>
                  <a:cubicBezTo>
                    <a:pt x="174" y="1"/>
                    <a:pt x="1" y="266"/>
                    <a:pt x="199" y="453"/>
                  </a:cubicBezTo>
                  <a:lnTo>
                    <a:pt x="479" y="734"/>
                  </a:lnTo>
                  <a:cubicBezTo>
                    <a:pt x="532" y="783"/>
                    <a:pt x="599" y="808"/>
                    <a:pt x="665" y="808"/>
                  </a:cubicBezTo>
                  <a:cubicBezTo>
                    <a:pt x="730" y="808"/>
                    <a:pt x="795" y="783"/>
                    <a:pt x="844" y="734"/>
                  </a:cubicBezTo>
                  <a:cubicBezTo>
                    <a:pt x="943" y="636"/>
                    <a:pt x="943" y="474"/>
                    <a:pt x="844" y="369"/>
                  </a:cubicBezTo>
                  <a:lnTo>
                    <a:pt x="564" y="88"/>
                  </a:lnTo>
                  <a:cubicBezTo>
                    <a:pt x="505" y="27"/>
                    <a:pt x="440" y="1"/>
                    <a:pt x="377" y="1"/>
                  </a:cubicBezTo>
                  <a:close/>
                </a:path>
              </a:pathLst>
            </a:custGeom>
            <a:solidFill>
              <a:srgbClr val="3F577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12" name="Google Shape;1321;p44"/>
            <p:cNvSpPr/>
            <p:nvPr/>
          </p:nvSpPr>
          <p:spPr>
            <a:xfrm>
              <a:off x="3581625" y="766475"/>
              <a:ext cx="24075" cy="20425"/>
            </a:xfrm>
            <a:custGeom>
              <a:avLst/>
              <a:gdLst/>
              <a:ahLst/>
              <a:cxnLst/>
              <a:rect l="l" t="t" r="r" b="b"/>
              <a:pathLst>
                <a:path w="963" h="817" extrusionOk="0">
                  <a:moveTo>
                    <a:pt x="388" y="1"/>
                  </a:moveTo>
                  <a:cubicBezTo>
                    <a:pt x="181" y="1"/>
                    <a:pt x="0" y="276"/>
                    <a:pt x="218" y="462"/>
                  </a:cubicBezTo>
                  <a:lnTo>
                    <a:pt x="499" y="743"/>
                  </a:lnTo>
                  <a:cubicBezTo>
                    <a:pt x="551" y="792"/>
                    <a:pt x="618" y="816"/>
                    <a:pt x="684" y="816"/>
                  </a:cubicBezTo>
                  <a:cubicBezTo>
                    <a:pt x="750" y="816"/>
                    <a:pt x="815" y="792"/>
                    <a:pt x="864" y="743"/>
                  </a:cubicBezTo>
                  <a:cubicBezTo>
                    <a:pt x="962" y="644"/>
                    <a:pt x="962" y="483"/>
                    <a:pt x="864" y="385"/>
                  </a:cubicBezTo>
                  <a:lnTo>
                    <a:pt x="583" y="97"/>
                  </a:lnTo>
                  <a:cubicBezTo>
                    <a:pt x="524" y="29"/>
                    <a:pt x="455" y="1"/>
                    <a:pt x="388" y="1"/>
                  </a:cubicBezTo>
                  <a:close/>
                </a:path>
              </a:pathLst>
            </a:custGeom>
            <a:solidFill>
              <a:srgbClr val="3F577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13" name="Google Shape;1322;p44"/>
            <p:cNvSpPr/>
            <p:nvPr/>
          </p:nvSpPr>
          <p:spPr>
            <a:xfrm>
              <a:off x="3538600" y="810225"/>
              <a:ext cx="23575" cy="20175"/>
            </a:xfrm>
            <a:custGeom>
              <a:avLst/>
              <a:gdLst/>
              <a:ahLst/>
              <a:cxnLst/>
              <a:rect l="l" t="t" r="r" b="b"/>
              <a:pathLst>
                <a:path w="943" h="807" extrusionOk="0">
                  <a:moveTo>
                    <a:pt x="376" y="0"/>
                  </a:moveTo>
                  <a:cubicBezTo>
                    <a:pt x="174" y="0"/>
                    <a:pt x="0" y="265"/>
                    <a:pt x="199" y="452"/>
                  </a:cubicBezTo>
                  <a:lnTo>
                    <a:pt x="479" y="733"/>
                  </a:lnTo>
                  <a:cubicBezTo>
                    <a:pt x="532" y="782"/>
                    <a:pt x="599" y="807"/>
                    <a:pt x="664" y="807"/>
                  </a:cubicBezTo>
                  <a:cubicBezTo>
                    <a:pt x="730" y="807"/>
                    <a:pt x="795" y="782"/>
                    <a:pt x="844" y="733"/>
                  </a:cubicBezTo>
                  <a:cubicBezTo>
                    <a:pt x="942" y="635"/>
                    <a:pt x="942" y="473"/>
                    <a:pt x="844" y="368"/>
                  </a:cubicBezTo>
                  <a:lnTo>
                    <a:pt x="563" y="87"/>
                  </a:lnTo>
                  <a:cubicBezTo>
                    <a:pt x="505" y="26"/>
                    <a:pt x="439" y="0"/>
                    <a:pt x="376" y="0"/>
                  </a:cubicBezTo>
                  <a:close/>
                </a:path>
              </a:pathLst>
            </a:custGeom>
            <a:solidFill>
              <a:srgbClr val="3F577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14" name="Google Shape;1323;p44"/>
            <p:cNvSpPr/>
            <p:nvPr/>
          </p:nvSpPr>
          <p:spPr>
            <a:xfrm>
              <a:off x="3495325" y="853875"/>
              <a:ext cx="23500" cy="20050"/>
            </a:xfrm>
            <a:custGeom>
              <a:avLst/>
              <a:gdLst/>
              <a:ahLst/>
              <a:cxnLst/>
              <a:rect l="l" t="t" r="r" b="b"/>
              <a:pathLst>
                <a:path w="940" h="802" extrusionOk="0">
                  <a:moveTo>
                    <a:pt x="371" y="0"/>
                  </a:moveTo>
                  <a:cubicBezTo>
                    <a:pt x="171" y="0"/>
                    <a:pt x="1" y="259"/>
                    <a:pt x="189" y="447"/>
                  </a:cubicBezTo>
                  <a:lnTo>
                    <a:pt x="477" y="728"/>
                  </a:lnTo>
                  <a:cubicBezTo>
                    <a:pt x="526" y="777"/>
                    <a:pt x="591" y="801"/>
                    <a:pt x="657" y="801"/>
                  </a:cubicBezTo>
                  <a:cubicBezTo>
                    <a:pt x="722" y="801"/>
                    <a:pt x="789" y="777"/>
                    <a:pt x="842" y="728"/>
                  </a:cubicBezTo>
                  <a:cubicBezTo>
                    <a:pt x="940" y="629"/>
                    <a:pt x="940" y="468"/>
                    <a:pt x="842" y="363"/>
                  </a:cubicBezTo>
                  <a:lnTo>
                    <a:pt x="554" y="82"/>
                  </a:lnTo>
                  <a:cubicBezTo>
                    <a:pt x="496" y="25"/>
                    <a:pt x="433" y="0"/>
                    <a:pt x="371" y="0"/>
                  </a:cubicBezTo>
                  <a:close/>
                </a:path>
              </a:pathLst>
            </a:custGeom>
            <a:solidFill>
              <a:srgbClr val="3F577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15" name="Google Shape;1324;p44"/>
            <p:cNvSpPr/>
            <p:nvPr/>
          </p:nvSpPr>
          <p:spPr>
            <a:xfrm>
              <a:off x="3452025" y="897525"/>
              <a:ext cx="23125" cy="19900"/>
            </a:xfrm>
            <a:custGeom>
              <a:avLst/>
              <a:gdLst/>
              <a:ahLst/>
              <a:cxnLst/>
              <a:rect l="l" t="t" r="r" b="b"/>
              <a:pathLst>
                <a:path w="925" h="796" extrusionOk="0">
                  <a:moveTo>
                    <a:pt x="367" y="1"/>
                  </a:moveTo>
                  <a:cubicBezTo>
                    <a:pt x="169" y="1"/>
                    <a:pt x="0" y="252"/>
                    <a:pt x="173" y="442"/>
                  </a:cubicBezTo>
                  <a:lnTo>
                    <a:pt x="461" y="722"/>
                  </a:lnTo>
                  <a:cubicBezTo>
                    <a:pt x="510" y="771"/>
                    <a:pt x="575" y="796"/>
                    <a:pt x="641" y="796"/>
                  </a:cubicBezTo>
                  <a:cubicBezTo>
                    <a:pt x="707" y="796"/>
                    <a:pt x="773" y="771"/>
                    <a:pt x="826" y="722"/>
                  </a:cubicBezTo>
                  <a:cubicBezTo>
                    <a:pt x="924" y="624"/>
                    <a:pt x="924" y="463"/>
                    <a:pt x="826" y="357"/>
                  </a:cubicBezTo>
                  <a:lnTo>
                    <a:pt x="545" y="77"/>
                  </a:lnTo>
                  <a:cubicBezTo>
                    <a:pt x="489" y="23"/>
                    <a:pt x="427" y="1"/>
                    <a:pt x="367" y="1"/>
                  </a:cubicBezTo>
                  <a:close/>
                </a:path>
              </a:pathLst>
            </a:custGeom>
            <a:solidFill>
              <a:srgbClr val="3F577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16" name="Google Shape;1325;p44"/>
            <p:cNvSpPr/>
            <p:nvPr/>
          </p:nvSpPr>
          <p:spPr>
            <a:xfrm>
              <a:off x="3408250" y="940900"/>
              <a:ext cx="23375" cy="20050"/>
            </a:xfrm>
            <a:custGeom>
              <a:avLst/>
              <a:gdLst/>
              <a:ahLst/>
              <a:cxnLst/>
              <a:rect l="l" t="t" r="r" b="b"/>
              <a:pathLst>
                <a:path w="935" h="802" extrusionOk="0">
                  <a:moveTo>
                    <a:pt x="370" y="1"/>
                  </a:moveTo>
                  <a:cubicBezTo>
                    <a:pt x="172" y="1"/>
                    <a:pt x="1" y="259"/>
                    <a:pt x="184" y="447"/>
                  </a:cubicBezTo>
                  <a:lnTo>
                    <a:pt x="472" y="728"/>
                  </a:lnTo>
                  <a:cubicBezTo>
                    <a:pt x="521" y="777"/>
                    <a:pt x="586" y="802"/>
                    <a:pt x="651" y="802"/>
                  </a:cubicBezTo>
                  <a:cubicBezTo>
                    <a:pt x="717" y="802"/>
                    <a:pt x="784" y="777"/>
                    <a:pt x="837" y="728"/>
                  </a:cubicBezTo>
                  <a:cubicBezTo>
                    <a:pt x="935" y="630"/>
                    <a:pt x="935" y="468"/>
                    <a:pt x="837" y="363"/>
                  </a:cubicBezTo>
                  <a:lnTo>
                    <a:pt x="549" y="82"/>
                  </a:lnTo>
                  <a:cubicBezTo>
                    <a:pt x="493" y="25"/>
                    <a:pt x="430" y="1"/>
                    <a:pt x="370" y="1"/>
                  </a:cubicBezTo>
                  <a:close/>
                </a:path>
              </a:pathLst>
            </a:custGeom>
            <a:solidFill>
              <a:srgbClr val="3F577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17" name="Google Shape;1326;p44"/>
            <p:cNvSpPr/>
            <p:nvPr/>
          </p:nvSpPr>
          <p:spPr>
            <a:xfrm>
              <a:off x="4051375" y="452425"/>
              <a:ext cx="23325" cy="20050"/>
            </a:xfrm>
            <a:custGeom>
              <a:avLst/>
              <a:gdLst/>
              <a:ahLst/>
              <a:cxnLst/>
              <a:rect l="l" t="t" r="r" b="b"/>
              <a:pathLst>
                <a:path w="933" h="802" extrusionOk="0">
                  <a:moveTo>
                    <a:pt x="371" y="0"/>
                  </a:moveTo>
                  <a:cubicBezTo>
                    <a:pt x="170" y="0"/>
                    <a:pt x="0" y="259"/>
                    <a:pt x="188" y="447"/>
                  </a:cubicBezTo>
                  <a:lnTo>
                    <a:pt x="469" y="727"/>
                  </a:lnTo>
                  <a:cubicBezTo>
                    <a:pt x="518" y="777"/>
                    <a:pt x="585" y="801"/>
                    <a:pt x="652" y="801"/>
                  </a:cubicBezTo>
                  <a:cubicBezTo>
                    <a:pt x="718" y="801"/>
                    <a:pt x="785" y="777"/>
                    <a:pt x="834" y="727"/>
                  </a:cubicBezTo>
                  <a:cubicBezTo>
                    <a:pt x="932" y="622"/>
                    <a:pt x="932" y="461"/>
                    <a:pt x="834" y="362"/>
                  </a:cubicBezTo>
                  <a:lnTo>
                    <a:pt x="553" y="82"/>
                  </a:lnTo>
                  <a:cubicBezTo>
                    <a:pt x="496" y="24"/>
                    <a:pt x="432" y="0"/>
                    <a:pt x="371" y="0"/>
                  </a:cubicBezTo>
                  <a:close/>
                </a:path>
              </a:pathLst>
            </a:custGeom>
            <a:solidFill>
              <a:srgbClr val="3F577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18" name="Google Shape;1327;p44"/>
            <p:cNvSpPr/>
            <p:nvPr/>
          </p:nvSpPr>
          <p:spPr>
            <a:xfrm>
              <a:off x="4008100" y="496075"/>
              <a:ext cx="23075" cy="19900"/>
            </a:xfrm>
            <a:custGeom>
              <a:avLst/>
              <a:gdLst/>
              <a:ahLst/>
              <a:cxnLst/>
              <a:rect l="l" t="t" r="r" b="b"/>
              <a:pathLst>
                <a:path w="923" h="796" extrusionOk="0">
                  <a:moveTo>
                    <a:pt x="366" y="1"/>
                  </a:moveTo>
                  <a:cubicBezTo>
                    <a:pt x="167" y="1"/>
                    <a:pt x="0" y="252"/>
                    <a:pt x="179" y="441"/>
                  </a:cubicBezTo>
                  <a:lnTo>
                    <a:pt x="460" y="722"/>
                  </a:lnTo>
                  <a:cubicBezTo>
                    <a:pt x="512" y="771"/>
                    <a:pt x="579" y="796"/>
                    <a:pt x="645" y="796"/>
                  </a:cubicBezTo>
                  <a:cubicBezTo>
                    <a:pt x="710" y="796"/>
                    <a:pt x="775" y="771"/>
                    <a:pt x="824" y="722"/>
                  </a:cubicBezTo>
                  <a:cubicBezTo>
                    <a:pt x="923" y="624"/>
                    <a:pt x="923" y="462"/>
                    <a:pt x="824" y="357"/>
                  </a:cubicBezTo>
                  <a:lnTo>
                    <a:pt x="544" y="76"/>
                  </a:lnTo>
                  <a:cubicBezTo>
                    <a:pt x="487" y="23"/>
                    <a:pt x="425" y="1"/>
                    <a:pt x="366" y="1"/>
                  </a:cubicBezTo>
                  <a:close/>
                </a:path>
              </a:pathLst>
            </a:custGeom>
            <a:solidFill>
              <a:srgbClr val="3F577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19" name="Google Shape;1328;p44"/>
            <p:cNvSpPr/>
            <p:nvPr/>
          </p:nvSpPr>
          <p:spPr>
            <a:xfrm>
              <a:off x="3964350" y="539450"/>
              <a:ext cx="23325" cy="20175"/>
            </a:xfrm>
            <a:custGeom>
              <a:avLst/>
              <a:gdLst/>
              <a:ahLst/>
              <a:cxnLst/>
              <a:rect l="l" t="t" r="r" b="b"/>
              <a:pathLst>
                <a:path w="933" h="807" extrusionOk="0">
                  <a:moveTo>
                    <a:pt x="371" y="0"/>
                  </a:moveTo>
                  <a:cubicBezTo>
                    <a:pt x="170" y="0"/>
                    <a:pt x="0" y="259"/>
                    <a:pt x="188" y="447"/>
                  </a:cubicBezTo>
                  <a:lnTo>
                    <a:pt x="469" y="728"/>
                  </a:lnTo>
                  <a:cubicBezTo>
                    <a:pt x="518" y="780"/>
                    <a:pt x="585" y="807"/>
                    <a:pt x="651" y="807"/>
                  </a:cubicBezTo>
                  <a:cubicBezTo>
                    <a:pt x="718" y="807"/>
                    <a:pt x="785" y="780"/>
                    <a:pt x="834" y="728"/>
                  </a:cubicBezTo>
                  <a:cubicBezTo>
                    <a:pt x="932" y="629"/>
                    <a:pt x="932" y="468"/>
                    <a:pt x="834" y="363"/>
                  </a:cubicBezTo>
                  <a:lnTo>
                    <a:pt x="553" y="82"/>
                  </a:lnTo>
                  <a:cubicBezTo>
                    <a:pt x="496" y="24"/>
                    <a:pt x="432" y="0"/>
                    <a:pt x="371" y="0"/>
                  </a:cubicBezTo>
                  <a:close/>
                </a:path>
              </a:pathLst>
            </a:custGeom>
            <a:solidFill>
              <a:srgbClr val="3F577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20" name="Google Shape;1329;p44"/>
            <p:cNvSpPr/>
            <p:nvPr/>
          </p:nvSpPr>
          <p:spPr>
            <a:xfrm>
              <a:off x="3921075" y="583100"/>
              <a:ext cx="23250" cy="19900"/>
            </a:xfrm>
            <a:custGeom>
              <a:avLst/>
              <a:gdLst/>
              <a:ahLst/>
              <a:cxnLst/>
              <a:rect l="l" t="t" r="r" b="b"/>
              <a:pathLst>
                <a:path w="930" h="796" extrusionOk="0">
                  <a:moveTo>
                    <a:pt x="366" y="1"/>
                  </a:moveTo>
                  <a:cubicBezTo>
                    <a:pt x="167" y="1"/>
                    <a:pt x="0" y="252"/>
                    <a:pt x="179" y="441"/>
                  </a:cubicBezTo>
                  <a:lnTo>
                    <a:pt x="466" y="722"/>
                  </a:lnTo>
                  <a:cubicBezTo>
                    <a:pt x="516" y="771"/>
                    <a:pt x="580" y="796"/>
                    <a:pt x="646" y="796"/>
                  </a:cubicBezTo>
                  <a:cubicBezTo>
                    <a:pt x="712" y="796"/>
                    <a:pt x="779" y="771"/>
                    <a:pt x="831" y="722"/>
                  </a:cubicBezTo>
                  <a:cubicBezTo>
                    <a:pt x="930" y="624"/>
                    <a:pt x="930" y="463"/>
                    <a:pt x="831" y="357"/>
                  </a:cubicBezTo>
                  <a:lnTo>
                    <a:pt x="544" y="76"/>
                  </a:lnTo>
                  <a:cubicBezTo>
                    <a:pt x="487" y="23"/>
                    <a:pt x="425" y="1"/>
                    <a:pt x="366" y="1"/>
                  </a:cubicBezTo>
                  <a:close/>
                </a:path>
              </a:pathLst>
            </a:custGeom>
            <a:solidFill>
              <a:srgbClr val="3F577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21" name="Google Shape;1330;p44"/>
            <p:cNvSpPr/>
            <p:nvPr/>
          </p:nvSpPr>
          <p:spPr>
            <a:xfrm>
              <a:off x="3877525" y="626625"/>
              <a:ext cx="23125" cy="20025"/>
            </a:xfrm>
            <a:custGeom>
              <a:avLst/>
              <a:gdLst/>
              <a:ahLst/>
              <a:cxnLst/>
              <a:rect l="l" t="t" r="r" b="b"/>
              <a:pathLst>
                <a:path w="925" h="801" extrusionOk="0">
                  <a:moveTo>
                    <a:pt x="367" y="0"/>
                  </a:moveTo>
                  <a:cubicBezTo>
                    <a:pt x="168" y="0"/>
                    <a:pt x="0" y="252"/>
                    <a:pt x="173" y="441"/>
                  </a:cubicBezTo>
                  <a:lnTo>
                    <a:pt x="461" y="722"/>
                  </a:lnTo>
                  <a:cubicBezTo>
                    <a:pt x="510" y="774"/>
                    <a:pt x="577" y="801"/>
                    <a:pt x="643" y="801"/>
                  </a:cubicBezTo>
                  <a:cubicBezTo>
                    <a:pt x="710" y="801"/>
                    <a:pt x="777" y="774"/>
                    <a:pt x="826" y="722"/>
                  </a:cubicBezTo>
                  <a:cubicBezTo>
                    <a:pt x="924" y="624"/>
                    <a:pt x="924" y="462"/>
                    <a:pt x="826" y="357"/>
                  </a:cubicBezTo>
                  <a:lnTo>
                    <a:pt x="545" y="76"/>
                  </a:lnTo>
                  <a:cubicBezTo>
                    <a:pt x="489" y="23"/>
                    <a:pt x="426" y="0"/>
                    <a:pt x="367" y="0"/>
                  </a:cubicBezTo>
                  <a:close/>
                </a:path>
              </a:pathLst>
            </a:custGeom>
            <a:solidFill>
              <a:srgbClr val="3F577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22" name="Google Shape;1331;p44"/>
            <p:cNvSpPr/>
            <p:nvPr/>
          </p:nvSpPr>
          <p:spPr>
            <a:xfrm>
              <a:off x="3833375" y="669850"/>
              <a:ext cx="23750" cy="20200"/>
            </a:xfrm>
            <a:custGeom>
              <a:avLst/>
              <a:gdLst/>
              <a:ahLst/>
              <a:cxnLst/>
              <a:rect l="l" t="t" r="r" b="b"/>
              <a:pathLst>
                <a:path w="950" h="808" extrusionOk="0">
                  <a:moveTo>
                    <a:pt x="379" y="0"/>
                  </a:moveTo>
                  <a:cubicBezTo>
                    <a:pt x="178" y="0"/>
                    <a:pt x="0" y="265"/>
                    <a:pt x="198" y="453"/>
                  </a:cubicBezTo>
                  <a:lnTo>
                    <a:pt x="486" y="733"/>
                  </a:lnTo>
                  <a:cubicBezTo>
                    <a:pt x="535" y="782"/>
                    <a:pt x="600" y="807"/>
                    <a:pt x="666" y="807"/>
                  </a:cubicBezTo>
                  <a:cubicBezTo>
                    <a:pt x="732" y="807"/>
                    <a:pt x="799" y="782"/>
                    <a:pt x="851" y="733"/>
                  </a:cubicBezTo>
                  <a:cubicBezTo>
                    <a:pt x="949" y="635"/>
                    <a:pt x="949" y="474"/>
                    <a:pt x="851" y="368"/>
                  </a:cubicBezTo>
                  <a:lnTo>
                    <a:pt x="563" y="88"/>
                  </a:lnTo>
                  <a:cubicBezTo>
                    <a:pt x="507" y="26"/>
                    <a:pt x="442" y="0"/>
                    <a:pt x="379" y="0"/>
                  </a:cubicBezTo>
                  <a:close/>
                </a:path>
              </a:pathLst>
            </a:custGeom>
            <a:solidFill>
              <a:srgbClr val="3F577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23" name="Google Shape;1332;p44"/>
            <p:cNvSpPr/>
            <p:nvPr/>
          </p:nvSpPr>
          <p:spPr>
            <a:xfrm>
              <a:off x="3790350" y="713650"/>
              <a:ext cx="23250" cy="20075"/>
            </a:xfrm>
            <a:custGeom>
              <a:avLst/>
              <a:gdLst/>
              <a:ahLst/>
              <a:cxnLst/>
              <a:rect l="l" t="t" r="r" b="b"/>
              <a:pathLst>
                <a:path w="930" h="803" extrusionOk="0">
                  <a:moveTo>
                    <a:pt x="369" y="0"/>
                  </a:moveTo>
                  <a:cubicBezTo>
                    <a:pt x="172" y="0"/>
                    <a:pt x="1" y="252"/>
                    <a:pt x="179" y="441"/>
                  </a:cubicBezTo>
                  <a:lnTo>
                    <a:pt x="467" y="729"/>
                  </a:lnTo>
                  <a:cubicBezTo>
                    <a:pt x="516" y="778"/>
                    <a:pt x="581" y="803"/>
                    <a:pt x="647" y="803"/>
                  </a:cubicBezTo>
                  <a:cubicBezTo>
                    <a:pt x="712" y="803"/>
                    <a:pt x="779" y="778"/>
                    <a:pt x="832" y="729"/>
                  </a:cubicBezTo>
                  <a:cubicBezTo>
                    <a:pt x="930" y="624"/>
                    <a:pt x="930" y="462"/>
                    <a:pt x="832" y="357"/>
                  </a:cubicBezTo>
                  <a:lnTo>
                    <a:pt x="544" y="76"/>
                  </a:lnTo>
                  <a:cubicBezTo>
                    <a:pt x="489" y="23"/>
                    <a:pt x="428" y="0"/>
                    <a:pt x="369" y="0"/>
                  </a:cubicBezTo>
                  <a:close/>
                </a:path>
              </a:pathLst>
            </a:custGeom>
            <a:solidFill>
              <a:srgbClr val="3F577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24" name="Google Shape;1333;p44"/>
            <p:cNvSpPr/>
            <p:nvPr/>
          </p:nvSpPr>
          <p:spPr>
            <a:xfrm>
              <a:off x="3746725" y="757025"/>
              <a:ext cx="23375" cy="20225"/>
            </a:xfrm>
            <a:custGeom>
              <a:avLst/>
              <a:gdLst/>
              <a:ahLst/>
              <a:cxnLst/>
              <a:rect l="l" t="t" r="r" b="b"/>
              <a:pathLst>
                <a:path w="935" h="809" extrusionOk="0">
                  <a:moveTo>
                    <a:pt x="370" y="0"/>
                  </a:moveTo>
                  <a:cubicBezTo>
                    <a:pt x="172" y="0"/>
                    <a:pt x="1" y="259"/>
                    <a:pt x="183" y="447"/>
                  </a:cubicBezTo>
                  <a:lnTo>
                    <a:pt x="471" y="735"/>
                  </a:lnTo>
                  <a:cubicBezTo>
                    <a:pt x="520" y="784"/>
                    <a:pt x="585" y="808"/>
                    <a:pt x="651" y="808"/>
                  </a:cubicBezTo>
                  <a:cubicBezTo>
                    <a:pt x="717" y="808"/>
                    <a:pt x="783" y="784"/>
                    <a:pt x="836" y="735"/>
                  </a:cubicBezTo>
                  <a:cubicBezTo>
                    <a:pt x="934" y="629"/>
                    <a:pt x="934" y="468"/>
                    <a:pt x="836" y="370"/>
                  </a:cubicBezTo>
                  <a:lnTo>
                    <a:pt x="548" y="82"/>
                  </a:lnTo>
                  <a:cubicBezTo>
                    <a:pt x="493" y="24"/>
                    <a:pt x="430" y="0"/>
                    <a:pt x="370" y="0"/>
                  </a:cubicBezTo>
                  <a:close/>
                </a:path>
              </a:pathLst>
            </a:custGeom>
            <a:solidFill>
              <a:srgbClr val="3F577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25" name="Google Shape;1334;p44"/>
            <p:cNvSpPr/>
            <p:nvPr/>
          </p:nvSpPr>
          <p:spPr>
            <a:xfrm>
              <a:off x="3702825" y="800400"/>
              <a:ext cx="23750" cy="20350"/>
            </a:xfrm>
            <a:custGeom>
              <a:avLst/>
              <a:gdLst/>
              <a:ahLst/>
              <a:cxnLst/>
              <a:rect l="l" t="t" r="r" b="b"/>
              <a:pathLst>
                <a:path w="950" h="814" extrusionOk="0">
                  <a:moveTo>
                    <a:pt x="380" y="0"/>
                  </a:moveTo>
                  <a:cubicBezTo>
                    <a:pt x="178" y="0"/>
                    <a:pt x="1" y="265"/>
                    <a:pt x="199" y="452"/>
                  </a:cubicBezTo>
                  <a:lnTo>
                    <a:pt x="487" y="740"/>
                  </a:lnTo>
                  <a:cubicBezTo>
                    <a:pt x="536" y="789"/>
                    <a:pt x="601" y="814"/>
                    <a:pt x="666" y="814"/>
                  </a:cubicBezTo>
                  <a:cubicBezTo>
                    <a:pt x="732" y="814"/>
                    <a:pt x="799" y="789"/>
                    <a:pt x="851" y="740"/>
                  </a:cubicBezTo>
                  <a:cubicBezTo>
                    <a:pt x="950" y="635"/>
                    <a:pt x="950" y="473"/>
                    <a:pt x="851" y="368"/>
                  </a:cubicBezTo>
                  <a:lnTo>
                    <a:pt x="564" y="87"/>
                  </a:lnTo>
                  <a:cubicBezTo>
                    <a:pt x="507" y="26"/>
                    <a:pt x="442" y="0"/>
                    <a:pt x="380" y="0"/>
                  </a:cubicBezTo>
                  <a:close/>
                </a:path>
              </a:pathLst>
            </a:custGeom>
            <a:solidFill>
              <a:srgbClr val="3F577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26" name="Google Shape;1335;p44"/>
            <p:cNvSpPr/>
            <p:nvPr/>
          </p:nvSpPr>
          <p:spPr>
            <a:xfrm>
              <a:off x="3659575" y="844050"/>
              <a:ext cx="23500" cy="20225"/>
            </a:xfrm>
            <a:custGeom>
              <a:avLst/>
              <a:gdLst/>
              <a:ahLst/>
              <a:cxnLst/>
              <a:rect l="l" t="t" r="r" b="b"/>
              <a:pathLst>
                <a:path w="940" h="809" extrusionOk="0">
                  <a:moveTo>
                    <a:pt x="371" y="0"/>
                  </a:moveTo>
                  <a:cubicBezTo>
                    <a:pt x="170" y="0"/>
                    <a:pt x="0" y="259"/>
                    <a:pt x="188" y="447"/>
                  </a:cubicBezTo>
                  <a:lnTo>
                    <a:pt x="476" y="735"/>
                  </a:lnTo>
                  <a:cubicBezTo>
                    <a:pt x="525" y="784"/>
                    <a:pt x="590" y="808"/>
                    <a:pt x="656" y="808"/>
                  </a:cubicBezTo>
                  <a:cubicBezTo>
                    <a:pt x="722" y="808"/>
                    <a:pt x="788" y="784"/>
                    <a:pt x="841" y="735"/>
                  </a:cubicBezTo>
                  <a:cubicBezTo>
                    <a:pt x="939" y="629"/>
                    <a:pt x="939" y="468"/>
                    <a:pt x="841" y="370"/>
                  </a:cubicBezTo>
                  <a:lnTo>
                    <a:pt x="553" y="82"/>
                  </a:lnTo>
                  <a:cubicBezTo>
                    <a:pt x="496" y="25"/>
                    <a:pt x="432" y="0"/>
                    <a:pt x="371" y="0"/>
                  </a:cubicBezTo>
                  <a:close/>
                </a:path>
              </a:pathLst>
            </a:custGeom>
            <a:solidFill>
              <a:srgbClr val="3F577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27" name="Google Shape;1336;p44"/>
            <p:cNvSpPr/>
            <p:nvPr/>
          </p:nvSpPr>
          <p:spPr>
            <a:xfrm>
              <a:off x="3615775" y="887450"/>
              <a:ext cx="23600" cy="20325"/>
            </a:xfrm>
            <a:custGeom>
              <a:avLst/>
              <a:gdLst/>
              <a:ahLst/>
              <a:cxnLst/>
              <a:rect l="l" t="t" r="r" b="b"/>
              <a:pathLst>
                <a:path w="944" h="813" extrusionOk="0">
                  <a:moveTo>
                    <a:pt x="379" y="0"/>
                  </a:moveTo>
                  <a:cubicBezTo>
                    <a:pt x="176" y="0"/>
                    <a:pt x="1" y="269"/>
                    <a:pt x="200" y="451"/>
                  </a:cubicBezTo>
                  <a:lnTo>
                    <a:pt x="480" y="739"/>
                  </a:lnTo>
                  <a:cubicBezTo>
                    <a:pt x="533" y="788"/>
                    <a:pt x="600" y="813"/>
                    <a:pt x="665" y="813"/>
                  </a:cubicBezTo>
                  <a:cubicBezTo>
                    <a:pt x="731" y="813"/>
                    <a:pt x="796" y="788"/>
                    <a:pt x="845" y="739"/>
                  </a:cubicBezTo>
                  <a:cubicBezTo>
                    <a:pt x="944" y="634"/>
                    <a:pt x="944" y="473"/>
                    <a:pt x="845" y="374"/>
                  </a:cubicBezTo>
                  <a:lnTo>
                    <a:pt x="565" y="87"/>
                  </a:lnTo>
                  <a:cubicBezTo>
                    <a:pt x="507" y="25"/>
                    <a:pt x="442" y="0"/>
                    <a:pt x="379" y="0"/>
                  </a:cubicBezTo>
                  <a:close/>
                </a:path>
              </a:pathLst>
            </a:custGeom>
            <a:solidFill>
              <a:srgbClr val="3F577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28" name="Google Shape;1337;p44"/>
            <p:cNvSpPr/>
            <p:nvPr/>
          </p:nvSpPr>
          <p:spPr>
            <a:xfrm>
              <a:off x="3572525" y="931075"/>
              <a:ext cx="23525" cy="20225"/>
            </a:xfrm>
            <a:custGeom>
              <a:avLst/>
              <a:gdLst/>
              <a:ahLst/>
              <a:cxnLst/>
              <a:rect l="l" t="t" r="r" b="b"/>
              <a:pathLst>
                <a:path w="941" h="809" extrusionOk="0">
                  <a:moveTo>
                    <a:pt x="378" y="1"/>
                  </a:moveTo>
                  <a:cubicBezTo>
                    <a:pt x="175" y="1"/>
                    <a:pt x="1" y="259"/>
                    <a:pt x="189" y="447"/>
                  </a:cubicBezTo>
                  <a:lnTo>
                    <a:pt x="470" y="735"/>
                  </a:lnTo>
                  <a:cubicBezTo>
                    <a:pt x="522" y="784"/>
                    <a:pt x="589" y="809"/>
                    <a:pt x="656" y="809"/>
                  </a:cubicBezTo>
                  <a:cubicBezTo>
                    <a:pt x="722" y="809"/>
                    <a:pt x="789" y="784"/>
                    <a:pt x="842" y="735"/>
                  </a:cubicBezTo>
                  <a:cubicBezTo>
                    <a:pt x="940" y="637"/>
                    <a:pt x="940" y="468"/>
                    <a:pt x="842" y="370"/>
                  </a:cubicBezTo>
                  <a:lnTo>
                    <a:pt x="561" y="82"/>
                  </a:lnTo>
                  <a:cubicBezTo>
                    <a:pt x="504" y="25"/>
                    <a:pt x="439" y="1"/>
                    <a:pt x="378" y="1"/>
                  </a:cubicBezTo>
                  <a:close/>
                </a:path>
              </a:pathLst>
            </a:custGeom>
            <a:solidFill>
              <a:srgbClr val="3F577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29" name="Google Shape;1338;p44"/>
            <p:cNvSpPr/>
            <p:nvPr/>
          </p:nvSpPr>
          <p:spPr>
            <a:xfrm>
              <a:off x="3529250" y="974825"/>
              <a:ext cx="23275" cy="20000"/>
            </a:xfrm>
            <a:custGeom>
              <a:avLst/>
              <a:gdLst/>
              <a:ahLst/>
              <a:cxnLst/>
              <a:rect l="l" t="t" r="r" b="b"/>
              <a:pathLst>
                <a:path w="931" h="800" extrusionOk="0">
                  <a:moveTo>
                    <a:pt x="370" y="1"/>
                  </a:moveTo>
                  <a:cubicBezTo>
                    <a:pt x="170" y="1"/>
                    <a:pt x="0" y="253"/>
                    <a:pt x="179" y="438"/>
                  </a:cubicBezTo>
                  <a:lnTo>
                    <a:pt x="460" y="725"/>
                  </a:lnTo>
                  <a:cubicBezTo>
                    <a:pt x="513" y="775"/>
                    <a:pt x="580" y="799"/>
                    <a:pt x="646" y="799"/>
                  </a:cubicBezTo>
                  <a:cubicBezTo>
                    <a:pt x="713" y="799"/>
                    <a:pt x="780" y="775"/>
                    <a:pt x="832" y="725"/>
                  </a:cubicBezTo>
                  <a:cubicBezTo>
                    <a:pt x="930" y="620"/>
                    <a:pt x="923" y="459"/>
                    <a:pt x="825" y="360"/>
                  </a:cubicBezTo>
                  <a:lnTo>
                    <a:pt x="544" y="73"/>
                  </a:lnTo>
                  <a:cubicBezTo>
                    <a:pt x="489" y="22"/>
                    <a:pt x="428" y="1"/>
                    <a:pt x="370" y="1"/>
                  </a:cubicBezTo>
                  <a:close/>
                </a:path>
              </a:pathLst>
            </a:custGeom>
            <a:solidFill>
              <a:srgbClr val="3F577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30" name="Google Shape;1339;p44"/>
            <p:cNvSpPr/>
            <p:nvPr/>
          </p:nvSpPr>
          <p:spPr>
            <a:xfrm>
              <a:off x="3485500" y="1018275"/>
              <a:ext cx="23500" cy="20050"/>
            </a:xfrm>
            <a:custGeom>
              <a:avLst/>
              <a:gdLst/>
              <a:ahLst/>
              <a:cxnLst/>
              <a:rect l="l" t="t" r="r" b="b"/>
              <a:pathLst>
                <a:path w="940" h="802" extrusionOk="0">
                  <a:moveTo>
                    <a:pt x="371" y="1"/>
                  </a:moveTo>
                  <a:cubicBezTo>
                    <a:pt x="171" y="1"/>
                    <a:pt x="1" y="259"/>
                    <a:pt x="189" y="447"/>
                  </a:cubicBezTo>
                  <a:lnTo>
                    <a:pt x="470" y="728"/>
                  </a:lnTo>
                  <a:cubicBezTo>
                    <a:pt x="522" y="777"/>
                    <a:pt x="589" y="802"/>
                    <a:pt x="655" y="802"/>
                  </a:cubicBezTo>
                  <a:cubicBezTo>
                    <a:pt x="721" y="802"/>
                    <a:pt x="785" y="777"/>
                    <a:pt x="835" y="728"/>
                  </a:cubicBezTo>
                  <a:cubicBezTo>
                    <a:pt x="940" y="630"/>
                    <a:pt x="940" y="461"/>
                    <a:pt x="835" y="363"/>
                  </a:cubicBezTo>
                  <a:lnTo>
                    <a:pt x="554" y="82"/>
                  </a:lnTo>
                  <a:cubicBezTo>
                    <a:pt x="496" y="25"/>
                    <a:pt x="432" y="1"/>
                    <a:pt x="371" y="1"/>
                  </a:cubicBezTo>
                  <a:close/>
                </a:path>
              </a:pathLst>
            </a:custGeom>
            <a:solidFill>
              <a:srgbClr val="3F577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196917196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AA16B7AC-F676-4F67-8813-4F8F68AAD7D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302911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64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="" xmlns:a16="http://schemas.microsoft.com/office/drawing/2014/main" id="{260A3D96-399B-450E-B597-24C3AA9AE05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US" sz="240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="" xmlns:a16="http://schemas.microsoft.com/office/drawing/2014/main" id="{8CB181B4-F7F7-46DD-8436-013077DF9C04}"/>
              </a:ext>
            </a:extLst>
          </p:cNvPr>
          <p:cNvSpPr/>
          <p:nvPr/>
        </p:nvSpPr>
        <p:spPr>
          <a:xfrm>
            <a:off x="246381" y="1640822"/>
            <a:ext cx="8646794" cy="4020425"/>
          </a:xfrm>
          <a:prstGeom prst="rect">
            <a:avLst/>
          </a:prstGeom>
          <a:noFill/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97212" indent="-97212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</a:pPr>
            <a:endParaRPr lang="en-US" sz="12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="" xmlns:a16="http://schemas.microsoft.com/office/drawing/2014/main" id="{8CB181B4-F7F7-46DD-8436-013077DF9C04}"/>
              </a:ext>
            </a:extLst>
          </p:cNvPr>
          <p:cNvSpPr/>
          <p:nvPr/>
        </p:nvSpPr>
        <p:spPr>
          <a:xfrm>
            <a:off x="755576" y="1160748"/>
            <a:ext cx="7322898" cy="4020425"/>
          </a:xfrm>
          <a:prstGeom prst="rect">
            <a:avLst/>
          </a:prstGeom>
          <a:noFill/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2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SzPct val="100000"/>
            </a:pPr>
            <a:r>
              <a:rPr lang="en-US" sz="54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Special Thanks</a:t>
            </a:r>
          </a:p>
          <a:p>
            <a:pPr lvl="2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SzPct val="100000"/>
            </a:pPr>
            <a:r>
              <a:rPr lang="en-US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	</a:t>
            </a:r>
            <a:r>
              <a:rPr lang="en-US" sz="24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	</a:t>
            </a:r>
          </a:p>
          <a:p>
            <a:pPr lvl="2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SzPct val="100000"/>
            </a:pPr>
            <a:r>
              <a:rPr lang="en-US" sz="2400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	</a:t>
            </a:r>
            <a:r>
              <a:rPr lang="en-US" sz="2400" b="1" dirty="0" err="1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Eldias</a:t>
            </a:r>
            <a:r>
              <a:rPr lang="en-US" sz="24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“</a:t>
            </a:r>
            <a:r>
              <a:rPr lang="en-US" sz="2400" b="1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The Mauritian</a:t>
            </a:r>
            <a:r>
              <a:rPr lang="en-US" sz="24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”</a:t>
            </a:r>
          </a:p>
          <a:p>
            <a:pPr lvl="2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SzPct val="100000"/>
            </a:pPr>
            <a:r>
              <a:rPr lang="en-US" sz="2400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	 </a:t>
            </a:r>
            <a:r>
              <a:rPr lang="en-US" sz="24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   </a:t>
            </a:r>
            <a:r>
              <a:rPr lang="en-US" sz="24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“</a:t>
            </a:r>
            <a:r>
              <a:rPr lang="en-US" sz="2400" b="1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The King</a:t>
            </a:r>
            <a:r>
              <a:rPr lang="en-US" sz="24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” Singh</a:t>
            </a:r>
          </a:p>
          <a:p>
            <a:pPr lvl="2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SzPct val="100000"/>
            </a:pPr>
            <a:r>
              <a:rPr lang="en-US" sz="2400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	 </a:t>
            </a:r>
            <a:r>
              <a:rPr lang="en-US" sz="24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     Mano “</a:t>
            </a:r>
            <a:r>
              <a:rPr lang="en-US" sz="2400" b="1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Le Tough</a:t>
            </a:r>
            <a:r>
              <a:rPr lang="en-US" sz="24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”</a:t>
            </a:r>
            <a:endParaRPr lang="en-US" sz="2400" b="1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443" name="Google Shape;1442;p44"/>
          <p:cNvGrpSpPr/>
          <p:nvPr/>
        </p:nvGrpSpPr>
        <p:grpSpPr>
          <a:xfrm>
            <a:off x="1529121" y="4300089"/>
            <a:ext cx="5796644" cy="2564933"/>
            <a:chOff x="5292445" y="1144780"/>
            <a:chExt cx="3240439" cy="1591875"/>
          </a:xfrm>
        </p:grpSpPr>
        <p:sp>
          <p:nvSpPr>
            <p:cNvPr id="444" name="Google Shape;1443;p44"/>
            <p:cNvSpPr/>
            <p:nvPr/>
          </p:nvSpPr>
          <p:spPr>
            <a:xfrm>
              <a:off x="5292445" y="1144780"/>
              <a:ext cx="3240439" cy="1591875"/>
            </a:xfrm>
            <a:custGeom>
              <a:avLst/>
              <a:gdLst/>
              <a:ahLst/>
              <a:cxnLst/>
              <a:rect l="l" t="t" r="r" b="b"/>
              <a:pathLst>
                <a:path w="285690" h="140346" extrusionOk="0">
                  <a:moveTo>
                    <a:pt x="0" y="0"/>
                  </a:moveTo>
                  <a:lnTo>
                    <a:pt x="0" y="42399"/>
                  </a:lnTo>
                  <a:lnTo>
                    <a:pt x="92369" y="42399"/>
                  </a:lnTo>
                  <a:lnTo>
                    <a:pt x="92369" y="0"/>
                  </a:lnTo>
                  <a:close/>
                  <a:moveTo>
                    <a:pt x="96665" y="0"/>
                  </a:moveTo>
                  <a:lnTo>
                    <a:pt x="96665" y="42399"/>
                  </a:lnTo>
                  <a:lnTo>
                    <a:pt x="189035" y="42399"/>
                  </a:lnTo>
                  <a:lnTo>
                    <a:pt x="189035" y="0"/>
                  </a:lnTo>
                  <a:close/>
                  <a:moveTo>
                    <a:pt x="193331" y="0"/>
                  </a:moveTo>
                  <a:lnTo>
                    <a:pt x="193331" y="42399"/>
                  </a:lnTo>
                  <a:lnTo>
                    <a:pt x="285690" y="42399"/>
                  </a:lnTo>
                  <a:lnTo>
                    <a:pt x="285690" y="0"/>
                  </a:lnTo>
                  <a:close/>
                  <a:moveTo>
                    <a:pt x="0" y="46405"/>
                  </a:moveTo>
                  <a:lnTo>
                    <a:pt x="0" y="140346"/>
                  </a:lnTo>
                  <a:lnTo>
                    <a:pt x="92369" y="140346"/>
                  </a:lnTo>
                  <a:lnTo>
                    <a:pt x="92369" y="46405"/>
                  </a:lnTo>
                  <a:close/>
                  <a:moveTo>
                    <a:pt x="96665" y="46405"/>
                  </a:moveTo>
                  <a:lnTo>
                    <a:pt x="96665" y="140346"/>
                  </a:lnTo>
                  <a:lnTo>
                    <a:pt x="189035" y="140346"/>
                  </a:lnTo>
                  <a:lnTo>
                    <a:pt x="189035" y="46405"/>
                  </a:lnTo>
                  <a:close/>
                  <a:moveTo>
                    <a:pt x="193331" y="46405"/>
                  </a:moveTo>
                  <a:lnTo>
                    <a:pt x="193331" y="140346"/>
                  </a:lnTo>
                  <a:lnTo>
                    <a:pt x="285690" y="140346"/>
                  </a:lnTo>
                  <a:lnTo>
                    <a:pt x="285690" y="46405"/>
                  </a:lnTo>
                  <a:close/>
                </a:path>
              </a:pathLst>
            </a:custGeom>
            <a:solidFill>
              <a:srgbClr val="87B7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445" name="Google Shape;1444;p44"/>
            <p:cNvSpPr/>
            <p:nvPr/>
          </p:nvSpPr>
          <p:spPr>
            <a:xfrm>
              <a:off x="5292445" y="2290145"/>
              <a:ext cx="3240439" cy="155971"/>
            </a:xfrm>
            <a:custGeom>
              <a:avLst/>
              <a:gdLst/>
              <a:ahLst/>
              <a:cxnLst/>
              <a:rect l="l" t="t" r="r" b="b"/>
              <a:pathLst>
                <a:path w="285690" h="13751" extrusionOk="0">
                  <a:moveTo>
                    <a:pt x="0" y="1"/>
                  </a:moveTo>
                  <a:lnTo>
                    <a:pt x="0" y="13750"/>
                  </a:lnTo>
                  <a:lnTo>
                    <a:pt x="285690" y="13750"/>
                  </a:lnTo>
                  <a:lnTo>
                    <a:pt x="285690" y="5238"/>
                  </a:lnTo>
                  <a:lnTo>
                    <a:pt x="285690" y="1"/>
                  </a:lnTo>
                  <a:lnTo>
                    <a:pt x="280583" y="1"/>
                  </a:lnTo>
                  <a:lnTo>
                    <a:pt x="280583" y="5238"/>
                  </a:lnTo>
                  <a:lnTo>
                    <a:pt x="279792" y="5238"/>
                  </a:lnTo>
                  <a:lnTo>
                    <a:pt x="279792" y="1964"/>
                  </a:lnTo>
                  <a:lnTo>
                    <a:pt x="274685" y="1964"/>
                  </a:lnTo>
                  <a:lnTo>
                    <a:pt x="274685" y="5238"/>
                  </a:lnTo>
                  <a:lnTo>
                    <a:pt x="273253" y="5238"/>
                  </a:lnTo>
                  <a:lnTo>
                    <a:pt x="273253" y="1"/>
                  </a:lnTo>
                  <a:lnTo>
                    <a:pt x="270699" y="1"/>
                  </a:lnTo>
                  <a:lnTo>
                    <a:pt x="270699" y="5238"/>
                  </a:lnTo>
                  <a:lnTo>
                    <a:pt x="269577" y="5238"/>
                  </a:lnTo>
                  <a:lnTo>
                    <a:pt x="269577" y="1"/>
                  </a:lnTo>
                  <a:lnTo>
                    <a:pt x="258442" y="1"/>
                  </a:lnTo>
                  <a:lnTo>
                    <a:pt x="258442" y="5238"/>
                  </a:lnTo>
                  <a:lnTo>
                    <a:pt x="256729" y="5238"/>
                  </a:lnTo>
                  <a:lnTo>
                    <a:pt x="256729" y="1964"/>
                  </a:lnTo>
                  <a:lnTo>
                    <a:pt x="245604" y="1964"/>
                  </a:lnTo>
                  <a:lnTo>
                    <a:pt x="245604" y="5238"/>
                  </a:lnTo>
                  <a:lnTo>
                    <a:pt x="244943" y="5238"/>
                  </a:lnTo>
                  <a:lnTo>
                    <a:pt x="244943" y="1"/>
                  </a:lnTo>
                  <a:lnTo>
                    <a:pt x="239836" y="1"/>
                  </a:lnTo>
                  <a:lnTo>
                    <a:pt x="239836" y="5238"/>
                  </a:lnTo>
                  <a:lnTo>
                    <a:pt x="239045" y="5238"/>
                  </a:lnTo>
                  <a:lnTo>
                    <a:pt x="239045" y="1964"/>
                  </a:lnTo>
                  <a:lnTo>
                    <a:pt x="233937" y="1964"/>
                  </a:lnTo>
                  <a:lnTo>
                    <a:pt x="233937" y="5238"/>
                  </a:lnTo>
                  <a:lnTo>
                    <a:pt x="232505" y="5238"/>
                  </a:lnTo>
                  <a:lnTo>
                    <a:pt x="232505" y="1"/>
                  </a:lnTo>
                  <a:lnTo>
                    <a:pt x="229952" y="1"/>
                  </a:lnTo>
                  <a:lnTo>
                    <a:pt x="229952" y="5238"/>
                  </a:lnTo>
                  <a:lnTo>
                    <a:pt x="220308" y="5238"/>
                  </a:lnTo>
                  <a:lnTo>
                    <a:pt x="220308" y="1"/>
                  </a:lnTo>
                  <a:lnTo>
                    <a:pt x="215201" y="1"/>
                  </a:lnTo>
                  <a:lnTo>
                    <a:pt x="215201" y="5238"/>
                  </a:lnTo>
                  <a:lnTo>
                    <a:pt x="214360" y="5238"/>
                  </a:lnTo>
                  <a:lnTo>
                    <a:pt x="214360" y="1"/>
                  </a:lnTo>
                  <a:lnTo>
                    <a:pt x="209253" y="1"/>
                  </a:lnTo>
                  <a:lnTo>
                    <a:pt x="209253" y="5238"/>
                  </a:lnTo>
                  <a:lnTo>
                    <a:pt x="208462" y="5238"/>
                  </a:lnTo>
                  <a:lnTo>
                    <a:pt x="208462" y="1964"/>
                  </a:lnTo>
                  <a:lnTo>
                    <a:pt x="203355" y="1964"/>
                  </a:lnTo>
                  <a:lnTo>
                    <a:pt x="203355" y="5238"/>
                  </a:lnTo>
                  <a:lnTo>
                    <a:pt x="201923" y="5238"/>
                  </a:lnTo>
                  <a:lnTo>
                    <a:pt x="201923" y="1"/>
                  </a:lnTo>
                  <a:lnTo>
                    <a:pt x="199369" y="1"/>
                  </a:lnTo>
                  <a:lnTo>
                    <a:pt x="199369" y="5238"/>
                  </a:lnTo>
                  <a:lnTo>
                    <a:pt x="198238" y="5238"/>
                  </a:lnTo>
                  <a:lnTo>
                    <a:pt x="198238" y="1"/>
                  </a:lnTo>
                  <a:lnTo>
                    <a:pt x="187112" y="1"/>
                  </a:lnTo>
                  <a:lnTo>
                    <a:pt x="187112" y="5238"/>
                  </a:lnTo>
                  <a:lnTo>
                    <a:pt x="185400" y="5238"/>
                  </a:lnTo>
                  <a:lnTo>
                    <a:pt x="185400" y="1964"/>
                  </a:lnTo>
                  <a:lnTo>
                    <a:pt x="174264" y="1964"/>
                  </a:lnTo>
                  <a:lnTo>
                    <a:pt x="174264" y="5238"/>
                  </a:lnTo>
                  <a:lnTo>
                    <a:pt x="173613" y="5238"/>
                  </a:lnTo>
                  <a:lnTo>
                    <a:pt x="173613" y="1"/>
                  </a:lnTo>
                  <a:lnTo>
                    <a:pt x="168496" y="1"/>
                  </a:lnTo>
                  <a:lnTo>
                    <a:pt x="168496" y="5238"/>
                  </a:lnTo>
                  <a:lnTo>
                    <a:pt x="167715" y="5238"/>
                  </a:lnTo>
                  <a:lnTo>
                    <a:pt x="167715" y="1964"/>
                  </a:lnTo>
                  <a:lnTo>
                    <a:pt x="162608" y="1964"/>
                  </a:lnTo>
                  <a:lnTo>
                    <a:pt x="162608" y="5238"/>
                  </a:lnTo>
                  <a:lnTo>
                    <a:pt x="161176" y="5238"/>
                  </a:lnTo>
                  <a:lnTo>
                    <a:pt x="161176" y="1"/>
                  </a:lnTo>
                  <a:lnTo>
                    <a:pt x="158622" y="1"/>
                  </a:lnTo>
                  <a:lnTo>
                    <a:pt x="158622" y="5238"/>
                  </a:lnTo>
                  <a:lnTo>
                    <a:pt x="148979" y="5238"/>
                  </a:lnTo>
                  <a:lnTo>
                    <a:pt x="148979" y="1"/>
                  </a:lnTo>
                  <a:lnTo>
                    <a:pt x="143871" y="1"/>
                  </a:lnTo>
                  <a:lnTo>
                    <a:pt x="143871" y="5238"/>
                  </a:lnTo>
                  <a:lnTo>
                    <a:pt x="141829" y="5238"/>
                  </a:lnTo>
                  <a:lnTo>
                    <a:pt x="141829" y="1"/>
                  </a:lnTo>
                  <a:lnTo>
                    <a:pt x="136721" y="1"/>
                  </a:lnTo>
                  <a:lnTo>
                    <a:pt x="136721" y="5238"/>
                  </a:lnTo>
                  <a:lnTo>
                    <a:pt x="135930" y="5238"/>
                  </a:lnTo>
                  <a:lnTo>
                    <a:pt x="135930" y="1964"/>
                  </a:lnTo>
                  <a:lnTo>
                    <a:pt x="130823" y="1964"/>
                  </a:lnTo>
                  <a:lnTo>
                    <a:pt x="130823" y="5238"/>
                  </a:lnTo>
                  <a:lnTo>
                    <a:pt x="129391" y="5238"/>
                  </a:lnTo>
                  <a:lnTo>
                    <a:pt x="129391" y="1"/>
                  </a:lnTo>
                  <a:lnTo>
                    <a:pt x="126838" y="1"/>
                  </a:lnTo>
                  <a:lnTo>
                    <a:pt x="126838" y="5238"/>
                  </a:lnTo>
                  <a:lnTo>
                    <a:pt x="125716" y="5238"/>
                  </a:lnTo>
                  <a:lnTo>
                    <a:pt x="125716" y="1"/>
                  </a:lnTo>
                  <a:lnTo>
                    <a:pt x="114580" y="1"/>
                  </a:lnTo>
                  <a:lnTo>
                    <a:pt x="114580" y="5238"/>
                  </a:lnTo>
                  <a:lnTo>
                    <a:pt x="112868" y="5238"/>
                  </a:lnTo>
                  <a:lnTo>
                    <a:pt x="112868" y="1964"/>
                  </a:lnTo>
                  <a:lnTo>
                    <a:pt x="101732" y="1964"/>
                  </a:lnTo>
                  <a:lnTo>
                    <a:pt x="101732" y="5238"/>
                  </a:lnTo>
                  <a:lnTo>
                    <a:pt x="101082" y="5238"/>
                  </a:lnTo>
                  <a:lnTo>
                    <a:pt x="101082" y="1"/>
                  </a:lnTo>
                  <a:lnTo>
                    <a:pt x="95964" y="1"/>
                  </a:lnTo>
                  <a:lnTo>
                    <a:pt x="95964" y="5238"/>
                  </a:lnTo>
                  <a:lnTo>
                    <a:pt x="95183" y="5238"/>
                  </a:lnTo>
                  <a:lnTo>
                    <a:pt x="95183" y="1964"/>
                  </a:lnTo>
                  <a:lnTo>
                    <a:pt x="90076" y="1964"/>
                  </a:lnTo>
                  <a:lnTo>
                    <a:pt x="90076" y="5238"/>
                  </a:lnTo>
                  <a:lnTo>
                    <a:pt x="88644" y="5238"/>
                  </a:lnTo>
                  <a:lnTo>
                    <a:pt x="88644" y="1"/>
                  </a:lnTo>
                  <a:lnTo>
                    <a:pt x="86091" y="1"/>
                  </a:lnTo>
                  <a:lnTo>
                    <a:pt x="86091" y="5238"/>
                  </a:lnTo>
                  <a:lnTo>
                    <a:pt x="76447" y="5238"/>
                  </a:lnTo>
                  <a:lnTo>
                    <a:pt x="76447" y="1"/>
                  </a:lnTo>
                  <a:lnTo>
                    <a:pt x="71340" y="1"/>
                  </a:lnTo>
                  <a:lnTo>
                    <a:pt x="71340" y="5238"/>
                  </a:lnTo>
                  <a:lnTo>
                    <a:pt x="70489" y="5238"/>
                  </a:lnTo>
                  <a:lnTo>
                    <a:pt x="70489" y="1"/>
                  </a:lnTo>
                  <a:lnTo>
                    <a:pt x="65382" y="1"/>
                  </a:lnTo>
                  <a:lnTo>
                    <a:pt x="65382" y="5238"/>
                  </a:lnTo>
                  <a:lnTo>
                    <a:pt x="64600" y="5238"/>
                  </a:lnTo>
                  <a:lnTo>
                    <a:pt x="64600" y="1964"/>
                  </a:lnTo>
                  <a:lnTo>
                    <a:pt x="59483" y="1964"/>
                  </a:lnTo>
                  <a:lnTo>
                    <a:pt x="59483" y="5238"/>
                  </a:lnTo>
                  <a:lnTo>
                    <a:pt x="58051" y="5238"/>
                  </a:lnTo>
                  <a:lnTo>
                    <a:pt x="58051" y="1"/>
                  </a:lnTo>
                  <a:lnTo>
                    <a:pt x="55498" y="1"/>
                  </a:lnTo>
                  <a:lnTo>
                    <a:pt x="55498" y="5238"/>
                  </a:lnTo>
                  <a:lnTo>
                    <a:pt x="54376" y="5238"/>
                  </a:lnTo>
                  <a:lnTo>
                    <a:pt x="54376" y="1"/>
                  </a:lnTo>
                  <a:lnTo>
                    <a:pt x="43241" y="1"/>
                  </a:lnTo>
                  <a:lnTo>
                    <a:pt x="43241" y="5238"/>
                  </a:lnTo>
                  <a:lnTo>
                    <a:pt x="41528" y="5238"/>
                  </a:lnTo>
                  <a:lnTo>
                    <a:pt x="41528" y="1964"/>
                  </a:lnTo>
                  <a:lnTo>
                    <a:pt x="30403" y="1964"/>
                  </a:lnTo>
                  <a:lnTo>
                    <a:pt x="30403" y="5238"/>
                  </a:lnTo>
                  <a:lnTo>
                    <a:pt x="29742" y="5238"/>
                  </a:lnTo>
                  <a:lnTo>
                    <a:pt x="29742" y="1"/>
                  </a:lnTo>
                  <a:lnTo>
                    <a:pt x="24634" y="1"/>
                  </a:lnTo>
                  <a:lnTo>
                    <a:pt x="24634" y="5238"/>
                  </a:lnTo>
                  <a:lnTo>
                    <a:pt x="23843" y="5238"/>
                  </a:lnTo>
                  <a:lnTo>
                    <a:pt x="23843" y="1964"/>
                  </a:lnTo>
                  <a:lnTo>
                    <a:pt x="18736" y="1964"/>
                  </a:lnTo>
                  <a:lnTo>
                    <a:pt x="18736" y="5238"/>
                  </a:lnTo>
                  <a:lnTo>
                    <a:pt x="17304" y="5238"/>
                  </a:lnTo>
                  <a:lnTo>
                    <a:pt x="17304" y="1"/>
                  </a:lnTo>
                  <a:lnTo>
                    <a:pt x="14751" y="1"/>
                  </a:lnTo>
                  <a:lnTo>
                    <a:pt x="14751" y="5238"/>
                  </a:lnTo>
                  <a:lnTo>
                    <a:pt x="5107" y="5238"/>
                  </a:lnTo>
                  <a:lnTo>
                    <a:pt x="5107" y="1"/>
                  </a:lnTo>
                  <a:close/>
                </a:path>
              </a:pathLst>
            </a:custGeom>
            <a:solidFill>
              <a:srgbClr val="CCE0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446" name="Google Shape;1445;p44"/>
            <p:cNvSpPr/>
            <p:nvPr/>
          </p:nvSpPr>
          <p:spPr>
            <a:xfrm>
              <a:off x="5292445" y="2446105"/>
              <a:ext cx="3240439" cy="290549"/>
            </a:xfrm>
            <a:custGeom>
              <a:avLst/>
              <a:gdLst/>
              <a:ahLst/>
              <a:cxnLst/>
              <a:rect l="l" t="t" r="r" b="b"/>
              <a:pathLst>
                <a:path w="285690" h="25616" extrusionOk="0">
                  <a:moveTo>
                    <a:pt x="0" y="0"/>
                  </a:moveTo>
                  <a:lnTo>
                    <a:pt x="0" y="25616"/>
                  </a:lnTo>
                  <a:lnTo>
                    <a:pt x="285690" y="25616"/>
                  </a:lnTo>
                  <a:lnTo>
                    <a:pt x="285690" y="0"/>
                  </a:lnTo>
                  <a:close/>
                </a:path>
              </a:pathLst>
            </a:custGeom>
            <a:solidFill>
              <a:srgbClr val="F5CEBA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447" name="Google Shape;1446;p44"/>
            <p:cNvSpPr/>
            <p:nvPr/>
          </p:nvSpPr>
          <p:spPr>
            <a:xfrm>
              <a:off x="6553561" y="2005959"/>
              <a:ext cx="163910" cy="27165"/>
            </a:xfrm>
            <a:custGeom>
              <a:avLst/>
              <a:gdLst/>
              <a:ahLst/>
              <a:cxnLst/>
              <a:rect l="l" t="t" r="r" b="b"/>
              <a:pathLst>
                <a:path w="14451" h="2395" extrusionOk="0">
                  <a:moveTo>
                    <a:pt x="1" y="1"/>
                  </a:moveTo>
                  <a:lnTo>
                    <a:pt x="1" y="2394"/>
                  </a:lnTo>
                  <a:lnTo>
                    <a:pt x="14451" y="2394"/>
                  </a:lnTo>
                  <a:lnTo>
                    <a:pt x="14451" y="1"/>
                  </a:lnTo>
                  <a:close/>
                </a:path>
              </a:pathLst>
            </a:custGeom>
            <a:solidFill>
              <a:srgbClr val="73A4F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448" name="Google Shape;1447;p44"/>
            <p:cNvSpPr/>
            <p:nvPr/>
          </p:nvSpPr>
          <p:spPr>
            <a:xfrm>
              <a:off x="6553561" y="2108643"/>
              <a:ext cx="163910" cy="337473"/>
            </a:xfrm>
            <a:custGeom>
              <a:avLst/>
              <a:gdLst/>
              <a:ahLst/>
              <a:cxnLst/>
              <a:rect l="l" t="t" r="r" b="b"/>
              <a:pathLst>
                <a:path w="14451" h="29753" extrusionOk="0">
                  <a:moveTo>
                    <a:pt x="1" y="1"/>
                  </a:moveTo>
                  <a:lnTo>
                    <a:pt x="1" y="29752"/>
                  </a:lnTo>
                  <a:lnTo>
                    <a:pt x="14451" y="29752"/>
                  </a:lnTo>
                  <a:lnTo>
                    <a:pt x="14451" y="1"/>
                  </a:lnTo>
                  <a:close/>
                </a:path>
              </a:pathLst>
            </a:custGeom>
            <a:solidFill>
              <a:srgbClr val="73A4F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449" name="Google Shape;1448;p44"/>
            <p:cNvSpPr/>
            <p:nvPr/>
          </p:nvSpPr>
          <p:spPr>
            <a:xfrm>
              <a:off x="6553561" y="2033113"/>
              <a:ext cx="163910" cy="38394"/>
            </a:xfrm>
            <a:custGeom>
              <a:avLst/>
              <a:gdLst/>
              <a:ahLst/>
              <a:cxnLst/>
              <a:rect l="l" t="t" r="r" b="b"/>
              <a:pathLst>
                <a:path w="14451" h="3385" extrusionOk="0">
                  <a:moveTo>
                    <a:pt x="1" y="0"/>
                  </a:moveTo>
                  <a:lnTo>
                    <a:pt x="3105" y="3385"/>
                  </a:lnTo>
                  <a:lnTo>
                    <a:pt x="11357" y="3385"/>
                  </a:lnTo>
                  <a:lnTo>
                    <a:pt x="14451" y="0"/>
                  </a:lnTo>
                  <a:close/>
                </a:path>
              </a:pathLst>
            </a:custGeom>
            <a:solidFill>
              <a:srgbClr val="73A4F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450" name="Google Shape;1449;p44"/>
            <p:cNvSpPr/>
            <p:nvPr/>
          </p:nvSpPr>
          <p:spPr>
            <a:xfrm>
              <a:off x="6553561" y="1967576"/>
              <a:ext cx="163910" cy="38394"/>
            </a:xfrm>
            <a:custGeom>
              <a:avLst/>
              <a:gdLst/>
              <a:ahLst/>
              <a:cxnLst/>
              <a:rect l="l" t="t" r="r" b="b"/>
              <a:pathLst>
                <a:path w="14451" h="3385" extrusionOk="0">
                  <a:moveTo>
                    <a:pt x="3105" y="0"/>
                  </a:moveTo>
                  <a:lnTo>
                    <a:pt x="1" y="3385"/>
                  </a:lnTo>
                  <a:lnTo>
                    <a:pt x="14451" y="3385"/>
                  </a:lnTo>
                  <a:lnTo>
                    <a:pt x="11357" y="0"/>
                  </a:lnTo>
                  <a:close/>
                </a:path>
              </a:pathLst>
            </a:custGeom>
            <a:solidFill>
              <a:srgbClr val="73A4F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451" name="Google Shape;1450;p44"/>
            <p:cNvSpPr/>
            <p:nvPr/>
          </p:nvSpPr>
          <p:spPr>
            <a:xfrm>
              <a:off x="6553561" y="2071496"/>
              <a:ext cx="163910" cy="38406"/>
            </a:xfrm>
            <a:custGeom>
              <a:avLst/>
              <a:gdLst/>
              <a:ahLst/>
              <a:cxnLst/>
              <a:rect l="l" t="t" r="r" b="b"/>
              <a:pathLst>
                <a:path w="14451" h="3386" extrusionOk="0">
                  <a:moveTo>
                    <a:pt x="3105" y="1"/>
                  </a:moveTo>
                  <a:lnTo>
                    <a:pt x="1" y="3386"/>
                  </a:lnTo>
                  <a:lnTo>
                    <a:pt x="14451" y="3386"/>
                  </a:lnTo>
                  <a:lnTo>
                    <a:pt x="11357" y="1"/>
                  </a:lnTo>
                  <a:close/>
                </a:path>
              </a:pathLst>
            </a:custGeom>
            <a:solidFill>
              <a:srgbClr val="73A4F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452" name="Google Shape;1451;p44"/>
            <p:cNvSpPr/>
            <p:nvPr/>
          </p:nvSpPr>
          <p:spPr>
            <a:xfrm>
              <a:off x="6668279" y="1819454"/>
              <a:ext cx="5127" cy="148133"/>
            </a:xfrm>
            <a:custGeom>
              <a:avLst/>
              <a:gdLst/>
              <a:ahLst/>
              <a:cxnLst/>
              <a:rect l="l" t="t" r="r" b="b"/>
              <a:pathLst>
                <a:path w="452" h="13060" extrusionOk="0">
                  <a:moveTo>
                    <a:pt x="1" y="1"/>
                  </a:moveTo>
                  <a:lnTo>
                    <a:pt x="1" y="13059"/>
                  </a:lnTo>
                  <a:lnTo>
                    <a:pt x="451" y="13059"/>
                  </a:lnTo>
                  <a:lnTo>
                    <a:pt x="451" y="1"/>
                  </a:lnTo>
                  <a:close/>
                </a:path>
              </a:pathLst>
            </a:custGeom>
            <a:solidFill>
              <a:srgbClr val="73A4F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453" name="Google Shape;1452;p44"/>
            <p:cNvSpPr/>
            <p:nvPr/>
          </p:nvSpPr>
          <p:spPr>
            <a:xfrm>
              <a:off x="6653624" y="1887498"/>
              <a:ext cx="5127" cy="80089"/>
            </a:xfrm>
            <a:custGeom>
              <a:avLst/>
              <a:gdLst/>
              <a:ahLst/>
              <a:cxnLst/>
              <a:rect l="l" t="t" r="r" b="b"/>
              <a:pathLst>
                <a:path w="452" h="7061" extrusionOk="0">
                  <a:moveTo>
                    <a:pt x="1" y="0"/>
                  </a:moveTo>
                  <a:lnTo>
                    <a:pt x="1" y="7060"/>
                  </a:lnTo>
                  <a:lnTo>
                    <a:pt x="452" y="7060"/>
                  </a:lnTo>
                  <a:lnTo>
                    <a:pt x="452" y="0"/>
                  </a:lnTo>
                  <a:close/>
                </a:path>
              </a:pathLst>
            </a:custGeom>
            <a:solidFill>
              <a:srgbClr val="73A4F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454" name="Google Shape;1453;p44"/>
            <p:cNvSpPr/>
            <p:nvPr/>
          </p:nvSpPr>
          <p:spPr>
            <a:xfrm>
              <a:off x="5305273" y="2586831"/>
              <a:ext cx="3214896" cy="2734"/>
            </a:xfrm>
            <a:custGeom>
              <a:avLst/>
              <a:gdLst/>
              <a:ahLst/>
              <a:cxnLst/>
              <a:rect l="l" t="t" r="r" b="b"/>
              <a:pathLst>
                <a:path w="283438" h="241" extrusionOk="0">
                  <a:moveTo>
                    <a:pt x="1" y="0"/>
                  </a:moveTo>
                  <a:lnTo>
                    <a:pt x="1" y="241"/>
                  </a:lnTo>
                  <a:lnTo>
                    <a:pt x="1062" y="241"/>
                  </a:lnTo>
                  <a:lnTo>
                    <a:pt x="1062" y="0"/>
                  </a:lnTo>
                  <a:close/>
                  <a:moveTo>
                    <a:pt x="1653" y="0"/>
                  </a:moveTo>
                  <a:lnTo>
                    <a:pt x="1653" y="241"/>
                  </a:lnTo>
                  <a:lnTo>
                    <a:pt x="2724" y="241"/>
                  </a:lnTo>
                  <a:lnTo>
                    <a:pt x="2724" y="0"/>
                  </a:lnTo>
                  <a:close/>
                  <a:moveTo>
                    <a:pt x="3315" y="0"/>
                  </a:moveTo>
                  <a:lnTo>
                    <a:pt x="3315" y="241"/>
                  </a:lnTo>
                  <a:lnTo>
                    <a:pt x="4387" y="241"/>
                  </a:lnTo>
                  <a:lnTo>
                    <a:pt x="4387" y="0"/>
                  </a:lnTo>
                  <a:close/>
                  <a:moveTo>
                    <a:pt x="4978" y="0"/>
                  </a:moveTo>
                  <a:lnTo>
                    <a:pt x="4978" y="241"/>
                  </a:lnTo>
                  <a:lnTo>
                    <a:pt x="6049" y="241"/>
                  </a:lnTo>
                  <a:lnTo>
                    <a:pt x="6049" y="0"/>
                  </a:lnTo>
                  <a:close/>
                  <a:moveTo>
                    <a:pt x="6640" y="0"/>
                  </a:moveTo>
                  <a:lnTo>
                    <a:pt x="6640" y="241"/>
                  </a:lnTo>
                  <a:lnTo>
                    <a:pt x="7711" y="241"/>
                  </a:lnTo>
                  <a:lnTo>
                    <a:pt x="7711" y="0"/>
                  </a:lnTo>
                  <a:close/>
                  <a:moveTo>
                    <a:pt x="8302" y="0"/>
                  </a:moveTo>
                  <a:lnTo>
                    <a:pt x="8302" y="241"/>
                  </a:lnTo>
                  <a:lnTo>
                    <a:pt x="9374" y="241"/>
                  </a:lnTo>
                  <a:lnTo>
                    <a:pt x="9374" y="0"/>
                  </a:lnTo>
                  <a:close/>
                  <a:moveTo>
                    <a:pt x="9965" y="0"/>
                  </a:moveTo>
                  <a:lnTo>
                    <a:pt x="9965" y="241"/>
                  </a:lnTo>
                  <a:lnTo>
                    <a:pt x="11026" y="241"/>
                  </a:lnTo>
                  <a:lnTo>
                    <a:pt x="11026" y="0"/>
                  </a:lnTo>
                  <a:close/>
                  <a:moveTo>
                    <a:pt x="11627" y="0"/>
                  </a:moveTo>
                  <a:lnTo>
                    <a:pt x="11627" y="241"/>
                  </a:lnTo>
                  <a:lnTo>
                    <a:pt x="12688" y="241"/>
                  </a:lnTo>
                  <a:lnTo>
                    <a:pt x="12688" y="0"/>
                  </a:lnTo>
                  <a:close/>
                  <a:moveTo>
                    <a:pt x="13289" y="0"/>
                  </a:moveTo>
                  <a:lnTo>
                    <a:pt x="13289" y="241"/>
                  </a:lnTo>
                  <a:lnTo>
                    <a:pt x="14351" y="241"/>
                  </a:lnTo>
                  <a:lnTo>
                    <a:pt x="14351" y="0"/>
                  </a:lnTo>
                  <a:close/>
                  <a:moveTo>
                    <a:pt x="14952" y="0"/>
                  </a:moveTo>
                  <a:lnTo>
                    <a:pt x="14941" y="241"/>
                  </a:lnTo>
                  <a:lnTo>
                    <a:pt x="16023" y="241"/>
                  </a:lnTo>
                  <a:lnTo>
                    <a:pt x="16023" y="0"/>
                  </a:lnTo>
                  <a:close/>
                  <a:moveTo>
                    <a:pt x="16604" y="0"/>
                  </a:moveTo>
                  <a:lnTo>
                    <a:pt x="16604" y="241"/>
                  </a:lnTo>
                  <a:lnTo>
                    <a:pt x="17675" y="241"/>
                  </a:lnTo>
                  <a:lnTo>
                    <a:pt x="17675" y="0"/>
                  </a:lnTo>
                  <a:close/>
                  <a:moveTo>
                    <a:pt x="18276" y="0"/>
                  </a:moveTo>
                  <a:lnTo>
                    <a:pt x="18266" y="241"/>
                  </a:lnTo>
                  <a:lnTo>
                    <a:pt x="19338" y="241"/>
                  </a:lnTo>
                  <a:lnTo>
                    <a:pt x="19338" y="0"/>
                  </a:lnTo>
                  <a:close/>
                  <a:moveTo>
                    <a:pt x="19928" y="0"/>
                  </a:moveTo>
                  <a:lnTo>
                    <a:pt x="19928" y="241"/>
                  </a:lnTo>
                  <a:lnTo>
                    <a:pt x="21000" y="241"/>
                  </a:lnTo>
                  <a:lnTo>
                    <a:pt x="21000" y="0"/>
                  </a:lnTo>
                  <a:close/>
                  <a:moveTo>
                    <a:pt x="21581" y="0"/>
                  </a:moveTo>
                  <a:lnTo>
                    <a:pt x="21591" y="241"/>
                  </a:lnTo>
                  <a:lnTo>
                    <a:pt x="22652" y="241"/>
                  </a:lnTo>
                  <a:lnTo>
                    <a:pt x="22652" y="0"/>
                  </a:lnTo>
                  <a:close/>
                  <a:moveTo>
                    <a:pt x="23253" y="0"/>
                  </a:moveTo>
                  <a:lnTo>
                    <a:pt x="23253" y="241"/>
                  </a:lnTo>
                  <a:lnTo>
                    <a:pt x="24315" y="241"/>
                  </a:lnTo>
                  <a:lnTo>
                    <a:pt x="24315" y="0"/>
                  </a:lnTo>
                  <a:close/>
                  <a:moveTo>
                    <a:pt x="24905" y="0"/>
                  </a:moveTo>
                  <a:lnTo>
                    <a:pt x="24915" y="241"/>
                  </a:lnTo>
                  <a:lnTo>
                    <a:pt x="25977" y="241"/>
                  </a:lnTo>
                  <a:lnTo>
                    <a:pt x="25977" y="0"/>
                  </a:lnTo>
                  <a:close/>
                  <a:moveTo>
                    <a:pt x="26568" y="0"/>
                  </a:moveTo>
                  <a:lnTo>
                    <a:pt x="26568" y="241"/>
                  </a:lnTo>
                  <a:lnTo>
                    <a:pt x="27639" y="241"/>
                  </a:lnTo>
                  <a:lnTo>
                    <a:pt x="27639" y="0"/>
                  </a:lnTo>
                  <a:close/>
                  <a:moveTo>
                    <a:pt x="28230" y="0"/>
                  </a:moveTo>
                  <a:lnTo>
                    <a:pt x="28230" y="241"/>
                  </a:lnTo>
                  <a:lnTo>
                    <a:pt x="29302" y="241"/>
                  </a:lnTo>
                  <a:lnTo>
                    <a:pt x="29302" y="0"/>
                  </a:lnTo>
                  <a:close/>
                  <a:moveTo>
                    <a:pt x="29892" y="0"/>
                  </a:moveTo>
                  <a:lnTo>
                    <a:pt x="29892" y="241"/>
                  </a:lnTo>
                  <a:lnTo>
                    <a:pt x="30964" y="241"/>
                  </a:lnTo>
                  <a:lnTo>
                    <a:pt x="30964" y="0"/>
                  </a:lnTo>
                  <a:close/>
                  <a:moveTo>
                    <a:pt x="31555" y="0"/>
                  </a:moveTo>
                  <a:lnTo>
                    <a:pt x="31555" y="241"/>
                  </a:lnTo>
                  <a:lnTo>
                    <a:pt x="32626" y="241"/>
                  </a:lnTo>
                  <a:lnTo>
                    <a:pt x="32626" y="0"/>
                  </a:lnTo>
                  <a:close/>
                  <a:moveTo>
                    <a:pt x="33217" y="0"/>
                  </a:moveTo>
                  <a:lnTo>
                    <a:pt x="33217" y="241"/>
                  </a:lnTo>
                  <a:lnTo>
                    <a:pt x="34289" y="241"/>
                  </a:lnTo>
                  <a:lnTo>
                    <a:pt x="34289" y="0"/>
                  </a:lnTo>
                  <a:close/>
                  <a:moveTo>
                    <a:pt x="34879" y="0"/>
                  </a:moveTo>
                  <a:lnTo>
                    <a:pt x="34879" y="241"/>
                  </a:lnTo>
                  <a:lnTo>
                    <a:pt x="35941" y="241"/>
                  </a:lnTo>
                  <a:lnTo>
                    <a:pt x="35941" y="0"/>
                  </a:lnTo>
                  <a:close/>
                  <a:moveTo>
                    <a:pt x="36542" y="0"/>
                  </a:moveTo>
                  <a:lnTo>
                    <a:pt x="36542" y="241"/>
                  </a:lnTo>
                  <a:lnTo>
                    <a:pt x="37603" y="241"/>
                  </a:lnTo>
                  <a:lnTo>
                    <a:pt x="37603" y="0"/>
                  </a:lnTo>
                  <a:close/>
                  <a:moveTo>
                    <a:pt x="38204" y="0"/>
                  </a:moveTo>
                  <a:lnTo>
                    <a:pt x="38204" y="241"/>
                  </a:lnTo>
                  <a:lnTo>
                    <a:pt x="39266" y="241"/>
                  </a:lnTo>
                  <a:lnTo>
                    <a:pt x="39266" y="0"/>
                  </a:lnTo>
                  <a:close/>
                  <a:moveTo>
                    <a:pt x="39856" y="0"/>
                  </a:moveTo>
                  <a:lnTo>
                    <a:pt x="39856" y="241"/>
                  </a:lnTo>
                  <a:lnTo>
                    <a:pt x="40928" y="241"/>
                  </a:lnTo>
                  <a:lnTo>
                    <a:pt x="40928" y="0"/>
                  </a:lnTo>
                  <a:close/>
                  <a:moveTo>
                    <a:pt x="41519" y="0"/>
                  </a:moveTo>
                  <a:lnTo>
                    <a:pt x="41519" y="241"/>
                  </a:lnTo>
                  <a:lnTo>
                    <a:pt x="42590" y="241"/>
                  </a:lnTo>
                  <a:lnTo>
                    <a:pt x="42590" y="0"/>
                  </a:lnTo>
                  <a:close/>
                  <a:moveTo>
                    <a:pt x="43181" y="0"/>
                  </a:moveTo>
                  <a:lnTo>
                    <a:pt x="43181" y="241"/>
                  </a:lnTo>
                  <a:lnTo>
                    <a:pt x="44253" y="241"/>
                  </a:lnTo>
                  <a:lnTo>
                    <a:pt x="44253" y="0"/>
                  </a:lnTo>
                  <a:close/>
                  <a:moveTo>
                    <a:pt x="44843" y="0"/>
                  </a:moveTo>
                  <a:lnTo>
                    <a:pt x="44843" y="241"/>
                  </a:lnTo>
                  <a:lnTo>
                    <a:pt x="45915" y="241"/>
                  </a:lnTo>
                  <a:lnTo>
                    <a:pt x="45915" y="0"/>
                  </a:lnTo>
                  <a:close/>
                  <a:moveTo>
                    <a:pt x="46506" y="0"/>
                  </a:moveTo>
                  <a:lnTo>
                    <a:pt x="46506" y="241"/>
                  </a:lnTo>
                  <a:lnTo>
                    <a:pt x="47577" y="241"/>
                  </a:lnTo>
                  <a:lnTo>
                    <a:pt x="47577" y="0"/>
                  </a:lnTo>
                  <a:close/>
                  <a:moveTo>
                    <a:pt x="48168" y="0"/>
                  </a:moveTo>
                  <a:lnTo>
                    <a:pt x="48168" y="241"/>
                  </a:lnTo>
                  <a:lnTo>
                    <a:pt x="49229" y="241"/>
                  </a:lnTo>
                  <a:lnTo>
                    <a:pt x="49229" y="0"/>
                  </a:lnTo>
                  <a:close/>
                  <a:moveTo>
                    <a:pt x="49830" y="0"/>
                  </a:moveTo>
                  <a:lnTo>
                    <a:pt x="49830" y="241"/>
                  </a:lnTo>
                  <a:lnTo>
                    <a:pt x="50892" y="241"/>
                  </a:lnTo>
                  <a:lnTo>
                    <a:pt x="50892" y="0"/>
                  </a:lnTo>
                  <a:close/>
                  <a:moveTo>
                    <a:pt x="51493" y="0"/>
                  </a:moveTo>
                  <a:lnTo>
                    <a:pt x="51493" y="241"/>
                  </a:lnTo>
                  <a:lnTo>
                    <a:pt x="52554" y="241"/>
                  </a:lnTo>
                  <a:lnTo>
                    <a:pt x="52554" y="0"/>
                  </a:lnTo>
                  <a:close/>
                  <a:moveTo>
                    <a:pt x="53145" y="0"/>
                  </a:moveTo>
                  <a:lnTo>
                    <a:pt x="53145" y="241"/>
                  </a:lnTo>
                  <a:lnTo>
                    <a:pt x="54216" y="241"/>
                  </a:lnTo>
                  <a:lnTo>
                    <a:pt x="54216" y="0"/>
                  </a:lnTo>
                  <a:close/>
                  <a:moveTo>
                    <a:pt x="54807" y="0"/>
                  </a:moveTo>
                  <a:lnTo>
                    <a:pt x="54807" y="241"/>
                  </a:lnTo>
                  <a:lnTo>
                    <a:pt x="55879" y="241"/>
                  </a:lnTo>
                  <a:lnTo>
                    <a:pt x="55879" y="0"/>
                  </a:lnTo>
                  <a:close/>
                  <a:moveTo>
                    <a:pt x="56470" y="0"/>
                  </a:moveTo>
                  <a:lnTo>
                    <a:pt x="56470" y="241"/>
                  </a:lnTo>
                  <a:lnTo>
                    <a:pt x="57541" y="241"/>
                  </a:lnTo>
                  <a:lnTo>
                    <a:pt x="57541" y="0"/>
                  </a:lnTo>
                  <a:close/>
                  <a:moveTo>
                    <a:pt x="58132" y="0"/>
                  </a:moveTo>
                  <a:lnTo>
                    <a:pt x="58132" y="241"/>
                  </a:lnTo>
                  <a:lnTo>
                    <a:pt x="59203" y="241"/>
                  </a:lnTo>
                  <a:lnTo>
                    <a:pt x="59203" y="0"/>
                  </a:lnTo>
                  <a:close/>
                  <a:moveTo>
                    <a:pt x="59794" y="0"/>
                  </a:moveTo>
                  <a:lnTo>
                    <a:pt x="59794" y="241"/>
                  </a:lnTo>
                  <a:lnTo>
                    <a:pt x="60856" y="241"/>
                  </a:lnTo>
                  <a:lnTo>
                    <a:pt x="60856" y="0"/>
                  </a:lnTo>
                  <a:close/>
                  <a:moveTo>
                    <a:pt x="61457" y="0"/>
                  </a:moveTo>
                  <a:lnTo>
                    <a:pt x="61457" y="241"/>
                  </a:lnTo>
                  <a:lnTo>
                    <a:pt x="62518" y="241"/>
                  </a:lnTo>
                  <a:lnTo>
                    <a:pt x="62518" y="0"/>
                  </a:lnTo>
                  <a:close/>
                  <a:moveTo>
                    <a:pt x="63119" y="0"/>
                  </a:moveTo>
                  <a:lnTo>
                    <a:pt x="63119" y="241"/>
                  </a:lnTo>
                  <a:lnTo>
                    <a:pt x="64180" y="241"/>
                  </a:lnTo>
                  <a:lnTo>
                    <a:pt x="64180" y="0"/>
                  </a:lnTo>
                  <a:close/>
                  <a:moveTo>
                    <a:pt x="64771" y="0"/>
                  </a:moveTo>
                  <a:lnTo>
                    <a:pt x="64771" y="241"/>
                  </a:lnTo>
                  <a:lnTo>
                    <a:pt x="65843" y="241"/>
                  </a:lnTo>
                  <a:lnTo>
                    <a:pt x="65843" y="0"/>
                  </a:lnTo>
                  <a:close/>
                  <a:moveTo>
                    <a:pt x="66434" y="0"/>
                  </a:moveTo>
                  <a:lnTo>
                    <a:pt x="66434" y="241"/>
                  </a:lnTo>
                  <a:lnTo>
                    <a:pt x="67505" y="241"/>
                  </a:lnTo>
                  <a:lnTo>
                    <a:pt x="67505" y="0"/>
                  </a:lnTo>
                  <a:close/>
                  <a:moveTo>
                    <a:pt x="68096" y="0"/>
                  </a:moveTo>
                  <a:lnTo>
                    <a:pt x="68096" y="241"/>
                  </a:lnTo>
                  <a:lnTo>
                    <a:pt x="69167" y="241"/>
                  </a:lnTo>
                  <a:lnTo>
                    <a:pt x="69167" y="0"/>
                  </a:lnTo>
                  <a:close/>
                  <a:moveTo>
                    <a:pt x="69758" y="0"/>
                  </a:moveTo>
                  <a:lnTo>
                    <a:pt x="69758" y="241"/>
                  </a:lnTo>
                  <a:lnTo>
                    <a:pt x="70830" y="241"/>
                  </a:lnTo>
                  <a:lnTo>
                    <a:pt x="70830" y="0"/>
                  </a:lnTo>
                  <a:close/>
                  <a:moveTo>
                    <a:pt x="71421" y="0"/>
                  </a:moveTo>
                  <a:lnTo>
                    <a:pt x="71421" y="241"/>
                  </a:lnTo>
                  <a:lnTo>
                    <a:pt x="72492" y="241"/>
                  </a:lnTo>
                  <a:lnTo>
                    <a:pt x="72492" y="0"/>
                  </a:lnTo>
                  <a:close/>
                  <a:moveTo>
                    <a:pt x="73083" y="0"/>
                  </a:moveTo>
                  <a:lnTo>
                    <a:pt x="73083" y="241"/>
                  </a:lnTo>
                  <a:lnTo>
                    <a:pt x="74144" y="241"/>
                  </a:lnTo>
                  <a:lnTo>
                    <a:pt x="74144" y="0"/>
                  </a:lnTo>
                  <a:close/>
                  <a:moveTo>
                    <a:pt x="74745" y="0"/>
                  </a:moveTo>
                  <a:lnTo>
                    <a:pt x="74745" y="241"/>
                  </a:lnTo>
                  <a:lnTo>
                    <a:pt x="75807" y="241"/>
                  </a:lnTo>
                  <a:lnTo>
                    <a:pt x="75807" y="0"/>
                  </a:lnTo>
                  <a:close/>
                  <a:moveTo>
                    <a:pt x="76408" y="0"/>
                  </a:moveTo>
                  <a:lnTo>
                    <a:pt x="76408" y="241"/>
                  </a:lnTo>
                  <a:lnTo>
                    <a:pt x="77469" y="241"/>
                  </a:lnTo>
                  <a:lnTo>
                    <a:pt x="77469" y="0"/>
                  </a:lnTo>
                  <a:close/>
                  <a:moveTo>
                    <a:pt x="78060" y="0"/>
                  </a:moveTo>
                  <a:lnTo>
                    <a:pt x="78060" y="241"/>
                  </a:lnTo>
                  <a:lnTo>
                    <a:pt x="79131" y="241"/>
                  </a:lnTo>
                  <a:lnTo>
                    <a:pt x="79131" y="0"/>
                  </a:lnTo>
                  <a:close/>
                  <a:moveTo>
                    <a:pt x="79722" y="0"/>
                  </a:moveTo>
                  <a:lnTo>
                    <a:pt x="79722" y="241"/>
                  </a:lnTo>
                  <a:lnTo>
                    <a:pt x="80794" y="241"/>
                  </a:lnTo>
                  <a:lnTo>
                    <a:pt x="80794" y="0"/>
                  </a:lnTo>
                  <a:close/>
                  <a:moveTo>
                    <a:pt x="81385" y="0"/>
                  </a:moveTo>
                  <a:lnTo>
                    <a:pt x="81385" y="241"/>
                  </a:lnTo>
                  <a:lnTo>
                    <a:pt x="82456" y="241"/>
                  </a:lnTo>
                  <a:lnTo>
                    <a:pt x="82456" y="0"/>
                  </a:lnTo>
                  <a:close/>
                  <a:moveTo>
                    <a:pt x="83047" y="0"/>
                  </a:moveTo>
                  <a:lnTo>
                    <a:pt x="83047" y="241"/>
                  </a:lnTo>
                  <a:lnTo>
                    <a:pt x="84118" y="241"/>
                  </a:lnTo>
                  <a:lnTo>
                    <a:pt x="84118" y="0"/>
                  </a:lnTo>
                  <a:close/>
                  <a:moveTo>
                    <a:pt x="84709" y="0"/>
                  </a:moveTo>
                  <a:lnTo>
                    <a:pt x="84709" y="241"/>
                  </a:lnTo>
                  <a:lnTo>
                    <a:pt x="85781" y="241"/>
                  </a:lnTo>
                  <a:lnTo>
                    <a:pt x="85781" y="0"/>
                  </a:lnTo>
                  <a:close/>
                  <a:moveTo>
                    <a:pt x="86371" y="0"/>
                  </a:moveTo>
                  <a:lnTo>
                    <a:pt x="86371" y="241"/>
                  </a:lnTo>
                  <a:lnTo>
                    <a:pt x="87433" y="241"/>
                  </a:lnTo>
                  <a:lnTo>
                    <a:pt x="87433" y="0"/>
                  </a:lnTo>
                  <a:close/>
                  <a:moveTo>
                    <a:pt x="88034" y="0"/>
                  </a:moveTo>
                  <a:lnTo>
                    <a:pt x="88034" y="241"/>
                  </a:lnTo>
                  <a:lnTo>
                    <a:pt x="89095" y="241"/>
                  </a:lnTo>
                  <a:lnTo>
                    <a:pt x="89095" y="0"/>
                  </a:lnTo>
                  <a:close/>
                  <a:moveTo>
                    <a:pt x="89686" y="0"/>
                  </a:moveTo>
                  <a:lnTo>
                    <a:pt x="89686" y="241"/>
                  </a:lnTo>
                  <a:lnTo>
                    <a:pt x="90758" y="241"/>
                  </a:lnTo>
                  <a:lnTo>
                    <a:pt x="90758" y="0"/>
                  </a:lnTo>
                  <a:close/>
                  <a:moveTo>
                    <a:pt x="91348" y="0"/>
                  </a:moveTo>
                  <a:lnTo>
                    <a:pt x="91348" y="241"/>
                  </a:lnTo>
                  <a:lnTo>
                    <a:pt x="92420" y="241"/>
                  </a:lnTo>
                  <a:lnTo>
                    <a:pt x="92420" y="0"/>
                  </a:lnTo>
                  <a:close/>
                  <a:moveTo>
                    <a:pt x="93011" y="0"/>
                  </a:moveTo>
                  <a:lnTo>
                    <a:pt x="93011" y="241"/>
                  </a:lnTo>
                  <a:lnTo>
                    <a:pt x="94082" y="241"/>
                  </a:lnTo>
                  <a:lnTo>
                    <a:pt x="94082" y="0"/>
                  </a:lnTo>
                  <a:close/>
                  <a:moveTo>
                    <a:pt x="94673" y="0"/>
                  </a:moveTo>
                  <a:lnTo>
                    <a:pt x="94673" y="241"/>
                  </a:lnTo>
                  <a:lnTo>
                    <a:pt x="95745" y="241"/>
                  </a:lnTo>
                  <a:lnTo>
                    <a:pt x="95745" y="0"/>
                  </a:lnTo>
                  <a:close/>
                  <a:moveTo>
                    <a:pt x="96335" y="0"/>
                  </a:moveTo>
                  <a:lnTo>
                    <a:pt x="96335" y="241"/>
                  </a:lnTo>
                  <a:lnTo>
                    <a:pt x="97407" y="241"/>
                  </a:lnTo>
                  <a:lnTo>
                    <a:pt x="97407" y="0"/>
                  </a:lnTo>
                  <a:close/>
                  <a:moveTo>
                    <a:pt x="97998" y="0"/>
                  </a:moveTo>
                  <a:lnTo>
                    <a:pt x="97998" y="241"/>
                  </a:lnTo>
                  <a:lnTo>
                    <a:pt x="99059" y="241"/>
                  </a:lnTo>
                  <a:lnTo>
                    <a:pt x="99059" y="0"/>
                  </a:lnTo>
                  <a:close/>
                  <a:moveTo>
                    <a:pt x="99660" y="0"/>
                  </a:moveTo>
                  <a:lnTo>
                    <a:pt x="99660" y="241"/>
                  </a:lnTo>
                  <a:lnTo>
                    <a:pt x="100722" y="241"/>
                  </a:lnTo>
                  <a:lnTo>
                    <a:pt x="100722" y="0"/>
                  </a:lnTo>
                  <a:close/>
                  <a:moveTo>
                    <a:pt x="101322" y="0"/>
                  </a:moveTo>
                  <a:lnTo>
                    <a:pt x="101322" y="241"/>
                  </a:lnTo>
                  <a:lnTo>
                    <a:pt x="102394" y="241"/>
                  </a:lnTo>
                  <a:lnTo>
                    <a:pt x="102394" y="0"/>
                  </a:lnTo>
                  <a:close/>
                  <a:moveTo>
                    <a:pt x="102975" y="0"/>
                  </a:moveTo>
                  <a:lnTo>
                    <a:pt x="102975" y="241"/>
                  </a:lnTo>
                  <a:lnTo>
                    <a:pt x="104046" y="241"/>
                  </a:lnTo>
                  <a:lnTo>
                    <a:pt x="104046" y="0"/>
                  </a:lnTo>
                  <a:close/>
                  <a:moveTo>
                    <a:pt x="104647" y="0"/>
                  </a:moveTo>
                  <a:lnTo>
                    <a:pt x="104637" y="241"/>
                  </a:lnTo>
                  <a:lnTo>
                    <a:pt x="105709" y="241"/>
                  </a:lnTo>
                  <a:lnTo>
                    <a:pt x="105709" y="0"/>
                  </a:lnTo>
                  <a:close/>
                  <a:moveTo>
                    <a:pt x="106299" y="0"/>
                  </a:moveTo>
                  <a:lnTo>
                    <a:pt x="106299" y="241"/>
                  </a:lnTo>
                  <a:lnTo>
                    <a:pt x="107371" y="241"/>
                  </a:lnTo>
                  <a:lnTo>
                    <a:pt x="107371" y="0"/>
                  </a:lnTo>
                  <a:close/>
                  <a:moveTo>
                    <a:pt x="107962" y="0"/>
                  </a:moveTo>
                  <a:lnTo>
                    <a:pt x="107962" y="241"/>
                  </a:lnTo>
                  <a:lnTo>
                    <a:pt x="109033" y="241"/>
                  </a:lnTo>
                  <a:lnTo>
                    <a:pt x="109033" y="0"/>
                  </a:lnTo>
                  <a:close/>
                  <a:moveTo>
                    <a:pt x="109624" y="0"/>
                  </a:moveTo>
                  <a:lnTo>
                    <a:pt x="109624" y="241"/>
                  </a:lnTo>
                  <a:lnTo>
                    <a:pt x="110696" y="241"/>
                  </a:lnTo>
                  <a:lnTo>
                    <a:pt x="110696" y="0"/>
                  </a:lnTo>
                  <a:close/>
                  <a:moveTo>
                    <a:pt x="111286" y="0"/>
                  </a:moveTo>
                  <a:lnTo>
                    <a:pt x="111286" y="241"/>
                  </a:lnTo>
                  <a:lnTo>
                    <a:pt x="112348" y="241"/>
                  </a:lnTo>
                  <a:lnTo>
                    <a:pt x="112348" y="0"/>
                  </a:lnTo>
                  <a:close/>
                  <a:moveTo>
                    <a:pt x="112949" y="0"/>
                  </a:moveTo>
                  <a:lnTo>
                    <a:pt x="112949" y="241"/>
                  </a:lnTo>
                  <a:lnTo>
                    <a:pt x="114010" y="241"/>
                  </a:lnTo>
                  <a:lnTo>
                    <a:pt x="114010" y="0"/>
                  </a:lnTo>
                  <a:close/>
                  <a:moveTo>
                    <a:pt x="114601" y="0"/>
                  </a:moveTo>
                  <a:lnTo>
                    <a:pt x="114601" y="241"/>
                  </a:lnTo>
                  <a:lnTo>
                    <a:pt x="115673" y="241"/>
                  </a:lnTo>
                  <a:lnTo>
                    <a:pt x="115673" y="0"/>
                  </a:lnTo>
                  <a:close/>
                  <a:moveTo>
                    <a:pt x="116263" y="0"/>
                  </a:moveTo>
                  <a:lnTo>
                    <a:pt x="116263" y="241"/>
                  </a:lnTo>
                  <a:lnTo>
                    <a:pt x="117335" y="241"/>
                  </a:lnTo>
                  <a:lnTo>
                    <a:pt x="117335" y="0"/>
                  </a:lnTo>
                  <a:close/>
                  <a:moveTo>
                    <a:pt x="117926" y="0"/>
                  </a:moveTo>
                  <a:lnTo>
                    <a:pt x="117926" y="241"/>
                  </a:lnTo>
                  <a:lnTo>
                    <a:pt x="118997" y="241"/>
                  </a:lnTo>
                  <a:lnTo>
                    <a:pt x="118997" y="0"/>
                  </a:lnTo>
                  <a:close/>
                  <a:moveTo>
                    <a:pt x="119588" y="0"/>
                  </a:moveTo>
                  <a:lnTo>
                    <a:pt x="119588" y="241"/>
                  </a:lnTo>
                  <a:lnTo>
                    <a:pt x="120659" y="241"/>
                  </a:lnTo>
                  <a:lnTo>
                    <a:pt x="120659" y="0"/>
                  </a:lnTo>
                  <a:close/>
                  <a:moveTo>
                    <a:pt x="121250" y="0"/>
                  </a:moveTo>
                  <a:lnTo>
                    <a:pt x="121250" y="241"/>
                  </a:lnTo>
                  <a:lnTo>
                    <a:pt x="122322" y="241"/>
                  </a:lnTo>
                  <a:lnTo>
                    <a:pt x="122322" y="0"/>
                  </a:lnTo>
                  <a:close/>
                  <a:moveTo>
                    <a:pt x="122913" y="0"/>
                  </a:moveTo>
                  <a:lnTo>
                    <a:pt x="122913" y="241"/>
                  </a:lnTo>
                  <a:lnTo>
                    <a:pt x="123974" y="241"/>
                  </a:lnTo>
                  <a:lnTo>
                    <a:pt x="123974" y="0"/>
                  </a:lnTo>
                  <a:close/>
                  <a:moveTo>
                    <a:pt x="124575" y="0"/>
                  </a:moveTo>
                  <a:lnTo>
                    <a:pt x="124575" y="241"/>
                  </a:lnTo>
                  <a:lnTo>
                    <a:pt x="125636" y="241"/>
                  </a:lnTo>
                  <a:lnTo>
                    <a:pt x="125636" y="0"/>
                  </a:lnTo>
                  <a:close/>
                  <a:moveTo>
                    <a:pt x="126227" y="0"/>
                  </a:moveTo>
                  <a:lnTo>
                    <a:pt x="126237" y="241"/>
                  </a:lnTo>
                  <a:lnTo>
                    <a:pt x="127299" y="241"/>
                  </a:lnTo>
                  <a:lnTo>
                    <a:pt x="127299" y="0"/>
                  </a:lnTo>
                  <a:close/>
                  <a:moveTo>
                    <a:pt x="127890" y="0"/>
                  </a:moveTo>
                  <a:lnTo>
                    <a:pt x="127890" y="241"/>
                  </a:lnTo>
                  <a:lnTo>
                    <a:pt x="128961" y="241"/>
                  </a:lnTo>
                  <a:lnTo>
                    <a:pt x="128961" y="0"/>
                  </a:lnTo>
                  <a:close/>
                  <a:moveTo>
                    <a:pt x="129552" y="0"/>
                  </a:moveTo>
                  <a:lnTo>
                    <a:pt x="129552" y="241"/>
                  </a:lnTo>
                  <a:lnTo>
                    <a:pt x="130623" y="241"/>
                  </a:lnTo>
                  <a:lnTo>
                    <a:pt x="130623" y="0"/>
                  </a:lnTo>
                  <a:close/>
                  <a:moveTo>
                    <a:pt x="131214" y="0"/>
                  </a:moveTo>
                  <a:lnTo>
                    <a:pt x="131214" y="241"/>
                  </a:lnTo>
                  <a:lnTo>
                    <a:pt x="132286" y="241"/>
                  </a:lnTo>
                  <a:lnTo>
                    <a:pt x="132286" y="0"/>
                  </a:lnTo>
                  <a:close/>
                  <a:moveTo>
                    <a:pt x="132877" y="0"/>
                  </a:moveTo>
                  <a:lnTo>
                    <a:pt x="132877" y="241"/>
                  </a:lnTo>
                  <a:lnTo>
                    <a:pt x="133948" y="241"/>
                  </a:lnTo>
                  <a:lnTo>
                    <a:pt x="133948" y="0"/>
                  </a:lnTo>
                  <a:close/>
                  <a:moveTo>
                    <a:pt x="134539" y="0"/>
                  </a:moveTo>
                  <a:lnTo>
                    <a:pt x="134539" y="241"/>
                  </a:lnTo>
                  <a:lnTo>
                    <a:pt x="135610" y="241"/>
                  </a:lnTo>
                  <a:lnTo>
                    <a:pt x="135610" y="0"/>
                  </a:lnTo>
                  <a:close/>
                  <a:moveTo>
                    <a:pt x="136201" y="0"/>
                  </a:moveTo>
                  <a:lnTo>
                    <a:pt x="136201" y="241"/>
                  </a:lnTo>
                  <a:lnTo>
                    <a:pt x="137263" y="241"/>
                  </a:lnTo>
                  <a:lnTo>
                    <a:pt x="137263" y="0"/>
                  </a:lnTo>
                  <a:close/>
                  <a:moveTo>
                    <a:pt x="137864" y="0"/>
                  </a:moveTo>
                  <a:lnTo>
                    <a:pt x="137864" y="241"/>
                  </a:lnTo>
                  <a:lnTo>
                    <a:pt x="138925" y="241"/>
                  </a:lnTo>
                  <a:lnTo>
                    <a:pt x="138925" y="0"/>
                  </a:lnTo>
                  <a:close/>
                  <a:moveTo>
                    <a:pt x="139526" y="0"/>
                  </a:moveTo>
                  <a:lnTo>
                    <a:pt x="139526" y="241"/>
                  </a:lnTo>
                  <a:lnTo>
                    <a:pt x="140587" y="241"/>
                  </a:lnTo>
                  <a:lnTo>
                    <a:pt x="140587" y="0"/>
                  </a:lnTo>
                  <a:close/>
                  <a:moveTo>
                    <a:pt x="141178" y="0"/>
                  </a:moveTo>
                  <a:lnTo>
                    <a:pt x="141178" y="241"/>
                  </a:lnTo>
                  <a:lnTo>
                    <a:pt x="142250" y="241"/>
                  </a:lnTo>
                  <a:lnTo>
                    <a:pt x="142250" y="0"/>
                  </a:lnTo>
                  <a:close/>
                  <a:moveTo>
                    <a:pt x="142841" y="0"/>
                  </a:moveTo>
                  <a:lnTo>
                    <a:pt x="142841" y="241"/>
                  </a:lnTo>
                  <a:lnTo>
                    <a:pt x="143912" y="241"/>
                  </a:lnTo>
                  <a:lnTo>
                    <a:pt x="143912" y="0"/>
                  </a:lnTo>
                  <a:close/>
                  <a:moveTo>
                    <a:pt x="144503" y="0"/>
                  </a:moveTo>
                  <a:lnTo>
                    <a:pt x="144503" y="241"/>
                  </a:lnTo>
                  <a:lnTo>
                    <a:pt x="145574" y="241"/>
                  </a:lnTo>
                  <a:lnTo>
                    <a:pt x="145574" y="0"/>
                  </a:lnTo>
                  <a:close/>
                  <a:moveTo>
                    <a:pt x="146165" y="0"/>
                  </a:moveTo>
                  <a:lnTo>
                    <a:pt x="146165" y="241"/>
                  </a:lnTo>
                  <a:lnTo>
                    <a:pt x="147237" y="241"/>
                  </a:lnTo>
                  <a:lnTo>
                    <a:pt x="147237" y="0"/>
                  </a:lnTo>
                  <a:close/>
                  <a:moveTo>
                    <a:pt x="147828" y="0"/>
                  </a:moveTo>
                  <a:lnTo>
                    <a:pt x="147828" y="241"/>
                  </a:lnTo>
                  <a:lnTo>
                    <a:pt x="148889" y="241"/>
                  </a:lnTo>
                  <a:lnTo>
                    <a:pt x="148889" y="0"/>
                  </a:lnTo>
                  <a:close/>
                  <a:moveTo>
                    <a:pt x="149490" y="0"/>
                  </a:moveTo>
                  <a:lnTo>
                    <a:pt x="149490" y="241"/>
                  </a:lnTo>
                  <a:lnTo>
                    <a:pt x="150551" y="241"/>
                  </a:lnTo>
                  <a:lnTo>
                    <a:pt x="150551" y="0"/>
                  </a:lnTo>
                  <a:close/>
                  <a:moveTo>
                    <a:pt x="151152" y="0"/>
                  </a:moveTo>
                  <a:lnTo>
                    <a:pt x="151152" y="241"/>
                  </a:lnTo>
                  <a:lnTo>
                    <a:pt x="152214" y="241"/>
                  </a:lnTo>
                  <a:lnTo>
                    <a:pt x="152214" y="0"/>
                  </a:lnTo>
                  <a:close/>
                  <a:moveTo>
                    <a:pt x="152804" y="0"/>
                  </a:moveTo>
                  <a:lnTo>
                    <a:pt x="152804" y="241"/>
                  </a:lnTo>
                  <a:lnTo>
                    <a:pt x="153876" y="241"/>
                  </a:lnTo>
                  <a:lnTo>
                    <a:pt x="153876" y="0"/>
                  </a:lnTo>
                  <a:close/>
                  <a:moveTo>
                    <a:pt x="154467" y="0"/>
                  </a:moveTo>
                  <a:lnTo>
                    <a:pt x="154467" y="241"/>
                  </a:lnTo>
                  <a:lnTo>
                    <a:pt x="155538" y="241"/>
                  </a:lnTo>
                  <a:lnTo>
                    <a:pt x="155538" y="0"/>
                  </a:lnTo>
                  <a:close/>
                  <a:moveTo>
                    <a:pt x="156129" y="0"/>
                  </a:moveTo>
                  <a:lnTo>
                    <a:pt x="156129" y="241"/>
                  </a:lnTo>
                  <a:lnTo>
                    <a:pt x="157201" y="241"/>
                  </a:lnTo>
                  <a:lnTo>
                    <a:pt x="157201" y="0"/>
                  </a:lnTo>
                  <a:close/>
                  <a:moveTo>
                    <a:pt x="157791" y="0"/>
                  </a:moveTo>
                  <a:lnTo>
                    <a:pt x="157791" y="241"/>
                  </a:lnTo>
                  <a:lnTo>
                    <a:pt x="158863" y="241"/>
                  </a:lnTo>
                  <a:lnTo>
                    <a:pt x="158863" y="0"/>
                  </a:lnTo>
                  <a:close/>
                  <a:moveTo>
                    <a:pt x="159454" y="0"/>
                  </a:moveTo>
                  <a:lnTo>
                    <a:pt x="159454" y="241"/>
                  </a:lnTo>
                  <a:lnTo>
                    <a:pt x="160525" y="241"/>
                  </a:lnTo>
                  <a:lnTo>
                    <a:pt x="160525" y="0"/>
                  </a:lnTo>
                  <a:close/>
                  <a:moveTo>
                    <a:pt x="161116" y="0"/>
                  </a:moveTo>
                  <a:lnTo>
                    <a:pt x="161116" y="241"/>
                  </a:lnTo>
                  <a:lnTo>
                    <a:pt x="162178" y="241"/>
                  </a:lnTo>
                  <a:lnTo>
                    <a:pt x="162178" y="0"/>
                  </a:lnTo>
                  <a:close/>
                  <a:moveTo>
                    <a:pt x="162778" y="0"/>
                  </a:moveTo>
                  <a:lnTo>
                    <a:pt x="162778" y="241"/>
                  </a:lnTo>
                  <a:lnTo>
                    <a:pt x="163840" y="241"/>
                  </a:lnTo>
                  <a:lnTo>
                    <a:pt x="163840" y="0"/>
                  </a:lnTo>
                  <a:close/>
                  <a:moveTo>
                    <a:pt x="164441" y="0"/>
                  </a:moveTo>
                  <a:lnTo>
                    <a:pt x="164441" y="241"/>
                  </a:lnTo>
                  <a:lnTo>
                    <a:pt x="165502" y="241"/>
                  </a:lnTo>
                  <a:lnTo>
                    <a:pt x="165502" y="0"/>
                  </a:lnTo>
                  <a:close/>
                  <a:moveTo>
                    <a:pt x="166103" y="0"/>
                  </a:moveTo>
                  <a:lnTo>
                    <a:pt x="166093" y="241"/>
                  </a:lnTo>
                  <a:lnTo>
                    <a:pt x="167165" y="241"/>
                  </a:lnTo>
                  <a:lnTo>
                    <a:pt x="167165" y="0"/>
                  </a:lnTo>
                  <a:close/>
                  <a:moveTo>
                    <a:pt x="167755" y="0"/>
                  </a:moveTo>
                  <a:lnTo>
                    <a:pt x="167755" y="241"/>
                  </a:lnTo>
                  <a:lnTo>
                    <a:pt x="168827" y="241"/>
                  </a:lnTo>
                  <a:lnTo>
                    <a:pt x="168827" y="0"/>
                  </a:lnTo>
                  <a:close/>
                  <a:moveTo>
                    <a:pt x="169418" y="0"/>
                  </a:moveTo>
                  <a:lnTo>
                    <a:pt x="169418" y="241"/>
                  </a:lnTo>
                  <a:lnTo>
                    <a:pt x="170489" y="241"/>
                  </a:lnTo>
                  <a:lnTo>
                    <a:pt x="170489" y="0"/>
                  </a:lnTo>
                  <a:close/>
                  <a:moveTo>
                    <a:pt x="171080" y="0"/>
                  </a:moveTo>
                  <a:lnTo>
                    <a:pt x="171080" y="241"/>
                  </a:lnTo>
                  <a:lnTo>
                    <a:pt x="172152" y="241"/>
                  </a:lnTo>
                  <a:lnTo>
                    <a:pt x="172152" y="0"/>
                  </a:lnTo>
                  <a:close/>
                  <a:moveTo>
                    <a:pt x="172742" y="0"/>
                  </a:moveTo>
                  <a:lnTo>
                    <a:pt x="172742" y="241"/>
                  </a:lnTo>
                  <a:lnTo>
                    <a:pt x="173804" y="241"/>
                  </a:lnTo>
                  <a:lnTo>
                    <a:pt x="173804" y="0"/>
                  </a:lnTo>
                  <a:close/>
                  <a:moveTo>
                    <a:pt x="174405" y="0"/>
                  </a:moveTo>
                  <a:lnTo>
                    <a:pt x="174405" y="241"/>
                  </a:lnTo>
                  <a:lnTo>
                    <a:pt x="175466" y="241"/>
                  </a:lnTo>
                  <a:lnTo>
                    <a:pt x="175466" y="0"/>
                  </a:lnTo>
                  <a:close/>
                  <a:moveTo>
                    <a:pt x="176067" y="0"/>
                  </a:moveTo>
                  <a:lnTo>
                    <a:pt x="176067" y="241"/>
                  </a:lnTo>
                  <a:lnTo>
                    <a:pt x="177129" y="241"/>
                  </a:lnTo>
                  <a:lnTo>
                    <a:pt x="177129" y="0"/>
                  </a:lnTo>
                  <a:close/>
                  <a:moveTo>
                    <a:pt x="177719" y="0"/>
                  </a:moveTo>
                  <a:lnTo>
                    <a:pt x="177719" y="241"/>
                  </a:lnTo>
                  <a:lnTo>
                    <a:pt x="178791" y="241"/>
                  </a:lnTo>
                  <a:lnTo>
                    <a:pt x="178791" y="0"/>
                  </a:lnTo>
                  <a:close/>
                  <a:moveTo>
                    <a:pt x="179382" y="0"/>
                  </a:moveTo>
                  <a:lnTo>
                    <a:pt x="179382" y="241"/>
                  </a:lnTo>
                  <a:lnTo>
                    <a:pt x="180453" y="241"/>
                  </a:lnTo>
                  <a:lnTo>
                    <a:pt x="180453" y="0"/>
                  </a:lnTo>
                  <a:close/>
                  <a:moveTo>
                    <a:pt x="181044" y="0"/>
                  </a:moveTo>
                  <a:lnTo>
                    <a:pt x="181044" y="241"/>
                  </a:lnTo>
                  <a:lnTo>
                    <a:pt x="182116" y="241"/>
                  </a:lnTo>
                  <a:lnTo>
                    <a:pt x="182116" y="0"/>
                  </a:lnTo>
                  <a:close/>
                  <a:moveTo>
                    <a:pt x="182706" y="0"/>
                  </a:moveTo>
                  <a:lnTo>
                    <a:pt x="182706" y="241"/>
                  </a:lnTo>
                  <a:lnTo>
                    <a:pt x="183778" y="241"/>
                  </a:lnTo>
                  <a:lnTo>
                    <a:pt x="183778" y="0"/>
                  </a:lnTo>
                  <a:close/>
                  <a:moveTo>
                    <a:pt x="184369" y="0"/>
                  </a:moveTo>
                  <a:lnTo>
                    <a:pt x="184369" y="241"/>
                  </a:lnTo>
                  <a:lnTo>
                    <a:pt x="185440" y="241"/>
                  </a:lnTo>
                  <a:lnTo>
                    <a:pt x="185440" y="0"/>
                  </a:lnTo>
                  <a:close/>
                  <a:moveTo>
                    <a:pt x="186031" y="0"/>
                  </a:moveTo>
                  <a:lnTo>
                    <a:pt x="186031" y="241"/>
                  </a:lnTo>
                  <a:lnTo>
                    <a:pt x="187092" y="241"/>
                  </a:lnTo>
                  <a:lnTo>
                    <a:pt x="187092" y="0"/>
                  </a:lnTo>
                  <a:close/>
                  <a:moveTo>
                    <a:pt x="187693" y="0"/>
                  </a:moveTo>
                  <a:lnTo>
                    <a:pt x="187693" y="241"/>
                  </a:lnTo>
                  <a:lnTo>
                    <a:pt x="188765" y="241"/>
                  </a:lnTo>
                  <a:lnTo>
                    <a:pt x="188765" y="0"/>
                  </a:lnTo>
                  <a:close/>
                  <a:moveTo>
                    <a:pt x="189356" y="0"/>
                  </a:moveTo>
                  <a:lnTo>
                    <a:pt x="189356" y="241"/>
                  </a:lnTo>
                  <a:lnTo>
                    <a:pt x="190417" y="241"/>
                  </a:lnTo>
                  <a:lnTo>
                    <a:pt x="190417" y="0"/>
                  </a:lnTo>
                  <a:close/>
                  <a:moveTo>
                    <a:pt x="191018" y="0"/>
                  </a:moveTo>
                  <a:lnTo>
                    <a:pt x="191008" y="241"/>
                  </a:lnTo>
                  <a:lnTo>
                    <a:pt x="192079" y="241"/>
                  </a:lnTo>
                  <a:lnTo>
                    <a:pt x="192079" y="0"/>
                  </a:lnTo>
                  <a:close/>
                  <a:moveTo>
                    <a:pt x="192670" y="0"/>
                  </a:moveTo>
                  <a:lnTo>
                    <a:pt x="192670" y="241"/>
                  </a:lnTo>
                  <a:lnTo>
                    <a:pt x="193742" y="241"/>
                  </a:lnTo>
                  <a:lnTo>
                    <a:pt x="193742" y="0"/>
                  </a:lnTo>
                  <a:close/>
                  <a:moveTo>
                    <a:pt x="194333" y="0"/>
                  </a:moveTo>
                  <a:lnTo>
                    <a:pt x="194333" y="241"/>
                  </a:lnTo>
                  <a:lnTo>
                    <a:pt x="195404" y="241"/>
                  </a:lnTo>
                  <a:lnTo>
                    <a:pt x="195404" y="0"/>
                  </a:lnTo>
                  <a:close/>
                  <a:moveTo>
                    <a:pt x="195995" y="0"/>
                  </a:moveTo>
                  <a:lnTo>
                    <a:pt x="195995" y="241"/>
                  </a:lnTo>
                  <a:lnTo>
                    <a:pt x="197066" y="241"/>
                  </a:lnTo>
                  <a:lnTo>
                    <a:pt x="197066" y="0"/>
                  </a:lnTo>
                  <a:close/>
                  <a:moveTo>
                    <a:pt x="197657" y="0"/>
                  </a:moveTo>
                  <a:lnTo>
                    <a:pt x="197657" y="241"/>
                  </a:lnTo>
                  <a:lnTo>
                    <a:pt x="198719" y="241"/>
                  </a:lnTo>
                  <a:lnTo>
                    <a:pt x="198719" y="0"/>
                  </a:lnTo>
                  <a:close/>
                  <a:moveTo>
                    <a:pt x="199320" y="0"/>
                  </a:moveTo>
                  <a:lnTo>
                    <a:pt x="199320" y="241"/>
                  </a:lnTo>
                  <a:lnTo>
                    <a:pt x="200381" y="241"/>
                  </a:lnTo>
                  <a:lnTo>
                    <a:pt x="200381" y="0"/>
                  </a:lnTo>
                  <a:close/>
                  <a:moveTo>
                    <a:pt x="200982" y="0"/>
                  </a:moveTo>
                  <a:lnTo>
                    <a:pt x="200982" y="241"/>
                  </a:lnTo>
                  <a:lnTo>
                    <a:pt x="202043" y="241"/>
                  </a:lnTo>
                  <a:lnTo>
                    <a:pt x="202043" y="0"/>
                  </a:lnTo>
                  <a:close/>
                  <a:moveTo>
                    <a:pt x="202634" y="0"/>
                  </a:moveTo>
                  <a:lnTo>
                    <a:pt x="202634" y="241"/>
                  </a:lnTo>
                  <a:lnTo>
                    <a:pt x="203706" y="241"/>
                  </a:lnTo>
                  <a:lnTo>
                    <a:pt x="203706" y="0"/>
                  </a:lnTo>
                  <a:close/>
                  <a:moveTo>
                    <a:pt x="204297" y="0"/>
                  </a:moveTo>
                  <a:lnTo>
                    <a:pt x="204297" y="241"/>
                  </a:lnTo>
                  <a:lnTo>
                    <a:pt x="205368" y="241"/>
                  </a:lnTo>
                  <a:lnTo>
                    <a:pt x="205368" y="0"/>
                  </a:lnTo>
                  <a:close/>
                  <a:moveTo>
                    <a:pt x="205959" y="0"/>
                  </a:moveTo>
                  <a:lnTo>
                    <a:pt x="205959" y="241"/>
                  </a:lnTo>
                  <a:lnTo>
                    <a:pt x="207030" y="241"/>
                  </a:lnTo>
                  <a:lnTo>
                    <a:pt x="207030" y="0"/>
                  </a:lnTo>
                  <a:close/>
                  <a:moveTo>
                    <a:pt x="207621" y="0"/>
                  </a:moveTo>
                  <a:lnTo>
                    <a:pt x="207621" y="241"/>
                  </a:lnTo>
                  <a:lnTo>
                    <a:pt x="208693" y="241"/>
                  </a:lnTo>
                  <a:lnTo>
                    <a:pt x="208693" y="0"/>
                  </a:lnTo>
                  <a:close/>
                  <a:moveTo>
                    <a:pt x="209294" y="0"/>
                  </a:moveTo>
                  <a:lnTo>
                    <a:pt x="209284" y="241"/>
                  </a:lnTo>
                  <a:lnTo>
                    <a:pt x="210355" y="241"/>
                  </a:lnTo>
                  <a:lnTo>
                    <a:pt x="210355" y="0"/>
                  </a:lnTo>
                  <a:close/>
                  <a:moveTo>
                    <a:pt x="210946" y="0"/>
                  </a:moveTo>
                  <a:lnTo>
                    <a:pt x="210946" y="241"/>
                  </a:lnTo>
                  <a:lnTo>
                    <a:pt x="212007" y="241"/>
                  </a:lnTo>
                  <a:lnTo>
                    <a:pt x="212007" y="0"/>
                  </a:lnTo>
                  <a:close/>
                  <a:moveTo>
                    <a:pt x="212598" y="0"/>
                  </a:moveTo>
                  <a:lnTo>
                    <a:pt x="212608" y="241"/>
                  </a:lnTo>
                  <a:lnTo>
                    <a:pt x="213670" y="241"/>
                  </a:lnTo>
                  <a:lnTo>
                    <a:pt x="213670" y="0"/>
                  </a:lnTo>
                  <a:close/>
                  <a:moveTo>
                    <a:pt x="214271" y="0"/>
                  </a:moveTo>
                  <a:lnTo>
                    <a:pt x="214271" y="241"/>
                  </a:lnTo>
                  <a:lnTo>
                    <a:pt x="215332" y="241"/>
                  </a:lnTo>
                  <a:lnTo>
                    <a:pt x="215332" y="0"/>
                  </a:lnTo>
                  <a:close/>
                  <a:moveTo>
                    <a:pt x="215923" y="0"/>
                  </a:moveTo>
                  <a:lnTo>
                    <a:pt x="215923" y="241"/>
                  </a:lnTo>
                  <a:lnTo>
                    <a:pt x="216994" y="241"/>
                  </a:lnTo>
                  <a:lnTo>
                    <a:pt x="216994" y="0"/>
                  </a:lnTo>
                  <a:close/>
                  <a:moveTo>
                    <a:pt x="217585" y="0"/>
                  </a:moveTo>
                  <a:lnTo>
                    <a:pt x="217585" y="241"/>
                  </a:lnTo>
                  <a:lnTo>
                    <a:pt x="218657" y="241"/>
                  </a:lnTo>
                  <a:lnTo>
                    <a:pt x="218657" y="0"/>
                  </a:lnTo>
                  <a:close/>
                  <a:moveTo>
                    <a:pt x="219247" y="0"/>
                  </a:moveTo>
                  <a:lnTo>
                    <a:pt x="219247" y="241"/>
                  </a:lnTo>
                  <a:lnTo>
                    <a:pt x="220319" y="241"/>
                  </a:lnTo>
                  <a:lnTo>
                    <a:pt x="220319" y="0"/>
                  </a:lnTo>
                  <a:close/>
                  <a:moveTo>
                    <a:pt x="220910" y="0"/>
                  </a:moveTo>
                  <a:lnTo>
                    <a:pt x="220910" y="241"/>
                  </a:lnTo>
                  <a:lnTo>
                    <a:pt x="221981" y="241"/>
                  </a:lnTo>
                  <a:lnTo>
                    <a:pt x="221981" y="0"/>
                  </a:lnTo>
                  <a:close/>
                  <a:moveTo>
                    <a:pt x="222572" y="0"/>
                  </a:moveTo>
                  <a:lnTo>
                    <a:pt x="222572" y="241"/>
                  </a:lnTo>
                  <a:lnTo>
                    <a:pt x="223634" y="241"/>
                  </a:lnTo>
                  <a:lnTo>
                    <a:pt x="223634" y="0"/>
                  </a:lnTo>
                  <a:close/>
                  <a:moveTo>
                    <a:pt x="224234" y="0"/>
                  </a:moveTo>
                  <a:lnTo>
                    <a:pt x="224234" y="241"/>
                  </a:lnTo>
                  <a:lnTo>
                    <a:pt x="225296" y="241"/>
                  </a:lnTo>
                  <a:lnTo>
                    <a:pt x="225296" y="0"/>
                  </a:lnTo>
                  <a:close/>
                  <a:moveTo>
                    <a:pt x="225897" y="0"/>
                  </a:moveTo>
                  <a:lnTo>
                    <a:pt x="225897" y="241"/>
                  </a:lnTo>
                  <a:lnTo>
                    <a:pt x="226958" y="241"/>
                  </a:lnTo>
                  <a:lnTo>
                    <a:pt x="226958" y="0"/>
                  </a:lnTo>
                  <a:close/>
                  <a:moveTo>
                    <a:pt x="227549" y="0"/>
                  </a:moveTo>
                  <a:lnTo>
                    <a:pt x="227549" y="241"/>
                  </a:lnTo>
                  <a:lnTo>
                    <a:pt x="228621" y="241"/>
                  </a:lnTo>
                  <a:lnTo>
                    <a:pt x="228621" y="0"/>
                  </a:lnTo>
                  <a:close/>
                  <a:moveTo>
                    <a:pt x="229211" y="0"/>
                  </a:moveTo>
                  <a:lnTo>
                    <a:pt x="229211" y="241"/>
                  </a:lnTo>
                  <a:lnTo>
                    <a:pt x="230283" y="241"/>
                  </a:lnTo>
                  <a:lnTo>
                    <a:pt x="230283" y="0"/>
                  </a:lnTo>
                  <a:close/>
                  <a:moveTo>
                    <a:pt x="230874" y="0"/>
                  </a:moveTo>
                  <a:lnTo>
                    <a:pt x="230874" y="241"/>
                  </a:lnTo>
                  <a:lnTo>
                    <a:pt x="231945" y="241"/>
                  </a:lnTo>
                  <a:lnTo>
                    <a:pt x="231945" y="0"/>
                  </a:lnTo>
                  <a:close/>
                  <a:moveTo>
                    <a:pt x="232536" y="0"/>
                  </a:moveTo>
                  <a:lnTo>
                    <a:pt x="232536" y="241"/>
                  </a:lnTo>
                  <a:lnTo>
                    <a:pt x="233608" y="241"/>
                  </a:lnTo>
                  <a:lnTo>
                    <a:pt x="233608" y="0"/>
                  </a:lnTo>
                  <a:close/>
                  <a:moveTo>
                    <a:pt x="234198" y="0"/>
                  </a:moveTo>
                  <a:lnTo>
                    <a:pt x="234198" y="241"/>
                  </a:lnTo>
                  <a:lnTo>
                    <a:pt x="235270" y="241"/>
                  </a:lnTo>
                  <a:lnTo>
                    <a:pt x="235270" y="0"/>
                  </a:lnTo>
                  <a:close/>
                  <a:moveTo>
                    <a:pt x="235861" y="0"/>
                  </a:moveTo>
                  <a:lnTo>
                    <a:pt x="235861" y="241"/>
                  </a:lnTo>
                  <a:lnTo>
                    <a:pt x="236922" y="241"/>
                  </a:lnTo>
                  <a:lnTo>
                    <a:pt x="236922" y="0"/>
                  </a:lnTo>
                  <a:close/>
                  <a:moveTo>
                    <a:pt x="237523" y="0"/>
                  </a:moveTo>
                  <a:lnTo>
                    <a:pt x="237523" y="241"/>
                  </a:lnTo>
                  <a:lnTo>
                    <a:pt x="238585" y="241"/>
                  </a:lnTo>
                  <a:lnTo>
                    <a:pt x="238585" y="0"/>
                  </a:lnTo>
                  <a:close/>
                  <a:moveTo>
                    <a:pt x="239185" y="0"/>
                  </a:moveTo>
                  <a:lnTo>
                    <a:pt x="239185" y="241"/>
                  </a:lnTo>
                  <a:lnTo>
                    <a:pt x="240247" y="241"/>
                  </a:lnTo>
                  <a:lnTo>
                    <a:pt x="240247" y="0"/>
                  </a:lnTo>
                  <a:close/>
                  <a:moveTo>
                    <a:pt x="240838" y="0"/>
                  </a:moveTo>
                  <a:lnTo>
                    <a:pt x="240838" y="241"/>
                  </a:lnTo>
                  <a:lnTo>
                    <a:pt x="241909" y="241"/>
                  </a:lnTo>
                  <a:lnTo>
                    <a:pt x="241909" y="0"/>
                  </a:lnTo>
                  <a:close/>
                  <a:moveTo>
                    <a:pt x="242500" y="0"/>
                  </a:moveTo>
                  <a:lnTo>
                    <a:pt x="242500" y="241"/>
                  </a:lnTo>
                  <a:lnTo>
                    <a:pt x="243572" y="241"/>
                  </a:lnTo>
                  <a:lnTo>
                    <a:pt x="243572" y="0"/>
                  </a:lnTo>
                  <a:close/>
                  <a:moveTo>
                    <a:pt x="244162" y="0"/>
                  </a:moveTo>
                  <a:lnTo>
                    <a:pt x="244162" y="241"/>
                  </a:lnTo>
                  <a:lnTo>
                    <a:pt x="245234" y="241"/>
                  </a:lnTo>
                  <a:lnTo>
                    <a:pt x="245234" y="0"/>
                  </a:lnTo>
                  <a:close/>
                  <a:moveTo>
                    <a:pt x="245825" y="0"/>
                  </a:moveTo>
                  <a:lnTo>
                    <a:pt x="245825" y="241"/>
                  </a:lnTo>
                  <a:lnTo>
                    <a:pt x="246896" y="241"/>
                  </a:lnTo>
                  <a:lnTo>
                    <a:pt x="246896" y="0"/>
                  </a:lnTo>
                  <a:close/>
                  <a:moveTo>
                    <a:pt x="247487" y="0"/>
                  </a:moveTo>
                  <a:lnTo>
                    <a:pt x="247487" y="241"/>
                  </a:lnTo>
                  <a:lnTo>
                    <a:pt x="248549" y="241"/>
                  </a:lnTo>
                  <a:lnTo>
                    <a:pt x="248549" y="0"/>
                  </a:lnTo>
                  <a:close/>
                  <a:moveTo>
                    <a:pt x="249149" y="0"/>
                  </a:moveTo>
                  <a:lnTo>
                    <a:pt x="249149" y="241"/>
                  </a:lnTo>
                  <a:lnTo>
                    <a:pt x="250211" y="241"/>
                  </a:lnTo>
                  <a:lnTo>
                    <a:pt x="250211" y="0"/>
                  </a:lnTo>
                  <a:close/>
                  <a:moveTo>
                    <a:pt x="250812" y="0"/>
                  </a:moveTo>
                  <a:lnTo>
                    <a:pt x="250812" y="241"/>
                  </a:lnTo>
                  <a:lnTo>
                    <a:pt x="251873" y="241"/>
                  </a:lnTo>
                  <a:lnTo>
                    <a:pt x="251873" y="0"/>
                  </a:lnTo>
                  <a:close/>
                  <a:moveTo>
                    <a:pt x="252474" y="0"/>
                  </a:moveTo>
                  <a:lnTo>
                    <a:pt x="252464" y="241"/>
                  </a:lnTo>
                  <a:lnTo>
                    <a:pt x="253536" y="241"/>
                  </a:lnTo>
                  <a:lnTo>
                    <a:pt x="253536" y="0"/>
                  </a:lnTo>
                  <a:close/>
                  <a:moveTo>
                    <a:pt x="254126" y="0"/>
                  </a:moveTo>
                  <a:lnTo>
                    <a:pt x="254126" y="241"/>
                  </a:lnTo>
                  <a:lnTo>
                    <a:pt x="255198" y="241"/>
                  </a:lnTo>
                  <a:lnTo>
                    <a:pt x="255198" y="0"/>
                  </a:lnTo>
                  <a:close/>
                  <a:moveTo>
                    <a:pt x="255789" y="0"/>
                  </a:moveTo>
                  <a:lnTo>
                    <a:pt x="255789" y="241"/>
                  </a:lnTo>
                  <a:lnTo>
                    <a:pt x="256860" y="241"/>
                  </a:lnTo>
                  <a:lnTo>
                    <a:pt x="256860" y="0"/>
                  </a:lnTo>
                  <a:close/>
                  <a:moveTo>
                    <a:pt x="257451" y="0"/>
                  </a:moveTo>
                  <a:lnTo>
                    <a:pt x="257451" y="241"/>
                  </a:lnTo>
                  <a:lnTo>
                    <a:pt x="258522" y="241"/>
                  </a:lnTo>
                  <a:lnTo>
                    <a:pt x="258522" y="0"/>
                  </a:lnTo>
                  <a:close/>
                  <a:moveTo>
                    <a:pt x="259113" y="0"/>
                  </a:moveTo>
                  <a:lnTo>
                    <a:pt x="259113" y="241"/>
                  </a:lnTo>
                  <a:lnTo>
                    <a:pt x="260185" y="241"/>
                  </a:lnTo>
                  <a:lnTo>
                    <a:pt x="260185" y="0"/>
                  </a:lnTo>
                  <a:close/>
                  <a:moveTo>
                    <a:pt x="260776" y="0"/>
                  </a:moveTo>
                  <a:lnTo>
                    <a:pt x="260776" y="241"/>
                  </a:lnTo>
                  <a:lnTo>
                    <a:pt x="261837" y="241"/>
                  </a:lnTo>
                  <a:lnTo>
                    <a:pt x="261837" y="0"/>
                  </a:lnTo>
                  <a:close/>
                  <a:moveTo>
                    <a:pt x="262438" y="0"/>
                  </a:moveTo>
                  <a:lnTo>
                    <a:pt x="262438" y="241"/>
                  </a:lnTo>
                  <a:lnTo>
                    <a:pt x="263499" y="241"/>
                  </a:lnTo>
                  <a:lnTo>
                    <a:pt x="263499" y="0"/>
                  </a:lnTo>
                  <a:close/>
                  <a:moveTo>
                    <a:pt x="264100" y="0"/>
                  </a:moveTo>
                  <a:lnTo>
                    <a:pt x="264100" y="241"/>
                  </a:lnTo>
                  <a:lnTo>
                    <a:pt x="265162" y="241"/>
                  </a:lnTo>
                  <a:lnTo>
                    <a:pt x="265162" y="0"/>
                  </a:lnTo>
                  <a:close/>
                  <a:moveTo>
                    <a:pt x="265753" y="0"/>
                  </a:moveTo>
                  <a:lnTo>
                    <a:pt x="265753" y="241"/>
                  </a:lnTo>
                  <a:lnTo>
                    <a:pt x="266824" y="241"/>
                  </a:lnTo>
                  <a:lnTo>
                    <a:pt x="266824" y="0"/>
                  </a:lnTo>
                  <a:close/>
                  <a:moveTo>
                    <a:pt x="267415" y="0"/>
                  </a:moveTo>
                  <a:lnTo>
                    <a:pt x="267415" y="241"/>
                  </a:lnTo>
                  <a:lnTo>
                    <a:pt x="268486" y="241"/>
                  </a:lnTo>
                  <a:lnTo>
                    <a:pt x="268486" y="0"/>
                  </a:lnTo>
                  <a:close/>
                  <a:moveTo>
                    <a:pt x="269077" y="0"/>
                  </a:moveTo>
                  <a:lnTo>
                    <a:pt x="269077" y="241"/>
                  </a:lnTo>
                  <a:lnTo>
                    <a:pt x="270149" y="241"/>
                  </a:lnTo>
                  <a:lnTo>
                    <a:pt x="270149" y="0"/>
                  </a:lnTo>
                  <a:close/>
                  <a:moveTo>
                    <a:pt x="270740" y="0"/>
                  </a:moveTo>
                  <a:lnTo>
                    <a:pt x="270740" y="241"/>
                  </a:lnTo>
                  <a:lnTo>
                    <a:pt x="271811" y="241"/>
                  </a:lnTo>
                  <a:lnTo>
                    <a:pt x="271811" y="0"/>
                  </a:lnTo>
                  <a:close/>
                  <a:moveTo>
                    <a:pt x="272402" y="0"/>
                  </a:moveTo>
                  <a:lnTo>
                    <a:pt x="272402" y="241"/>
                  </a:lnTo>
                  <a:lnTo>
                    <a:pt x="273463" y="241"/>
                  </a:lnTo>
                  <a:lnTo>
                    <a:pt x="273463" y="0"/>
                  </a:lnTo>
                  <a:close/>
                  <a:moveTo>
                    <a:pt x="274064" y="0"/>
                  </a:moveTo>
                  <a:lnTo>
                    <a:pt x="274064" y="241"/>
                  </a:lnTo>
                  <a:lnTo>
                    <a:pt x="275136" y="241"/>
                  </a:lnTo>
                  <a:lnTo>
                    <a:pt x="275136" y="0"/>
                  </a:lnTo>
                  <a:close/>
                  <a:moveTo>
                    <a:pt x="275727" y="0"/>
                  </a:moveTo>
                  <a:lnTo>
                    <a:pt x="275727" y="241"/>
                  </a:lnTo>
                  <a:lnTo>
                    <a:pt x="276788" y="241"/>
                  </a:lnTo>
                  <a:lnTo>
                    <a:pt x="276788" y="0"/>
                  </a:lnTo>
                  <a:close/>
                  <a:moveTo>
                    <a:pt x="277389" y="0"/>
                  </a:moveTo>
                  <a:lnTo>
                    <a:pt x="277379" y="241"/>
                  </a:lnTo>
                  <a:lnTo>
                    <a:pt x="278450" y="241"/>
                  </a:lnTo>
                  <a:lnTo>
                    <a:pt x="278450" y="0"/>
                  </a:lnTo>
                  <a:close/>
                  <a:moveTo>
                    <a:pt x="279041" y="0"/>
                  </a:moveTo>
                  <a:lnTo>
                    <a:pt x="279041" y="241"/>
                  </a:lnTo>
                  <a:lnTo>
                    <a:pt x="280113" y="241"/>
                  </a:lnTo>
                  <a:lnTo>
                    <a:pt x="280113" y="0"/>
                  </a:lnTo>
                  <a:close/>
                  <a:moveTo>
                    <a:pt x="280704" y="0"/>
                  </a:moveTo>
                  <a:lnTo>
                    <a:pt x="280704" y="241"/>
                  </a:lnTo>
                  <a:lnTo>
                    <a:pt x="281775" y="241"/>
                  </a:lnTo>
                  <a:lnTo>
                    <a:pt x="281775" y="0"/>
                  </a:lnTo>
                  <a:close/>
                  <a:moveTo>
                    <a:pt x="282366" y="0"/>
                  </a:moveTo>
                  <a:lnTo>
                    <a:pt x="282366" y="241"/>
                  </a:lnTo>
                  <a:lnTo>
                    <a:pt x="283437" y="241"/>
                  </a:lnTo>
                  <a:lnTo>
                    <a:pt x="283437" y="0"/>
                  </a:lnTo>
                  <a:close/>
                </a:path>
              </a:pathLst>
            </a:custGeom>
            <a:solidFill>
              <a:srgbClr val="B4D3E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455" name="Google Shape;1454;p44"/>
            <p:cNvSpPr/>
            <p:nvPr/>
          </p:nvSpPr>
          <p:spPr>
            <a:xfrm>
              <a:off x="8526861" y="2586831"/>
              <a:ext cx="6023" cy="2734"/>
            </a:xfrm>
            <a:custGeom>
              <a:avLst/>
              <a:gdLst/>
              <a:ahLst/>
              <a:cxnLst/>
              <a:rect l="l" t="t" r="r" b="b"/>
              <a:pathLst>
                <a:path w="531" h="241" extrusionOk="0">
                  <a:moveTo>
                    <a:pt x="0" y="0"/>
                  </a:moveTo>
                  <a:lnTo>
                    <a:pt x="0" y="241"/>
                  </a:lnTo>
                  <a:lnTo>
                    <a:pt x="531" y="241"/>
                  </a:lnTo>
                  <a:lnTo>
                    <a:pt x="531" y="0"/>
                  </a:lnTo>
                  <a:close/>
                </a:path>
              </a:pathLst>
            </a:custGeom>
            <a:solidFill>
              <a:srgbClr val="B4D3E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456" name="Google Shape;1455;p44"/>
            <p:cNvSpPr/>
            <p:nvPr/>
          </p:nvSpPr>
          <p:spPr>
            <a:xfrm>
              <a:off x="7229392" y="1810029"/>
              <a:ext cx="8076" cy="8076"/>
            </a:xfrm>
            <a:custGeom>
              <a:avLst/>
              <a:gdLst/>
              <a:ahLst/>
              <a:cxnLst/>
              <a:rect l="l" t="t" r="r" b="b"/>
              <a:pathLst>
                <a:path w="712" h="712" extrusionOk="0">
                  <a:moveTo>
                    <a:pt x="351" y="1"/>
                  </a:moveTo>
                  <a:cubicBezTo>
                    <a:pt x="150" y="1"/>
                    <a:pt x="0" y="161"/>
                    <a:pt x="0" y="361"/>
                  </a:cubicBezTo>
                  <a:cubicBezTo>
                    <a:pt x="0" y="552"/>
                    <a:pt x="150" y="712"/>
                    <a:pt x="351" y="712"/>
                  </a:cubicBezTo>
                  <a:cubicBezTo>
                    <a:pt x="551" y="712"/>
                    <a:pt x="711" y="552"/>
                    <a:pt x="711" y="361"/>
                  </a:cubicBezTo>
                  <a:cubicBezTo>
                    <a:pt x="711" y="161"/>
                    <a:pt x="551" y="1"/>
                    <a:pt x="351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457" name="Google Shape;1456;p44"/>
            <p:cNvSpPr/>
            <p:nvPr/>
          </p:nvSpPr>
          <p:spPr>
            <a:xfrm>
              <a:off x="7221214" y="1814362"/>
              <a:ext cx="9437" cy="8065"/>
            </a:xfrm>
            <a:custGeom>
              <a:avLst/>
              <a:gdLst/>
              <a:ahLst/>
              <a:cxnLst/>
              <a:rect l="l" t="t" r="r" b="b"/>
              <a:pathLst>
                <a:path w="832" h="711" extrusionOk="0">
                  <a:moveTo>
                    <a:pt x="469" y="1"/>
                  </a:moveTo>
                  <a:cubicBezTo>
                    <a:pt x="381" y="1"/>
                    <a:pt x="292" y="34"/>
                    <a:pt x="220" y="110"/>
                  </a:cubicBezTo>
                  <a:cubicBezTo>
                    <a:pt x="0" y="330"/>
                    <a:pt x="160" y="710"/>
                    <a:pt x="471" y="710"/>
                  </a:cubicBezTo>
                  <a:cubicBezTo>
                    <a:pt x="671" y="710"/>
                    <a:pt x="831" y="550"/>
                    <a:pt x="831" y="360"/>
                  </a:cubicBezTo>
                  <a:cubicBezTo>
                    <a:pt x="824" y="144"/>
                    <a:pt x="650" y="1"/>
                    <a:pt x="469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458" name="Google Shape;1457;p44"/>
            <p:cNvSpPr/>
            <p:nvPr/>
          </p:nvSpPr>
          <p:spPr>
            <a:xfrm>
              <a:off x="7215759" y="1818660"/>
              <a:ext cx="7962" cy="8076"/>
            </a:xfrm>
            <a:custGeom>
              <a:avLst/>
              <a:gdLst/>
              <a:ahLst/>
              <a:cxnLst/>
              <a:rect l="l" t="t" r="r" b="b"/>
              <a:pathLst>
                <a:path w="702" h="712" extrusionOk="0">
                  <a:moveTo>
                    <a:pt x="351" y="1"/>
                  </a:moveTo>
                  <a:cubicBezTo>
                    <a:pt x="151" y="1"/>
                    <a:pt x="0" y="161"/>
                    <a:pt x="0" y="361"/>
                  </a:cubicBezTo>
                  <a:cubicBezTo>
                    <a:pt x="0" y="552"/>
                    <a:pt x="151" y="712"/>
                    <a:pt x="351" y="712"/>
                  </a:cubicBezTo>
                  <a:cubicBezTo>
                    <a:pt x="541" y="712"/>
                    <a:pt x="701" y="552"/>
                    <a:pt x="701" y="361"/>
                  </a:cubicBezTo>
                  <a:cubicBezTo>
                    <a:pt x="701" y="161"/>
                    <a:pt x="541" y="1"/>
                    <a:pt x="351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459" name="Google Shape;1458;p44"/>
            <p:cNvSpPr/>
            <p:nvPr/>
          </p:nvSpPr>
          <p:spPr>
            <a:xfrm>
              <a:off x="7208942" y="1822982"/>
              <a:ext cx="7962" cy="7962"/>
            </a:xfrm>
            <a:custGeom>
              <a:avLst/>
              <a:gdLst/>
              <a:ahLst/>
              <a:cxnLst/>
              <a:rect l="l" t="t" r="r" b="b"/>
              <a:pathLst>
                <a:path w="702" h="702" extrusionOk="0">
                  <a:moveTo>
                    <a:pt x="351" y="0"/>
                  </a:moveTo>
                  <a:cubicBezTo>
                    <a:pt x="151" y="0"/>
                    <a:pt x="1" y="161"/>
                    <a:pt x="1" y="351"/>
                  </a:cubicBezTo>
                  <a:cubicBezTo>
                    <a:pt x="1" y="551"/>
                    <a:pt x="151" y="701"/>
                    <a:pt x="351" y="701"/>
                  </a:cubicBezTo>
                  <a:cubicBezTo>
                    <a:pt x="541" y="701"/>
                    <a:pt x="702" y="551"/>
                    <a:pt x="702" y="351"/>
                  </a:cubicBezTo>
                  <a:cubicBezTo>
                    <a:pt x="702" y="161"/>
                    <a:pt x="541" y="0"/>
                    <a:pt x="351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460" name="Google Shape;1459;p44"/>
            <p:cNvSpPr/>
            <p:nvPr/>
          </p:nvSpPr>
          <p:spPr>
            <a:xfrm>
              <a:off x="7200764" y="1827247"/>
              <a:ext cx="9210" cy="8008"/>
            </a:xfrm>
            <a:custGeom>
              <a:avLst/>
              <a:gdLst/>
              <a:ahLst/>
              <a:cxnLst/>
              <a:rect l="l" t="t" r="r" b="b"/>
              <a:pathLst>
                <a:path w="812" h="706" extrusionOk="0">
                  <a:moveTo>
                    <a:pt x="466" y="1"/>
                  </a:moveTo>
                  <a:cubicBezTo>
                    <a:pt x="380" y="1"/>
                    <a:pt x="293" y="33"/>
                    <a:pt x="221" y="105"/>
                  </a:cubicBezTo>
                  <a:cubicBezTo>
                    <a:pt x="1" y="325"/>
                    <a:pt x="151" y="706"/>
                    <a:pt x="461" y="706"/>
                  </a:cubicBezTo>
                  <a:cubicBezTo>
                    <a:pt x="661" y="706"/>
                    <a:pt x="812" y="546"/>
                    <a:pt x="812" y="355"/>
                  </a:cubicBezTo>
                  <a:cubicBezTo>
                    <a:pt x="812" y="139"/>
                    <a:pt x="643" y="1"/>
                    <a:pt x="466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461" name="Google Shape;1460;p44"/>
            <p:cNvSpPr/>
            <p:nvPr/>
          </p:nvSpPr>
          <p:spPr>
            <a:xfrm>
              <a:off x="7193947" y="1831477"/>
              <a:ext cx="9210" cy="7985"/>
            </a:xfrm>
            <a:custGeom>
              <a:avLst/>
              <a:gdLst/>
              <a:ahLst/>
              <a:cxnLst/>
              <a:rect l="l" t="t" r="r" b="b"/>
              <a:pathLst>
                <a:path w="812" h="704" extrusionOk="0">
                  <a:moveTo>
                    <a:pt x="462" y="0"/>
                  </a:moveTo>
                  <a:cubicBezTo>
                    <a:pt x="378" y="0"/>
                    <a:pt x="292" y="32"/>
                    <a:pt x="221" y="103"/>
                  </a:cubicBezTo>
                  <a:cubicBezTo>
                    <a:pt x="1" y="323"/>
                    <a:pt x="151" y="703"/>
                    <a:pt x="471" y="703"/>
                  </a:cubicBezTo>
                  <a:cubicBezTo>
                    <a:pt x="662" y="703"/>
                    <a:pt x="812" y="543"/>
                    <a:pt x="812" y="353"/>
                  </a:cubicBezTo>
                  <a:cubicBezTo>
                    <a:pt x="812" y="142"/>
                    <a:pt x="641" y="0"/>
                    <a:pt x="462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462" name="Google Shape;1461;p44"/>
            <p:cNvSpPr/>
            <p:nvPr/>
          </p:nvSpPr>
          <p:spPr>
            <a:xfrm>
              <a:off x="7187017" y="1835765"/>
              <a:ext cx="9210" cy="7894"/>
            </a:xfrm>
            <a:custGeom>
              <a:avLst/>
              <a:gdLst/>
              <a:ahLst/>
              <a:cxnLst/>
              <a:rect l="l" t="t" r="r" b="b"/>
              <a:pathLst>
                <a:path w="812" h="696" extrusionOk="0">
                  <a:moveTo>
                    <a:pt x="468" y="1"/>
                  </a:moveTo>
                  <a:cubicBezTo>
                    <a:pt x="382" y="1"/>
                    <a:pt x="293" y="33"/>
                    <a:pt x="221" y="105"/>
                  </a:cubicBezTo>
                  <a:cubicBezTo>
                    <a:pt x="1" y="325"/>
                    <a:pt x="161" y="696"/>
                    <a:pt x="471" y="696"/>
                  </a:cubicBezTo>
                  <a:cubicBezTo>
                    <a:pt x="662" y="696"/>
                    <a:pt x="812" y="536"/>
                    <a:pt x="812" y="345"/>
                  </a:cubicBezTo>
                  <a:cubicBezTo>
                    <a:pt x="812" y="137"/>
                    <a:pt x="645" y="1"/>
                    <a:pt x="468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463" name="Google Shape;1462;p44"/>
            <p:cNvSpPr/>
            <p:nvPr/>
          </p:nvSpPr>
          <p:spPr>
            <a:xfrm>
              <a:off x="7180200" y="1839973"/>
              <a:ext cx="9221" cy="7894"/>
            </a:xfrm>
            <a:custGeom>
              <a:avLst/>
              <a:gdLst/>
              <a:ahLst/>
              <a:cxnLst/>
              <a:rect l="l" t="t" r="r" b="b"/>
              <a:pathLst>
                <a:path w="813" h="696" extrusionOk="0">
                  <a:moveTo>
                    <a:pt x="461" y="0"/>
                  </a:moveTo>
                  <a:cubicBezTo>
                    <a:pt x="373" y="0"/>
                    <a:pt x="283" y="32"/>
                    <a:pt x="211" y="105"/>
                  </a:cubicBezTo>
                  <a:cubicBezTo>
                    <a:pt x="1" y="325"/>
                    <a:pt x="151" y="695"/>
                    <a:pt x="462" y="695"/>
                  </a:cubicBezTo>
                  <a:cubicBezTo>
                    <a:pt x="652" y="695"/>
                    <a:pt x="812" y="535"/>
                    <a:pt x="812" y="345"/>
                  </a:cubicBezTo>
                  <a:cubicBezTo>
                    <a:pt x="812" y="136"/>
                    <a:pt x="640" y="0"/>
                    <a:pt x="461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464" name="Google Shape;1463;p44"/>
            <p:cNvSpPr/>
            <p:nvPr/>
          </p:nvSpPr>
          <p:spPr>
            <a:xfrm>
              <a:off x="7173281" y="1844192"/>
              <a:ext cx="9210" cy="7872"/>
            </a:xfrm>
            <a:custGeom>
              <a:avLst/>
              <a:gdLst/>
              <a:ahLst/>
              <a:cxnLst/>
              <a:rect l="l" t="t" r="r" b="b"/>
              <a:pathLst>
                <a:path w="812" h="694" extrusionOk="0">
                  <a:moveTo>
                    <a:pt x="463" y="1"/>
                  </a:moveTo>
                  <a:cubicBezTo>
                    <a:pt x="378" y="1"/>
                    <a:pt x="291" y="32"/>
                    <a:pt x="220" y="103"/>
                  </a:cubicBezTo>
                  <a:cubicBezTo>
                    <a:pt x="0" y="323"/>
                    <a:pt x="150" y="694"/>
                    <a:pt x="461" y="694"/>
                  </a:cubicBezTo>
                  <a:cubicBezTo>
                    <a:pt x="651" y="694"/>
                    <a:pt x="811" y="534"/>
                    <a:pt x="811" y="344"/>
                  </a:cubicBezTo>
                  <a:cubicBezTo>
                    <a:pt x="811" y="140"/>
                    <a:pt x="641" y="1"/>
                    <a:pt x="463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465" name="Google Shape;1464;p44"/>
            <p:cNvSpPr/>
            <p:nvPr/>
          </p:nvSpPr>
          <p:spPr>
            <a:xfrm>
              <a:off x="7166351" y="1848400"/>
              <a:ext cx="9210" cy="7872"/>
            </a:xfrm>
            <a:custGeom>
              <a:avLst/>
              <a:gdLst/>
              <a:ahLst/>
              <a:cxnLst/>
              <a:rect l="l" t="t" r="r" b="b"/>
              <a:pathLst>
                <a:path w="812" h="694" extrusionOk="0">
                  <a:moveTo>
                    <a:pt x="463" y="0"/>
                  </a:moveTo>
                  <a:cubicBezTo>
                    <a:pt x="378" y="0"/>
                    <a:pt x="292" y="32"/>
                    <a:pt x="221" y="103"/>
                  </a:cubicBezTo>
                  <a:cubicBezTo>
                    <a:pt x="0" y="323"/>
                    <a:pt x="160" y="694"/>
                    <a:pt x="471" y="694"/>
                  </a:cubicBezTo>
                  <a:cubicBezTo>
                    <a:pt x="661" y="683"/>
                    <a:pt x="811" y="533"/>
                    <a:pt x="811" y="343"/>
                  </a:cubicBezTo>
                  <a:cubicBezTo>
                    <a:pt x="811" y="139"/>
                    <a:pt x="641" y="0"/>
                    <a:pt x="463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466" name="Google Shape;1465;p44"/>
            <p:cNvSpPr/>
            <p:nvPr/>
          </p:nvSpPr>
          <p:spPr>
            <a:xfrm>
              <a:off x="7159534" y="1852575"/>
              <a:ext cx="9097" cy="7792"/>
            </a:xfrm>
            <a:custGeom>
              <a:avLst/>
              <a:gdLst/>
              <a:ahLst/>
              <a:cxnLst/>
              <a:rect l="l" t="t" r="r" b="b"/>
              <a:pathLst>
                <a:path w="802" h="687" extrusionOk="0">
                  <a:moveTo>
                    <a:pt x="460" y="1"/>
                  </a:moveTo>
                  <a:cubicBezTo>
                    <a:pt x="376" y="1"/>
                    <a:pt x="290" y="33"/>
                    <a:pt x="221" y="105"/>
                  </a:cubicBezTo>
                  <a:cubicBezTo>
                    <a:pt x="0" y="315"/>
                    <a:pt x="151" y="686"/>
                    <a:pt x="461" y="686"/>
                  </a:cubicBezTo>
                  <a:cubicBezTo>
                    <a:pt x="651" y="686"/>
                    <a:pt x="802" y="536"/>
                    <a:pt x="802" y="346"/>
                  </a:cubicBezTo>
                  <a:cubicBezTo>
                    <a:pt x="802" y="137"/>
                    <a:pt x="634" y="1"/>
                    <a:pt x="460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467" name="Google Shape;1466;p44"/>
            <p:cNvSpPr/>
            <p:nvPr/>
          </p:nvSpPr>
          <p:spPr>
            <a:xfrm>
              <a:off x="7152604" y="1856749"/>
              <a:ext cx="9097" cy="7815"/>
            </a:xfrm>
            <a:custGeom>
              <a:avLst/>
              <a:gdLst/>
              <a:ahLst/>
              <a:cxnLst/>
              <a:rect l="l" t="t" r="r" b="b"/>
              <a:pathLst>
                <a:path w="802" h="689" extrusionOk="0">
                  <a:moveTo>
                    <a:pt x="455" y="0"/>
                  </a:moveTo>
                  <a:cubicBezTo>
                    <a:pt x="372" y="0"/>
                    <a:pt x="288" y="30"/>
                    <a:pt x="221" y="98"/>
                  </a:cubicBezTo>
                  <a:cubicBezTo>
                    <a:pt x="1" y="318"/>
                    <a:pt x="161" y="689"/>
                    <a:pt x="461" y="689"/>
                  </a:cubicBezTo>
                  <a:cubicBezTo>
                    <a:pt x="651" y="689"/>
                    <a:pt x="802" y="538"/>
                    <a:pt x="802" y="348"/>
                  </a:cubicBezTo>
                  <a:cubicBezTo>
                    <a:pt x="802" y="137"/>
                    <a:pt x="630" y="0"/>
                    <a:pt x="455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468" name="Google Shape;1467;p44"/>
            <p:cNvSpPr/>
            <p:nvPr/>
          </p:nvSpPr>
          <p:spPr>
            <a:xfrm>
              <a:off x="7145787" y="1860945"/>
              <a:ext cx="8983" cy="7713"/>
            </a:xfrm>
            <a:custGeom>
              <a:avLst/>
              <a:gdLst/>
              <a:ahLst/>
              <a:cxnLst/>
              <a:rect l="l" t="t" r="r" b="b"/>
              <a:pathLst>
                <a:path w="792" h="680" extrusionOk="0">
                  <a:moveTo>
                    <a:pt x="451" y="0"/>
                  </a:moveTo>
                  <a:cubicBezTo>
                    <a:pt x="367" y="0"/>
                    <a:pt x="282" y="31"/>
                    <a:pt x="211" y="98"/>
                  </a:cubicBezTo>
                  <a:cubicBezTo>
                    <a:pt x="1" y="319"/>
                    <a:pt x="151" y="679"/>
                    <a:pt x="461" y="679"/>
                  </a:cubicBezTo>
                  <a:cubicBezTo>
                    <a:pt x="642" y="679"/>
                    <a:pt x="792" y="529"/>
                    <a:pt x="792" y="339"/>
                  </a:cubicBezTo>
                  <a:cubicBezTo>
                    <a:pt x="792" y="135"/>
                    <a:pt x="626" y="0"/>
                    <a:pt x="451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469" name="Google Shape;1468;p44"/>
            <p:cNvSpPr/>
            <p:nvPr/>
          </p:nvSpPr>
          <p:spPr>
            <a:xfrm>
              <a:off x="7138857" y="1865142"/>
              <a:ext cx="8983" cy="7713"/>
            </a:xfrm>
            <a:custGeom>
              <a:avLst/>
              <a:gdLst/>
              <a:ahLst/>
              <a:cxnLst/>
              <a:rect l="l" t="t" r="r" b="b"/>
              <a:pathLst>
                <a:path w="792" h="680" extrusionOk="0">
                  <a:moveTo>
                    <a:pt x="451" y="1"/>
                  </a:moveTo>
                  <a:cubicBezTo>
                    <a:pt x="368" y="1"/>
                    <a:pt x="282" y="31"/>
                    <a:pt x="211" y="99"/>
                  </a:cubicBezTo>
                  <a:cubicBezTo>
                    <a:pt x="1" y="309"/>
                    <a:pt x="151" y="680"/>
                    <a:pt x="452" y="680"/>
                  </a:cubicBezTo>
                  <a:cubicBezTo>
                    <a:pt x="642" y="680"/>
                    <a:pt x="792" y="529"/>
                    <a:pt x="792" y="339"/>
                  </a:cubicBezTo>
                  <a:cubicBezTo>
                    <a:pt x="792" y="135"/>
                    <a:pt x="626" y="1"/>
                    <a:pt x="451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470" name="Google Shape;1469;p44"/>
            <p:cNvSpPr/>
            <p:nvPr/>
          </p:nvSpPr>
          <p:spPr>
            <a:xfrm>
              <a:off x="7133299" y="1869327"/>
              <a:ext cx="7622" cy="7622"/>
            </a:xfrm>
            <a:custGeom>
              <a:avLst/>
              <a:gdLst/>
              <a:ahLst/>
              <a:cxnLst/>
              <a:rect l="l" t="t" r="r" b="b"/>
              <a:pathLst>
                <a:path w="672" h="672" extrusionOk="0">
                  <a:moveTo>
                    <a:pt x="331" y="0"/>
                  </a:moveTo>
                  <a:cubicBezTo>
                    <a:pt x="150" y="0"/>
                    <a:pt x="0" y="150"/>
                    <a:pt x="0" y="331"/>
                  </a:cubicBezTo>
                  <a:cubicBezTo>
                    <a:pt x="0" y="521"/>
                    <a:pt x="150" y="671"/>
                    <a:pt x="331" y="671"/>
                  </a:cubicBezTo>
                  <a:cubicBezTo>
                    <a:pt x="521" y="671"/>
                    <a:pt x="671" y="521"/>
                    <a:pt x="671" y="331"/>
                  </a:cubicBezTo>
                  <a:cubicBezTo>
                    <a:pt x="671" y="150"/>
                    <a:pt x="521" y="0"/>
                    <a:pt x="331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471" name="Google Shape;1470;p44"/>
            <p:cNvSpPr/>
            <p:nvPr/>
          </p:nvSpPr>
          <p:spPr>
            <a:xfrm>
              <a:off x="7126368" y="1873411"/>
              <a:ext cx="7622" cy="7622"/>
            </a:xfrm>
            <a:custGeom>
              <a:avLst/>
              <a:gdLst/>
              <a:ahLst/>
              <a:cxnLst/>
              <a:rect l="l" t="t" r="r" b="b"/>
              <a:pathLst>
                <a:path w="672" h="672" extrusionOk="0">
                  <a:moveTo>
                    <a:pt x="331" y="1"/>
                  </a:moveTo>
                  <a:cubicBezTo>
                    <a:pt x="151" y="1"/>
                    <a:pt x="0" y="151"/>
                    <a:pt x="0" y="341"/>
                  </a:cubicBezTo>
                  <a:cubicBezTo>
                    <a:pt x="0" y="521"/>
                    <a:pt x="151" y="672"/>
                    <a:pt x="331" y="672"/>
                  </a:cubicBezTo>
                  <a:cubicBezTo>
                    <a:pt x="521" y="672"/>
                    <a:pt x="671" y="521"/>
                    <a:pt x="671" y="341"/>
                  </a:cubicBezTo>
                  <a:cubicBezTo>
                    <a:pt x="671" y="151"/>
                    <a:pt x="521" y="1"/>
                    <a:pt x="331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472" name="Google Shape;1471;p44"/>
            <p:cNvSpPr/>
            <p:nvPr/>
          </p:nvSpPr>
          <p:spPr>
            <a:xfrm>
              <a:off x="7118191" y="1877528"/>
              <a:ext cx="8870" cy="7599"/>
            </a:xfrm>
            <a:custGeom>
              <a:avLst/>
              <a:gdLst/>
              <a:ahLst/>
              <a:cxnLst/>
              <a:rect l="l" t="t" r="r" b="b"/>
              <a:pathLst>
                <a:path w="782" h="670" extrusionOk="0">
                  <a:moveTo>
                    <a:pt x="443" y="0"/>
                  </a:moveTo>
                  <a:cubicBezTo>
                    <a:pt x="362" y="0"/>
                    <a:pt x="278" y="31"/>
                    <a:pt x="211" y="98"/>
                  </a:cubicBezTo>
                  <a:cubicBezTo>
                    <a:pt x="0" y="309"/>
                    <a:pt x="141" y="669"/>
                    <a:pt x="441" y="669"/>
                  </a:cubicBezTo>
                  <a:cubicBezTo>
                    <a:pt x="631" y="669"/>
                    <a:pt x="781" y="519"/>
                    <a:pt x="781" y="339"/>
                  </a:cubicBezTo>
                  <a:cubicBezTo>
                    <a:pt x="781" y="135"/>
                    <a:pt x="616" y="0"/>
                    <a:pt x="443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473" name="Google Shape;1472;p44"/>
            <p:cNvSpPr/>
            <p:nvPr/>
          </p:nvSpPr>
          <p:spPr>
            <a:xfrm>
              <a:off x="7111147" y="1881702"/>
              <a:ext cx="8870" cy="7509"/>
            </a:xfrm>
            <a:custGeom>
              <a:avLst/>
              <a:gdLst/>
              <a:ahLst/>
              <a:cxnLst/>
              <a:rect l="l" t="t" r="r" b="b"/>
              <a:pathLst>
                <a:path w="782" h="662" extrusionOk="0">
                  <a:moveTo>
                    <a:pt x="449" y="0"/>
                  </a:moveTo>
                  <a:cubicBezTo>
                    <a:pt x="366" y="0"/>
                    <a:pt x="280" y="31"/>
                    <a:pt x="211" y="101"/>
                  </a:cubicBezTo>
                  <a:cubicBezTo>
                    <a:pt x="0" y="311"/>
                    <a:pt x="151" y="662"/>
                    <a:pt x="451" y="662"/>
                  </a:cubicBezTo>
                  <a:cubicBezTo>
                    <a:pt x="631" y="662"/>
                    <a:pt x="782" y="511"/>
                    <a:pt x="782" y="331"/>
                  </a:cubicBezTo>
                  <a:cubicBezTo>
                    <a:pt x="782" y="130"/>
                    <a:pt x="619" y="0"/>
                    <a:pt x="449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474" name="Google Shape;1473;p44"/>
            <p:cNvSpPr/>
            <p:nvPr/>
          </p:nvSpPr>
          <p:spPr>
            <a:xfrm>
              <a:off x="7104217" y="1885808"/>
              <a:ext cx="8870" cy="7497"/>
            </a:xfrm>
            <a:custGeom>
              <a:avLst/>
              <a:gdLst/>
              <a:ahLst/>
              <a:cxnLst/>
              <a:rect l="l" t="t" r="r" b="b"/>
              <a:pathLst>
                <a:path w="782" h="661" extrusionOk="0">
                  <a:moveTo>
                    <a:pt x="445" y="1"/>
                  </a:moveTo>
                  <a:cubicBezTo>
                    <a:pt x="363" y="1"/>
                    <a:pt x="279" y="31"/>
                    <a:pt x="211" y="99"/>
                  </a:cubicBezTo>
                  <a:cubicBezTo>
                    <a:pt x="1" y="300"/>
                    <a:pt x="151" y="660"/>
                    <a:pt x="451" y="660"/>
                  </a:cubicBezTo>
                  <a:cubicBezTo>
                    <a:pt x="631" y="660"/>
                    <a:pt x="782" y="510"/>
                    <a:pt x="782" y="330"/>
                  </a:cubicBezTo>
                  <a:cubicBezTo>
                    <a:pt x="782" y="133"/>
                    <a:pt x="617" y="1"/>
                    <a:pt x="445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475" name="Google Shape;1474;p44"/>
            <p:cNvSpPr/>
            <p:nvPr/>
          </p:nvSpPr>
          <p:spPr>
            <a:xfrm>
              <a:off x="7097286" y="1889903"/>
              <a:ext cx="8870" cy="7486"/>
            </a:xfrm>
            <a:custGeom>
              <a:avLst/>
              <a:gdLst/>
              <a:ahLst/>
              <a:cxnLst/>
              <a:rect l="l" t="t" r="r" b="b"/>
              <a:pathLst>
                <a:path w="782" h="660" extrusionOk="0">
                  <a:moveTo>
                    <a:pt x="445" y="0"/>
                  </a:moveTo>
                  <a:cubicBezTo>
                    <a:pt x="363" y="0"/>
                    <a:pt x="279" y="31"/>
                    <a:pt x="211" y="99"/>
                  </a:cubicBezTo>
                  <a:cubicBezTo>
                    <a:pt x="1" y="299"/>
                    <a:pt x="151" y="660"/>
                    <a:pt x="451" y="660"/>
                  </a:cubicBezTo>
                  <a:cubicBezTo>
                    <a:pt x="632" y="660"/>
                    <a:pt x="782" y="509"/>
                    <a:pt x="782" y="329"/>
                  </a:cubicBezTo>
                  <a:cubicBezTo>
                    <a:pt x="782" y="133"/>
                    <a:pt x="617" y="0"/>
                    <a:pt x="445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476" name="Google Shape;1475;p44"/>
            <p:cNvSpPr/>
            <p:nvPr/>
          </p:nvSpPr>
          <p:spPr>
            <a:xfrm>
              <a:off x="7090356" y="1894043"/>
              <a:ext cx="8756" cy="7554"/>
            </a:xfrm>
            <a:custGeom>
              <a:avLst/>
              <a:gdLst/>
              <a:ahLst/>
              <a:cxnLst/>
              <a:rect l="l" t="t" r="r" b="b"/>
              <a:pathLst>
                <a:path w="772" h="666" extrusionOk="0">
                  <a:moveTo>
                    <a:pt x="441" y="1"/>
                  </a:moveTo>
                  <a:cubicBezTo>
                    <a:pt x="361" y="1"/>
                    <a:pt x="279" y="30"/>
                    <a:pt x="211" y="94"/>
                  </a:cubicBezTo>
                  <a:cubicBezTo>
                    <a:pt x="1" y="305"/>
                    <a:pt x="151" y="665"/>
                    <a:pt x="442" y="665"/>
                  </a:cubicBezTo>
                  <a:cubicBezTo>
                    <a:pt x="622" y="655"/>
                    <a:pt x="772" y="515"/>
                    <a:pt x="772" y="335"/>
                  </a:cubicBezTo>
                  <a:cubicBezTo>
                    <a:pt x="772" y="131"/>
                    <a:pt x="611" y="1"/>
                    <a:pt x="441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477" name="Google Shape;1476;p44"/>
            <p:cNvSpPr/>
            <p:nvPr/>
          </p:nvSpPr>
          <p:spPr>
            <a:xfrm>
              <a:off x="7083551" y="1898081"/>
              <a:ext cx="8643" cy="7384"/>
            </a:xfrm>
            <a:custGeom>
              <a:avLst/>
              <a:gdLst/>
              <a:ahLst/>
              <a:cxnLst/>
              <a:rect l="l" t="t" r="r" b="b"/>
              <a:pathLst>
                <a:path w="762" h="651" extrusionOk="0">
                  <a:moveTo>
                    <a:pt x="435" y="0"/>
                  </a:moveTo>
                  <a:cubicBezTo>
                    <a:pt x="356" y="0"/>
                    <a:pt x="275" y="31"/>
                    <a:pt x="210" y="99"/>
                  </a:cubicBezTo>
                  <a:cubicBezTo>
                    <a:pt x="0" y="299"/>
                    <a:pt x="140" y="650"/>
                    <a:pt x="441" y="650"/>
                  </a:cubicBezTo>
                  <a:cubicBezTo>
                    <a:pt x="446" y="650"/>
                    <a:pt x="452" y="650"/>
                    <a:pt x="458" y="650"/>
                  </a:cubicBezTo>
                  <a:cubicBezTo>
                    <a:pt x="630" y="650"/>
                    <a:pt x="761" y="504"/>
                    <a:pt x="761" y="329"/>
                  </a:cubicBezTo>
                  <a:cubicBezTo>
                    <a:pt x="761" y="133"/>
                    <a:pt x="601" y="0"/>
                    <a:pt x="435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478" name="Google Shape;1477;p44"/>
            <p:cNvSpPr/>
            <p:nvPr/>
          </p:nvSpPr>
          <p:spPr>
            <a:xfrm>
              <a:off x="7077755" y="1902153"/>
              <a:ext cx="7395" cy="7395"/>
            </a:xfrm>
            <a:custGeom>
              <a:avLst/>
              <a:gdLst/>
              <a:ahLst/>
              <a:cxnLst/>
              <a:rect l="l" t="t" r="r" b="b"/>
              <a:pathLst>
                <a:path w="652" h="652" extrusionOk="0">
                  <a:moveTo>
                    <a:pt x="331" y="0"/>
                  </a:moveTo>
                  <a:cubicBezTo>
                    <a:pt x="151" y="0"/>
                    <a:pt x="0" y="150"/>
                    <a:pt x="0" y="331"/>
                  </a:cubicBezTo>
                  <a:cubicBezTo>
                    <a:pt x="0" y="511"/>
                    <a:pt x="151" y="651"/>
                    <a:pt x="331" y="651"/>
                  </a:cubicBezTo>
                  <a:cubicBezTo>
                    <a:pt x="501" y="651"/>
                    <a:pt x="651" y="511"/>
                    <a:pt x="651" y="331"/>
                  </a:cubicBezTo>
                  <a:cubicBezTo>
                    <a:pt x="651" y="150"/>
                    <a:pt x="501" y="0"/>
                    <a:pt x="331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479" name="Google Shape;1478;p44"/>
            <p:cNvSpPr/>
            <p:nvPr/>
          </p:nvSpPr>
          <p:spPr>
            <a:xfrm>
              <a:off x="7069577" y="1906191"/>
              <a:ext cx="8643" cy="7441"/>
            </a:xfrm>
            <a:custGeom>
              <a:avLst/>
              <a:gdLst/>
              <a:ahLst/>
              <a:cxnLst/>
              <a:rect l="l" t="t" r="r" b="b"/>
              <a:pathLst>
                <a:path w="762" h="656" extrusionOk="0">
                  <a:moveTo>
                    <a:pt x="432" y="1"/>
                  </a:moveTo>
                  <a:cubicBezTo>
                    <a:pt x="351" y="1"/>
                    <a:pt x="269" y="30"/>
                    <a:pt x="201" y="95"/>
                  </a:cubicBezTo>
                  <a:cubicBezTo>
                    <a:pt x="0" y="305"/>
                    <a:pt x="141" y="656"/>
                    <a:pt x="431" y="656"/>
                  </a:cubicBezTo>
                  <a:cubicBezTo>
                    <a:pt x="611" y="656"/>
                    <a:pt x="761" y="505"/>
                    <a:pt x="761" y="325"/>
                  </a:cubicBezTo>
                  <a:cubicBezTo>
                    <a:pt x="761" y="129"/>
                    <a:pt x="601" y="1"/>
                    <a:pt x="432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480" name="Google Shape;1479;p44"/>
            <p:cNvSpPr/>
            <p:nvPr/>
          </p:nvSpPr>
          <p:spPr>
            <a:xfrm>
              <a:off x="7062533" y="1910285"/>
              <a:ext cx="8643" cy="7327"/>
            </a:xfrm>
            <a:custGeom>
              <a:avLst/>
              <a:gdLst/>
              <a:ahLst/>
              <a:cxnLst/>
              <a:rect l="l" t="t" r="r" b="b"/>
              <a:pathLst>
                <a:path w="762" h="646" extrusionOk="0">
                  <a:moveTo>
                    <a:pt x="435" y="0"/>
                  </a:moveTo>
                  <a:cubicBezTo>
                    <a:pt x="356" y="0"/>
                    <a:pt x="276" y="30"/>
                    <a:pt x="211" y="94"/>
                  </a:cubicBezTo>
                  <a:cubicBezTo>
                    <a:pt x="0" y="295"/>
                    <a:pt x="151" y="645"/>
                    <a:pt x="441" y="645"/>
                  </a:cubicBezTo>
                  <a:cubicBezTo>
                    <a:pt x="611" y="645"/>
                    <a:pt x="762" y="505"/>
                    <a:pt x="762" y="325"/>
                  </a:cubicBezTo>
                  <a:cubicBezTo>
                    <a:pt x="762" y="128"/>
                    <a:pt x="601" y="0"/>
                    <a:pt x="435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481" name="Google Shape;1480;p44"/>
            <p:cNvSpPr/>
            <p:nvPr/>
          </p:nvSpPr>
          <p:spPr>
            <a:xfrm>
              <a:off x="7055603" y="1914368"/>
              <a:ext cx="8530" cy="7327"/>
            </a:xfrm>
            <a:custGeom>
              <a:avLst/>
              <a:gdLst/>
              <a:ahLst/>
              <a:cxnLst/>
              <a:rect l="l" t="t" r="r" b="b"/>
              <a:pathLst>
                <a:path w="752" h="646" extrusionOk="0">
                  <a:moveTo>
                    <a:pt x="431" y="1"/>
                  </a:moveTo>
                  <a:cubicBezTo>
                    <a:pt x="351" y="1"/>
                    <a:pt x="269" y="30"/>
                    <a:pt x="201" y="95"/>
                  </a:cubicBezTo>
                  <a:cubicBezTo>
                    <a:pt x="1" y="295"/>
                    <a:pt x="151" y="646"/>
                    <a:pt x="431" y="646"/>
                  </a:cubicBezTo>
                  <a:cubicBezTo>
                    <a:pt x="611" y="646"/>
                    <a:pt x="752" y="495"/>
                    <a:pt x="752" y="315"/>
                  </a:cubicBezTo>
                  <a:cubicBezTo>
                    <a:pt x="752" y="126"/>
                    <a:pt x="597" y="1"/>
                    <a:pt x="431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482" name="Google Shape;1481;p44"/>
            <p:cNvSpPr/>
            <p:nvPr/>
          </p:nvSpPr>
          <p:spPr>
            <a:xfrm>
              <a:off x="7048672" y="1918372"/>
              <a:ext cx="8530" cy="7305"/>
            </a:xfrm>
            <a:custGeom>
              <a:avLst/>
              <a:gdLst/>
              <a:ahLst/>
              <a:cxnLst/>
              <a:rect l="l" t="t" r="r" b="b"/>
              <a:pathLst>
                <a:path w="752" h="644" extrusionOk="0">
                  <a:moveTo>
                    <a:pt x="421" y="0"/>
                  </a:moveTo>
                  <a:cubicBezTo>
                    <a:pt x="343" y="0"/>
                    <a:pt x="265" y="29"/>
                    <a:pt x="201" y="92"/>
                  </a:cubicBezTo>
                  <a:cubicBezTo>
                    <a:pt x="1" y="293"/>
                    <a:pt x="141" y="643"/>
                    <a:pt x="421" y="643"/>
                  </a:cubicBezTo>
                  <a:cubicBezTo>
                    <a:pt x="602" y="643"/>
                    <a:pt x="752" y="503"/>
                    <a:pt x="742" y="323"/>
                  </a:cubicBezTo>
                  <a:cubicBezTo>
                    <a:pt x="749" y="131"/>
                    <a:pt x="587" y="0"/>
                    <a:pt x="421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483" name="Google Shape;1482;p44"/>
            <p:cNvSpPr/>
            <p:nvPr/>
          </p:nvSpPr>
          <p:spPr>
            <a:xfrm>
              <a:off x="7041629" y="1922433"/>
              <a:ext cx="8530" cy="7214"/>
            </a:xfrm>
            <a:custGeom>
              <a:avLst/>
              <a:gdLst/>
              <a:ahLst/>
              <a:cxnLst/>
              <a:rect l="l" t="t" r="r" b="b"/>
              <a:pathLst>
                <a:path w="752" h="636" extrusionOk="0">
                  <a:moveTo>
                    <a:pt x="427" y="1"/>
                  </a:moveTo>
                  <a:cubicBezTo>
                    <a:pt x="347" y="1"/>
                    <a:pt x="266" y="30"/>
                    <a:pt x="201" y="95"/>
                  </a:cubicBezTo>
                  <a:cubicBezTo>
                    <a:pt x="1" y="295"/>
                    <a:pt x="151" y="636"/>
                    <a:pt x="431" y="636"/>
                  </a:cubicBezTo>
                  <a:cubicBezTo>
                    <a:pt x="612" y="636"/>
                    <a:pt x="752" y="495"/>
                    <a:pt x="752" y="315"/>
                  </a:cubicBezTo>
                  <a:cubicBezTo>
                    <a:pt x="752" y="126"/>
                    <a:pt x="592" y="1"/>
                    <a:pt x="427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484" name="Google Shape;1483;p44"/>
            <p:cNvSpPr/>
            <p:nvPr/>
          </p:nvSpPr>
          <p:spPr>
            <a:xfrm>
              <a:off x="7034710" y="1926414"/>
              <a:ext cx="8416" cy="7214"/>
            </a:xfrm>
            <a:custGeom>
              <a:avLst/>
              <a:gdLst/>
              <a:ahLst/>
              <a:cxnLst/>
              <a:rect l="l" t="t" r="r" b="b"/>
              <a:pathLst>
                <a:path w="742" h="636" extrusionOk="0">
                  <a:moveTo>
                    <a:pt x="422" y="0"/>
                  </a:moveTo>
                  <a:cubicBezTo>
                    <a:pt x="344" y="0"/>
                    <a:pt x="265" y="30"/>
                    <a:pt x="200" y="94"/>
                  </a:cubicBezTo>
                  <a:cubicBezTo>
                    <a:pt x="0" y="295"/>
                    <a:pt x="140" y="635"/>
                    <a:pt x="421" y="635"/>
                  </a:cubicBezTo>
                  <a:cubicBezTo>
                    <a:pt x="601" y="635"/>
                    <a:pt x="741" y="495"/>
                    <a:pt x="741" y="325"/>
                  </a:cubicBezTo>
                  <a:cubicBezTo>
                    <a:pt x="741" y="128"/>
                    <a:pt x="585" y="0"/>
                    <a:pt x="422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485" name="Google Shape;1484;p44"/>
            <p:cNvSpPr/>
            <p:nvPr/>
          </p:nvSpPr>
          <p:spPr>
            <a:xfrm>
              <a:off x="7027666" y="1930498"/>
              <a:ext cx="8416" cy="7214"/>
            </a:xfrm>
            <a:custGeom>
              <a:avLst/>
              <a:gdLst/>
              <a:ahLst/>
              <a:cxnLst/>
              <a:rect l="l" t="t" r="r" b="b"/>
              <a:pathLst>
                <a:path w="742" h="636" extrusionOk="0">
                  <a:moveTo>
                    <a:pt x="424" y="1"/>
                  </a:moveTo>
                  <a:cubicBezTo>
                    <a:pt x="346" y="1"/>
                    <a:pt x="266" y="30"/>
                    <a:pt x="200" y="95"/>
                  </a:cubicBezTo>
                  <a:cubicBezTo>
                    <a:pt x="0" y="285"/>
                    <a:pt x="140" y="626"/>
                    <a:pt x="431" y="636"/>
                  </a:cubicBezTo>
                  <a:cubicBezTo>
                    <a:pt x="601" y="636"/>
                    <a:pt x="741" y="485"/>
                    <a:pt x="741" y="315"/>
                  </a:cubicBezTo>
                  <a:cubicBezTo>
                    <a:pt x="741" y="126"/>
                    <a:pt x="586" y="1"/>
                    <a:pt x="424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486" name="Google Shape;1485;p44"/>
            <p:cNvSpPr/>
            <p:nvPr/>
          </p:nvSpPr>
          <p:spPr>
            <a:xfrm>
              <a:off x="7020736" y="1934479"/>
              <a:ext cx="8303" cy="7214"/>
            </a:xfrm>
            <a:custGeom>
              <a:avLst/>
              <a:gdLst/>
              <a:ahLst/>
              <a:cxnLst/>
              <a:rect l="l" t="t" r="r" b="b"/>
              <a:pathLst>
                <a:path w="732" h="636" extrusionOk="0">
                  <a:moveTo>
                    <a:pt x="417" y="0"/>
                  </a:moveTo>
                  <a:cubicBezTo>
                    <a:pt x="340" y="0"/>
                    <a:pt x="262" y="29"/>
                    <a:pt x="201" y="94"/>
                  </a:cubicBezTo>
                  <a:cubicBezTo>
                    <a:pt x="0" y="295"/>
                    <a:pt x="141" y="635"/>
                    <a:pt x="421" y="635"/>
                  </a:cubicBezTo>
                  <a:cubicBezTo>
                    <a:pt x="591" y="635"/>
                    <a:pt x="731" y="485"/>
                    <a:pt x="731" y="315"/>
                  </a:cubicBezTo>
                  <a:cubicBezTo>
                    <a:pt x="731" y="125"/>
                    <a:pt x="576" y="0"/>
                    <a:pt x="41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487" name="Google Shape;1486;p44"/>
            <p:cNvSpPr/>
            <p:nvPr/>
          </p:nvSpPr>
          <p:spPr>
            <a:xfrm>
              <a:off x="7013692" y="1938449"/>
              <a:ext cx="8303" cy="7100"/>
            </a:xfrm>
            <a:custGeom>
              <a:avLst/>
              <a:gdLst/>
              <a:ahLst/>
              <a:cxnLst/>
              <a:rect l="l" t="t" r="r" b="b"/>
              <a:pathLst>
                <a:path w="732" h="626" extrusionOk="0">
                  <a:moveTo>
                    <a:pt x="422" y="0"/>
                  </a:moveTo>
                  <a:cubicBezTo>
                    <a:pt x="345" y="0"/>
                    <a:pt x="266" y="30"/>
                    <a:pt x="201" y="95"/>
                  </a:cubicBezTo>
                  <a:cubicBezTo>
                    <a:pt x="0" y="285"/>
                    <a:pt x="141" y="625"/>
                    <a:pt x="421" y="625"/>
                  </a:cubicBezTo>
                  <a:cubicBezTo>
                    <a:pt x="591" y="625"/>
                    <a:pt x="731" y="485"/>
                    <a:pt x="731" y="315"/>
                  </a:cubicBezTo>
                  <a:cubicBezTo>
                    <a:pt x="731" y="126"/>
                    <a:pt x="581" y="0"/>
                    <a:pt x="422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488" name="Google Shape;1487;p44"/>
            <p:cNvSpPr/>
            <p:nvPr/>
          </p:nvSpPr>
          <p:spPr>
            <a:xfrm>
              <a:off x="7006762" y="1942475"/>
              <a:ext cx="8189" cy="7044"/>
            </a:xfrm>
            <a:custGeom>
              <a:avLst/>
              <a:gdLst/>
              <a:ahLst/>
              <a:cxnLst/>
              <a:rect l="l" t="t" r="r" b="b"/>
              <a:pathLst>
                <a:path w="722" h="621" extrusionOk="0">
                  <a:moveTo>
                    <a:pt x="411" y="0"/>
                  </a:moveTo>
                  <a:cubicBezTo>
                    <a:pt x="335" y="0"/>
                    <a:pt x="256" y="28"/>
                    <a:pt x="191" y="90"/>
                  </a:cubicBezTo>
                  <a:cubicBezTo>
                    <a:pt x="1" y="291"/>
                    <a:pt x="141" y="621"/>
                    <a:pt x="411" y="621"/>
                  </a:cubicBezTo>
                  <a:cubicBezTo>
                    <a:pt x="581" y="621"/>
                    <a:pt x="722" y="481"/>
                    <a:pt x="722" y="311"/>
                  </a:cubicBezTo>
                  <a:cubicBezTo>
                    <a:pt x="722" y="121"/>
                    <a:pt x="571" y="0"/>
                    <a:pt x="411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489" name="Google Shape;1488;p44"/>
            <p:cNvSpPr/>
            <p:nvPr/>
          </p:nvSpPr>
          <p:spPr>
            <a:xfrm>
              <a:off x="6999718" y="1946400"/>
              <a:ext cx="8189" cy="7100"/>
            </a:xfrm>
            <a:custGeom>
              <a:avLst/>
              <a:gdLst/>
              <a:ahLst/>
              <a:cxnLst/>
              <a:rect l="l" t="t" r="r" b="b"/>
              <a:pathLst>
                <a:path w="722" h="626" extrusionOk="0">
                  <a:moveTo>
                    <a:pt x="412" y="0"/>
                  </a:moveTo>
                  <a:cubicBezTo>
                    <a:pt x="335" y="0"/>
                    <a:pt x="256" y="30"/>
                    <a:pt x="191" y="95"/>
                  </a:cubicBezTo>
                  <a:cubicBezTo>
                    <a:pt x="1" y="295"/>
                    <a:pt x="141" y="625"/>
                    <a:pt x="411" y="625"/>
                  </a:cubicBezTo>
                  <a:cubicBezTo>
                    <a:pt x="592" y="625"/>
                    <a:pt x="722" y="485"/>
                    <a:pt x="722" y="315"/>
                  </a:cubicBezTo>
                  <a:cubicBezTo>
                    <a:pt x="722" y="126"/>
                    <a:pt x="571" y="0"/>
                    <a:pt x="412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490" name="Google Shape;1489;p44"/>
            <p:cNvSpPr/>
            <p:nvPr/>
          </p:nvSpPr>
          <p:spPr>
            <a:xfrm>
              <a:off x="6992674" y="1950370"/>
              <a:ext cx="8189" cy="7100"/>
            </a:xfrm>
            <a:custGeom>
              <a:avLst/>
              <a:gdLst/>
              <a:ahLst/>
              <a:cxnLst/>
              <a:rect l="l" t="t" r="r" b="b"/>
              <a:pathLst>
                <a:path w="722" h="626" extrusionOk="0">
                  <a:moveTo>
                    <a:pt x="412" y="1"/>
                  </a:moveTo>
                  <a:cubicBezTo>
                    <a:pt x="335" y="1"/>
                    <a:pt x="256" y="30"/>
                    <a:pt x="191" y="95"/>
                  </a:cubicBezTo>
                  <a:cubicBezTo>
                    <a:pt x="1" y="295"/>
                    <a:pt x="141" y="626"/>
                    <a:pt x="411" y="626"/>
                  </a:cubicBezTo>
                  <a:cubicBezTo>
                    <a:pt x="592" y="626"/>
                    <a:pt x="722" y="486"/>
                    <a:pt x="722" y="316"/>
                  </a:cubicBezTo>
                  <a:cubicBezTo>
                    <a:pt x="722" y="126"/>
                    <a:pt x="571" y="1"/>
                    <a:pt x="412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491" name="Google Shape;1490;p44"/>
            <p:cNvSpPr/>
            <p:nvPr/>
          </p:nvSpPr>
          <p:spPr>
            <a:xfrm>
              <a:off x="6985744" y="1954396"/>
              <a:ext cx="8076" cy="7055"/>
            </a:xfrm>
            <a:custGeom>
              <a:avLst/>
              <a:gdLst/>
              <a:ahLst/>
              <a:cxnLst/>
              <a:rect l="l" t="t" r="r" b="b"/>
              <a:pathLst>
                <a:path w="712" h="622" extrusionOk="0">
                  <a:moveTo>
                    <a:pt x="405" y="1"/>
                  </a:moveTo>
                  <a:cubicBezTo>
                    <a:pt x="330" y="1"/>
                    <a:pt x="253" y="29"/>
                    <a:pt x="191" y="91"/>
                  </a:cubicBezTo>
                  <a:cubicBezTo>
                    <a:pt x="1" y="281"/>
                    <a:pt x="131" y="621"/>
                    <a:pt x="412" y="621"/>
                  </a:cubicBezTo>
                  <a:cubicBezTo>
                    <a:pt x="582" y="611"/>
                    <a:pt x="712" y="481"/>
                    <a:pt x="712" y="311"/>
                  </a:cubicBezTo>
                  <a:cubicBezTo>
                    <a:pt x="712" y="122"/>
                    <a:pt x="561" y="1"/>
                    <a:pt x="405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492" name="Google Shape;1491;p44"/>
            <p:cNvSpPr/>
            <p:nvPr/>
          </p:nvSpPr>
          <p:spPr>
            <a:xfrm>
              <a:off x="6978598" y="1958321"/>
              <a:ext cx="8189" cy="6987"/>
            </a:xfrm>
            <a:custGeom>
              <a:avLst/>
              <a:gdLst/>
              <a:ahLst/>
              <a:cxnLst/>
              <a:rect l="l" t="t" r="r" b="b"/>
              <a:pathLst>
                <a:path w="722" h="616" extrusionOk="0">
                  <a:moveTo>
                    <a:pt x="416" y="1"/>
                  </a:moveTo>
                  <a:cubicBezTo>
                    <a:pt x="340" y="1"/>
                    <a:pt x="263" y="30"/>
                    <a:pt x="200" y="95"/>
                  </a:cubicBezTo>
                  <a:cubicBezTo>
                    <a:pt x="0" y="285"/>
                    <a:pt x="140" y="616"/>
                    <a:pt x="421" y="616"/>
                  </a:cubicBezTo>
                  <a:cubicBezTo>
                    <a:pt x="591" y="616"/>
                    <a:pt x="721" y="476"/>
                    <a:pt x="721" y="305"/>
                  </a:cubicBezTo>
                  <a:cubicBezTo>
                    <a:pt x="721" y="124"/>
                    <a:pt x="572" y="1"/>
                    <a:pt x="416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493" name="Google Shape;1492;p44"/>
            <p:cNvSpPr/>
            <p:nvPr/>
          </p:nvSpPr>
          <p:spPr>
            <a:xfrm>
              <a:off x="6971668" y="1962257"/>
              <a:ext cx="8189" cy="6919"/>
            </a:xfrm>
            <a:custGeom>
              <a:avLst/>
              <a:gdLst/>
              <a:ahLst/>
              <a:cxnLst/>
              <a:rect l="l" t="t" r="r" b="b"/>
              <a:pathLst>
                <a:path w="722" h="610" extrusionOk="0">
                  <a:moveTo>
                    <a:pt x="407" y="1"/>
                  </a:moveTo>
                  <a:cubicBezTo>
                    <a:pt x="331" y="1"/>
                    <a:pt x="254" y="28"/>
                    <a:pt x="191" y="89"/>
                  </a:cubicBezTo>
                  <a:cubicBezTo>
                    <a:pt x="0" y="289"/>
                    <a:pt x="140" y="609"/>
                    <a:pt x="411" y="609"/>
                  </a:cubicBezTo>
                  <a:cubicBezTo>
                    <a:pt x="417" y="610"/>
                    <a:pt x="422" y="610"/>
                    <a:pt x="428" y="610"/>
                  </a:cubicBezTo>
                  <a:cubicBezTo>
                    <a:pt x="590" y="610"/>
                    <a:pt x="721" y="473"/>
                    <a:pt x="721" y="309"/>
                  </a:cubicBezTo>
                  <a:cubicBezTo>
                    <a:pt x="721" y="125"/>
                    <a:pt x="568" y="1"/>
                    <a:pt x="407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494" name="Google Shape;1493;p44"/>
            <p:cNvSpPr/>
            <p:nvPr/>
          </p:nvSpPr>
          <p:spPr>
            <a:xfrm>
              <a:off x="6964624" y="1966238"/>
              <a:ext cx="8076" cy="6908"/>
            </a:xfrm>
            <a:custGeom>
              <a:avLst/>
              <a:gdLst/>
              <a:ahLst/>
              <a:cxnLst/>
              <a:rect l="l" t="t" r="r" b="b"/>
              <a:pathLst>
                <a:path w="712" h="609" extrusionOk="0">
                  <a:moveTo>
                    <a:pt x="400" y="0"/>
                  </a:moveTo>
                  <a:cubicBezTo>
                    <a:pt x="326" y="0"/>
                    <a:pt x="251" y="28"/>
                    <a:pt x="191" y="88"/>
                  </a:cubicBezTo>
                  <a:cubicBezTo>
                    <a:pt x="0" y="278"/>
                    <a:pt x="131" y="609"/>
                    <a:pt x="411" y="609"/>
                  </a:cubicBezTo>
                  <a:cubicBezTo>
                    <a:pt x="571" y="609"/>
                    <a:pt x="711" y="469"/>
                    <a:pt x="711" y="308"/>
                  </a:cubicBezTo>
                  <a:cubicBezTo>
                    <a:pt x="711" y="124"/>
                    <a:pt x="558" y="0"/>
                    <a:pt x="40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495" name="Google Shape;1494;p44"/>
            <p:cNvSpPr/>
            <p:nvPr/>
          </p:nvSpPr>
          <p:spPr>
            <a:xfrm>
              <a:off x="6957581" y="1970185"/>
              <a:ext cx="7962" cy="6828"/>
            </a:xfrm>
            <a:custGeom>
              <a:avLst/>
              <a:gdLst/>
              <a:ahLst/>
              <a:cxnLst/>
              <a:rect l="l" t="t" r="r" b="b"/>
              <a:pathLst>
                <a:path w="702" h="602" extrusionOk="0">
                  <a:moveTo>
                    <a:pt x="403" y="0"/>
                  </a:moveTo>
                  <a:cubicBezTo>
                    <a:pt x="329" y="0"/>
                    <a:pt x="253" y="28"/>
                    <a:pt x="191" y="91"/>
                  </a:cubicBezTo>
                  <a:cubicBezTo>
                    <a:pt x="1" y="281"/>
                    <a:pt x="131" y="601"/>
                    <a:pt x="401" y="601"/>
                  </a:cubicBezTo>
                  <a:cubicBezTo>
                    <a:pt x="571" y="601"/>
                    <a:pt x="701" y="471"/>
                    <a:pt x="701" y="301"/>
                  </a:cubicBezTo>
                  <a:cubicBezTo>
                    <a:pt x="701" y="119"/>
                    <a:pt x="556" y="0"/>
                    <a:pt x="403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496" name="Google Shape;1495;p44"/>
            <p:cNvSpPr/>
            <p:nvPr/>
          </p:nvSpPr>
          <p:spPr>
            <a:xfrm>
              <a:off x="6950537" y="1974075"/>
              <a:ext cx="7962" cy="6908"/>
            </a:xfrm>
            <a:custGeom>
              <a:avLst/>
              <a:gdLst/>
              <a:ahLst/>
              <a:cxnLst/>
              <a:rect l="l" t="t" r="r" b="b"/>
              <a:pathLst>
                <a:path w="702" h="609" extrusionOk="0">
                  <a:moveTo>
                    <a:pt x="398" y="0"/>
                  </a:moveTo>
                  <a:cubicBezTo>
                    <a:pt x="325" y="0"/>
                    <a:pt x="252" y="27"/>
                    <a:pt x="191" y="88"/>
                  </a:cubicBezTo>
                  <a:cubicBezTo>
                    <a:pt x="1" y="278"/>
                    <a:pt x="131" y="609"/>
                    <a:pt x="401" y="609"/>
                  </a:cubicBezTo>
                  <a:cubicBezTo>
                    <a:pt x="571" y="609"/>
                    <a:pt x="702" y="469"/>
                    <a:pt x="702" y="308"/>
                  </a:cubicBezTo>
                  <a:cubicBezTo>
                    <a:pt x="702" y="124"/>
                    <a:pt x="553" y="0"/>
                    <a:pt x="398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497" name="Google Shape;1496;p44"/>
            <p:cNvSpPr/>
            <p:nvPr/>
          </p:nvSpPr>
          <p:spPr>
            <a:xfrm>
              <a:off x="6943493" y="1978023"/>
              <a:ext cx="7962" cy="6828"/>
            </a:xfrm>
            <a:custGeom>
              <a:avLst/>
              <a:gdLst/>
              <a:ahLst/>
              <a:cxnLst/>
              <a:rect l="l" t="t" r="r" b="b"/>
              <a:pathLst>
                <a:path w="702" h="602" extrusionOk="0">
                  <a:moveTo>
                    <a:pt x="404" y="0"/>
                  </a:moveTo>
                  <a:cubicBezTo>
                    <a:pt x="329" y="0"/>
                    <a:pt x="253" y="28"/>
                    <a:pt x="191" y="91"/>
                  </a:cubicBezTo>
                  <a:cubicBezTo>
                    <a:pt x="1" y="271"/>
                    <a:pt x="131" y="601"/>
                    <a:pt x="401" y="601"/>
                  </a:cubicBezTo>
                  <a:cubicBezTo>
                    <a:pt x="572" y="601"/>
                    <a:pt x="702" y="471"/>
                    <a:pt x="702" y="301"/>
                  </a:cubicBezTo>
                  <a:cubicBezTo>
                    <a:pt x="702" y="119"/>
                    <a:pt x="557" y="0"/>
                    <a:pt x="404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498" name="Google Shape;1497;p44"/>
            <p:cNvSpPr/>
            <p:nvPr/>
          </p:nvSpPr>
          <p:spPr>
            <a:xfrm>
              <a:off x="6936450" y="1981913"/>
              <a:ext cx="7962" cy="6794"/>
            </a:xfrm>
            <a:custGeom>
              <a:avLst/>
              <a:gdLst/>
              <a:ahLst/>
              <a:cxnLst/>
              <a:rect l="l" t="t" r="r" b="b"/>
              <a:pathLst>
                <a:path w="702" h="599" extrusionOk="0">
                  <a:moveTo>
                    <a:pt x="399" y="0"/>
                  </a:moveTo>
                  <a:cubicBezTo>
                    <a:pt x="327" y="0"/>
                    <a:pt x="252" y="27"/>
                    <a:pt x="191" y="88"/>
                  </a:cubicBezTo>
                  <a:cubicBezTo>
                    <a:pt x="1" y="278"/>
                    <a:pt x="131" y="599"/>
                    <a:pt x="401" y="599"/>
                  </a:cubicBezTo>
                  <a:cubicBezTo>
                    <a:pt x="562" y="599"/>
                    <a:pt x="702" y="469"/>
                    <a:pt x="702" y="298"/>
                  </a:cubicBezTo>
                  <a:cubicBezTo>
                    <a:pt x="702" y="121"/>
                    <a:pt x="554" y="0"/>
                    <a:pt x="399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499" name="Google Shape;1498;p44"/>
            <p:cNvSpPr/>
            <p:nvPr/>
          </p:nvSpPr>
          <p:spPr>
            <a:xfrm>
              <a:off x="6929417" y="1985815"/>
              <a:ext cx="7838" cy="6760"/>
            </a:xfrm>
            <a:custGeom>
              <a:avLst/>
              <a:gdLst/>
              <a:ahLst/>
              <a:cxnLst/>
              <a:rect l="l" t="t" r="r" b="b"/>
              <a:pathLst>
                <a:path w="691" h="596" extrusionOk="0">
                  <a:moveTo>
                    <a:pt x="388" y="1"/>
                  </a:moveTo>
                  <a:cubicBezTo>
                    <a:pt x="315" y="1"/>
                    <a:pt x="241" y="27"/>
                    <a:pt x="180" y="85"/>
                  </a:cubicBezTo>
                  <a:cubicBezTo>
                    <a:pt x="0" y="275"/>
                    <a:pt x="130" y="595"/>
                    <a:pt x="391" y="595"/>
                  </a:cubicBezTo>
                  <a:cubicBezTo>
                    <a:pt x="561" y="595"/>
                    <a:pt x="691" y="465"/>
                    <a:pt x="691" y="295"/>
                  </a:cubicBezTo>
                  <a:cubicBezTo>
                    <a:pt x="691" y="118"/>
                    <a:pt x="543" y="1"/>
                    <a:pt x="388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500" name="Google Shape;1499;p44"/>
            <p:cNvSpPr/>
            <p:nvPr/>
          </p:nvSpPr>
          <p:spPr>
            <a:xfrm>
              <a:off x="6922260" y="1989717"/>
              <a:ext cx="7962" cy="6715"/>
            </a:xfrm>
            <a:custGeom>
              <a:avLst/>
              <a:gdLst/>
              <a:ahLst/>
              <a:cxnLst/>
              <a:rect l="l" t="t" r="r" b="b"/>
              <a:pathLst>
                <a:path w="702" h="592" extrusionOk="0">
                  <a:moveTo>
                    <a:pt x="403" y="1"/>
                  </a:moveTo>
                  <a:cubicBezTo>
                    <a:pt x="329" y="1"/>
                    <a:pt x="253" y="29"/>
                    <a:pt x="190" y="91"/>
                  </a:cubicBezTo>
                  <a:cubicBezTo>
                    <a:pt x="0" y="271"/>
                    <a:pt x="140" y="592"/>
                    <a:pt x="401" y="592"/>
                  </a:cubicBezTo>
                  <a:cubicBezTo>
                    <a:pt x="571" y="592"/>
                    <a:pt x="701" y="462"/>
                    <a:pt x="701" y="301"/>
                  </a:cubicBezTo>
                  <a:cubicBezTo>
                    <a:pt x="701" y="119"/>
                    <a:pt x="556" y="1"/>
                    <a:pt x="403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501" name="Google Shape;1500;p44"/>
            <p:cNvSpPr/>
            <p:nvPr/>
          </p:nvSpPr>
          <p:spPr>
            <a:xfrm>
              <a:off x="6915330" y="1993584"/>
              <a:ext cx="7736" cy="6715"/>
            </a:xfrm>
            <a:custGeom>
              <a:avLst/>
              <a:gdLst/>
              <a:ahLst/>
              <a:cxnLst/>
              <a:rect l="l" t="t" r="r" b="b"/>
              <a:pathLst>
                <a:path w="682" h="592" extrusionOk="0">
                  <a:moveTo>
                    <a:pt x="391" y="0"/>
                  </a:moveTo>
                  <a:cubicBezTo>
                    <a:pt x="318" y="0"/>
                    <a:pt x="243" y="28"/>
                    <a:pt x="181" y="91"/>
                  </a:cubicBezTo>
                  <a:cubicBezTo>
                    <a:pt x="0" y="271"/>
                    <a:pt x="130" y="591"/>
                    <a:pt x="391" y="591"/>
                  </a:cubicBezTo>
                  <a:cubicBezTo>
                    <a:pt x="551" y="591"/>
                    <a:pt x="681" y="461"/>
                    <a:pt x="681" y="301"/>
                  </a:cubicBezTo>
                  <a:cubicBezTo>
                    <a:pt x="681" y="119"/>
                    <a:pt x="541" y="0"/>
                    <a:pt x="391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502" name="Google Shape;1501;p44"/>
            <p:cNvSpPr/>
            <p:nvPr/>
          </p:nvSpPr>
          <p:spPr>
            <a:xfrm>
              <a:off x="6908173" y="1997520"/>
              <a:ext cx="7849" cy="6635"/>
            </a:xfrm>
            <a:custGeom>
              <a:avLst/>
              <a:gdLst/>
              <a:ahLst/>
              <a:cxnLst/>
              <a:rect l="l" t="t" r="r" b="b"/>
              <a:pathLst>
                <a:path w="692" h="585" extrusionOk="0">
                  <a:moveTo>
                    <a:pt x="392" y="0"/>
                  </a:moveTo>
                  <a:cubicBezTo>
                    <a:pt x="320" y="0"/>
                    <a:pt x="248" y="26"/>
                    <a:pt x="191" y="84"/>
                  </a:cubicBezTo>
                  <a:cubicBezTo>
                    <a:pt x="0" y="264"/>
                    <a:pt x="131" y="585"/>
                    <a:pt x="401" y="585"/>
                  </a:cubicBezTo>
                  <a:cubicBezTo>
                    <a:pt x="561" y="585"/>
                    <a:pt x="691" y="455"/>
                    <a:pt x="691" y="294"/>
                  </a:cubicBezTo>
                  <a:cubicBezTo>
                    <a:pt x="691" y="117"/>
                    <a:pt x="543" y="0"/>
                    <a:pt x="392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503" name="Google Shape;1502;p44"/>
            <p:cNvSpPr/>
            <p:nvPr/>
          </p:nvSpPr>
          <p:spPr>
            <a:xfrm>
              <a:off x="6901129" y="2001377"/>
              <a:ext cx="7736" cy="6647"/>
            </a:xfrm>
            <a:custGeom>
              <a:avLst/>
              <a:gdLst/>
              <a:ahLst/>
              <a:cxnLst/>
              <a:rect l="l" t="t" r="r" b="b"/>
              <a:pathLst>
                <a:path w="682" h="586" extrusionOk="0">
                  <a:moveTo>
                    <a:pt x="389" y="1"/>
                  </a:moveTo>
                  <a:cubicBezTo>
                    <a:pt x="320" y="1"/>
                    <a:pt x="249" y="27"/>
                    <a:pt x="191" y="84"/>
                  </a:cubicBezTo>
                  <a:cubicBezTo>
                    <a:pt x="1" y="275"/>
                    <a:pt x="131" y="585"/>
                    <a:pt x="391" y="585"/>
                  </a:cubicBezTo>
                  <a:cubicBezTo>
                    <a:pt x="551" y="585"/>
                    <a:pt x="681" y="455"/>
                    <a:pt x="681" y="295"/>
                  </a:cubicBezTo>
                  <a:cubicBezTo>
                    <a:pt x="681" y="118"/>
                    <a:pt x="538" y="1"/>
                    <a:pt x="389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504" name="Google Shape;1503;p44"/>
            <p:cNvSpPr/>
            <p:nvPr/>
          </p:nvSpPr>
          <p:spPr>
            <a:xfrm>
              <a:off x="6894085" y="2005245"/>
              <a:ext cx="7736" cy="6522"/>
            </a:xfrm>
            <a:custGeom>
              <a:avLst/>
              <a:gdLst/>
              <a:ahLst/>
              <a:cxnLst/>
              <a:rect l="l" t="t" r="r" b="b"/>
              <a:pathLst>
                <a:path w="682" h="575" extrusionOk="0">
                  <a:moveTo>
                    <a:pt x="383" y="0"/>
                  </a:moveTo>
                  <a:cubicBezTo>
                    <a:pt x="312" y="0"/>
                    <a:pt x="239" y="26"/>
                    <a:pt x="181" y="84"/>
                  </a:cubicBezTo>
                  <a:cubicBezTo>
                    <a:pt x="1" y="264"/>
                    <a:pt x="131" y="575"/>
                    <a:pt x="391" y="575"/>
                  </a:cubicBezTo>
                  <a:cubicBezTo>
                    <a:pt x="551" y="575"/>
                    <a:pt x="682" y="444"/>
                    <a:pt x="682" y="284"/>
                  </a:cubicBezTo>
                  <a:cubicBezTo>
                    <a:pt x="682" y="115"/>
                    <a:pt x="534" y="0"/>
                    <a:pt x="383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505" name="Google Shape;1504;p44"/>
            <p:cNvSpPr/>
            <p:nvPr/>
          </p:nvSpPr>
          <p:spPr>
            <a:xfrm>
              <a:off x="6887042" y="2009078"/>
              <a:ext cx="7622" cy="6556"/>
            </a:xfrm>
            <a:custGeom>
              <a:avLst/>
              <a:gdLst/>
              <a:ahLst/>
              <a:cxnLst/>
              <a:rect l="l" t="t" r="r" b="b"/>
              <a:pathLst>
                <a:path w="672" h="578" extrusionOk="0">
                  <a:moveTo>
                    <a:pt x="385" y="0"/>
                  </a:moveTo>
                  <a:cubicBezTo>
                    <a:pt x="314" y="0"/>
                    <a:pt x="240" y="27"/>
                    <a:pt x="181" y="86"/>
                  </a:cubicBezTo>
                  <a:cubicBezTo>
                    <a:pt x="1" y="267"/>
                    <a:pt x="121" y="577"/>
                    <a:pt x="381" y="577"/>
                  </a:cubicBezTo>
                  <a:cubicBezTo>
                    <a:pt x="542" y="577"/>
                    <a:pt x="672" y="447"/>
                    <a:pt x="672" y="287"/>
                  </a:cubicBezTo>
                  <a:cubicBezTo>
                    <a:pt x="672" y="112"/>
                    <a:pt x="532" y="0"/>
                    <a:pt x="385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506" name="Google Shape;1505;p44"/>
            <p:cNvSpPr/>
            <p:nvPr/>
          </p:nvSpPr>
          <p:spPr>
            <a:xfrm>
              <a:off x="6879885" y="2012889"/>
              <a:ext cx="7622" cy="6601"/>
            </a:xfrm>
            <a:custGeom>
              <a:avLst/>
              <a:gdLst/>
              <a:ahLst/>
              <a:cxnLst/>
              <a:rect l="l" t="t" r="r" b="b"/>
              <a:pathLst>
                <a:path w="672" h="582" extrusionOk="0">
                  <a:moveTo>
                    <a:pt x="386" y="0"/>
                  </a:moveTo>
                  <a:cubicBezTo>
                    <a:pt x="314" y="0"/>
                    <a:pt x="240" y="28"/>
                    <a:pt x="181" y="91"/>
                  </a:cubicBezTo>
                  <a:cubicBezTo>
                    <a:pt x="1" y="271"/>
                    <a:pt x="131" y="582"/>
                    <a:pt x="391" y="582"/>
                  </a:cubicBezTo>
                  <a:cubicBezTo>
                    <a:pt x="542" y="582"/>
                    <a:pt x="672" y="451"/>
                    <a:pt x="672" y="291"/>
                  </a:cubicBezTo>
                  <a:cubicBezTo>
                    <a:pt x="672" y="116"/>
                    <a:pt x="532" y="0"/>
                    <a:pt x="386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507" name="Google Shape;1506;p44"/>
            <p:cNvSpPr/>
            <p:nvPr/>
          </p:nvSpPr>
          <p:spPr>
            <a:xfrm>
              <a:off x="6872852" y="2016712"/>
              <a:ext cx="7611" cy="6533"/>
            </a:xfrm>
            <a:custGeom>
              <a:avLst/>
              <a:gdLst/>
              <a:ahLst/>
              <a:cxnLst/>
              <a:rect l="l" t="t" r="r" b="b"/>
              <a:pathLst>
                <a:path w="671" h="576" extrusionOk="0">
                  <a:moveTo>
                    <a:pt x="379" y="1"/>
                  </a:moveTo>
                  <a:cubicBezTo>
                    <a:pt x="309" y="1"/>
                    <a:pt x="238" y="27"/>
                    <a:pt x="180" y="84"/>
                  </a:cubicBezTo>
                  <a:cubicBezTo>
                    <a:pt x="0" y="265"/>
                    <a:pt x="120" y="575"/>
                    <a:pt x="381" y="575"/>
                  </a:cubicBezTo>
                  <a:cubicBezTo>
                    <a:pt x="541" y="575"/>
                    <a:pt x="671" y="445"/>
                    <a:pt x="671" y="295"/>
                  </a:cubicBezTo>
                  <a:cubicBezTo>
                    <a:pt x="671" y="118"/>
                    <a:pt x="527" y="1"/>
                    <a:pt x="379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508" name="Google Shape;1507;p44"/>
            <p:cNvSpPr/>
            <p:nvPr/>
          </p:nvSpPr>
          <p:spPr>
            <a:xfrm>
              <a:off x="6865695" y="2020568"/>
              <a:ext cx="7622" cy="6533"/>
            </a:xfrm>
            <a:custGeom>
              <a:avLst/>
              <a:gdLst/>
              <a:ahLst/>
              <a:cxnLst/>
              <a:rect l="l" t="t" r="r" b="b"/>
              <a:pathLst>
                <a:path w="672" h="576" extrusionOk="0">
                  <a:moveTo>
                    <a:pt x="380" y="1"/>
                  </a:moveTo>
                  <a:cubicBezTo>
                    <a:pt x="310" y="1"/>
                    <a:pt x="238" y="27"/>
                    <a:pt x="180" y="85"/>
                  </a:cubicBezTo>
                  <a:cubicBezTo>
                    <a:pt x="0" y="265"/>
                    <a:pt x="130" y="576"/>
                    <a:pt x="381" y="576"/>
                  </a:cubicBezTo>
                  <a:cubicBezTo>
                    <a:pt x="541" y="566"/>
                    <a:pt x="671" y="445"/>
                    <a:pt x="671" y="285"/>
                  </a:cubicBezTo>
                  <a:cubicBezTo>
                    <a:pt x="671" y="115"/>
                    <a:pt x="528" y="1"/>
                    <a:pt x="380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509" name="Google Shape;1508;p44"/>
            <p:cNvSpPr/>
            <p:nvPr/>
          </p:nvSpPr>
          <p:spPr>
            <a:xfrm>
              <a:off x="6858651" y="2024379"/>
              <a:ext cx="7509" cy="6465"/>
            </a:xfrm>
            <a:custGeom>
              <a:avLst/>
              <a:gdLst/>
              <a:ahLst/>
              <a:cxnLst/>
              <a:rect l="l" t="t" r="r" b="b"/>
              <a:pathLst>
                <a:path w="662" h="570" extrusionOk="0">
                  <a:moveTo>
                    <a:pt x="372" y="0"/>
                  </a:moveTo>
                  <a:cubicBezTo>
                    <a:pt x="304" y="0"/>
                    <a:pt x="235" y="25"/>
                    <a:pt x="181" y="79"/>
                  </a:cubicBezTo>
                  <a:cubicBezTo>
                    <a:pt x="0" y="260"/>
                    <a:pt x="120" y="570"/>
                    <a:pt x="381" y="570"/>
                  </a:cubicBezTo>
                  <a:cubicBezTo>
                    <a:pt x="531" y="570"/>
                    <a:pt x="661" y="440"/>
                    <a:pt x="661" y="290"/>
                  </a:cubicBezTo>
                  <a:cubicBezTo>
                    <a:pt x="661" y="112"/>
                    <a:pt x="517" y="0"/>
                    <a:pt x="372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510" name="Google Shape;1509;p44"/>
            <p:cNvSpPr/>
            <p:nvPr/>
          </p:nvSpPr>
          <p:spPr>
            <a:xfrm>
              <a:off x="6851494" y="2028179"/>
              <a:ext cx="7509" cy="6420"/>
            </a:xfrm>
            <a:custGeom>
              <a:avLst/>
              <a:gdLst/>
              <a:ahLst/>
              <a:cxnLst/>
              <a:rect l="l" t="t" r="r" b="b"/>
              <a:pathLst>
                <a:path w="662" h="566" extrusionOk="0">
                  <a:moveTo>
                    <a:pt x="378" y="1"/>
                  </a:moveTo>
                  <a:cubicBezTo>
                    <a:pt x="309" y="1"/>
                    <a:pt x="239" y="27"/>
                    <a:pt x="181" y="85"/>
                  </a:cubicBezTo>
                  <a:cubicBezTo>
                    <a:pt x="0" y="265"/>
                    <a:pt x="131" y="565"/>
                    <a:pt x="381" y="565"/>
                  </a:cubicBezTo>
                  <a:cubicBezTo>
                    <a:pt x="541" y="565"/>
                    <a:pt x="661" y="445"/>
                    <a:pt x="661" y="285"/>
                  </a:cubicBezTo>
                  <a:cubicBezTo>
                    <a:pt x="661" y="115"/>
                    <a:pt x="523" y="1"/>
                    <a:pt x="378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511" name="Google Shape;1510;p44"/>
            <p:cNvSpPr/>
            <p:nvPr/>
          </p:nvSpPr>
          <p:spPr>
            <a:xfrm>
              <a:off x="6844451" y="2032013"/>
              <a:ext cx="7395" cy="6329"/>
            </a:xfrm>
            <a:custGeom>
              <a:avLst/>
              <a:gdLst/>
              <a:ahLst/>
              <a:cxnLst/>
              <a:rect l="l" t="t" r="r" b="b"/>
              <a:pathLst>
                <a:path w="652" h="558" extrusionOk="0">
                  <a:moveTo>
                    <a:pt x="374" y="1"/>
                  </a:moveTo>
                  <a:cubicBezTo>
                    <a:pt x="303" y="1"/>
                    <a:pt x="230" y="28"/>
                    <a:pt x="171" y="87"/>
                  </a:cubicBezTo>
                  <a:cubicBezTo>
                    <a:pt x="1" y="257"/>
                    <a:pt x="121" y="558"/>
                    <a:pt x="371" y="558"/>
                  </a:cubicBezTo>
                  <a:cubicBezTo>
                    <a:pt x="531" y="558"/>
                    <a:pt x="651" y="438"/>
                    <a:pt x="651" y="278"/>
                  </a:cubicBezTo>
                  <a:cubicBezTo>
                    <a:pt x="651" y="110"/>
                    <a:pt x="517" y="1"/>
                    <a:pt x="374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512" name="Google Shape;1511;p44"/>
            <p:cNvSpPr/>
            <p:nvPr/>
          </p:nvSpPr>
          <p:spPr>
            <a:xfrm>
              <a:off x="6837294" y="2035733"/>
              <a:ext cx="7395" cy="6363"/>
            </a:xfrm>
            <a:custGeom>
              <a:avLst/>
              <a:gdLst/>
              <a:ahLst/>
              <a:cxnLst/>
              <a:rect l="l" t="t" r="r" b="b"/>
              <a:pathLst>
                <a:path w="652" h="561" extrusionOk="0">
                  <a:moveTo>
                    <a:pt x="371" y="0"/>
                  </a:moveTo>
                  <a:cubicBezTo>
                    <a:pt x="304" y="0"/>
                    <a:pt x="236" y="25"/>
                    <a:pt x="181" y="80"/>
                  </a:cubicBezTo>
                  <a:cubicBezTo>
                    <a:pt x="1" y="260"/>
                    <a:pt x="131" y="560"/>
                    <a:pt x="371" y="560"/>
                  </a:cubicBezTo>
                  <a:cubicBezTo>
                    <a:pt x="531" y="560"/>
                    <a:pt x="652" y="440"/>
                    <a:pt x="652" y="280"/>
                  </a:cubicBezTo>
                  <a:cubicBezTo>
                    <a:pt x="652" y="110"/>
                    <a:pt x="513" y="0"/>
                    <a:pt x="371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513" name="Google Shape;1512;p44"/>
            <p:cNvSpPr/>
            <p:nvPr/>
          </p:nvSpPr>
          <p:spPr>
            <a:xfrm>
              <a:off x="6830136" y="2039544"/>
              <a:ext cx="7395" cy="6409"/>
            </a:xfrm>
            <a:custGeom>
              <a:avLst/>
              <a:gdLst/>
              <a:ahLst/>
              <a:cxnLst/>
              <a:rect l="l" t="t" r="r" b="b"/>
              <a:pathLst>
                <a:path w="652" h="565" extrusionOk="0">
                  <a:moveTo>
                    <a:pt x="372" y="0"/>
                  </a:moveTo>
                  <a:cubicBezTo>
                    <a:pt x="304" y="0"/>
                    <a:pt x="236" y="26"/>
                    <a:pt x="181" y="84"/>
                  </a:cubicBezTo>
                  <a:cubicBezTo>
                    <a:pt x="1" y="264"/>
                    <a:pt x="131" y="565"/>
                    <a:pt x="381" y="565"/>
                  </a:cubicBezTo>
                  <a:cubicBezTo>
                    <a:pt x="532" y="565"/>
                    <a:pt x="652" y="435"/>
                    <a:pt x="652" y="284"/>
                  </a:cubicBezTo>
                  <a:cubicBezTo>
                    <a:pt x="652" y="115"/>
                    <a:pt x="514" y="0"/>
                    <a:pt x="372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514" name="Google Shape;1513;p44"/>
            <p:cNvSpPr/>
            <p:nvPr/>
          </p:nvSpPr>
          <p:spPr>
            <a:xfrm>
              <a:off x="6823093" y="2043344"/>
              <a:ext cx="7282" cy="6363"/>
            </a:xfrm>
            <a:custGeom>
              <a:avLst/>
              <a:gdLst/>
              <a:ahLst/>
              <a:cxnLst/>
              <a:rect l="l" t="t" r="r" b="b"/>
              <a:pathLst>
                <a:path w="642" h="561" extrusionOk="0">
                  <a:moveTo>
                    <a:pt x="361" y="0"/>
                  </a:moveTo>
                  <a:cubicBezTo>
                    <a:pt x="294" y="0"/>
                    <a:pt x="226" y="25"/>
                    <a:pt x="171" y="80"/>
                  </a:cubicBezTo>
                  <a:cubicBezTo>
                    <a:pt x="1" y="260"/>
                    <a:pt x="121" y="560"/>
                    <a:pt x="371" y="560"/>
                  </a:cubicBezTo>
                  <a:cubicBezTo>
                    <a:pt x="522" y="560"/>
                    <a:pt x="642" y="430"/>
                    <a:pt x="642" y="280"/>
                  </a:cubicBezTo>
                  <a:cubicBezTo>
                    <a:pt x="642" y="110"/>
                    <a:pt x="504" y="0"/>
                    <a:pt x="361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515" name="Google Shape;1514;p44"/>
            <p:cNvSpPr/>
            <p:nvPr/>
          </p:nvSpPr>
          <p:spPr>
            <a:xfrm>
              <a:off x="6815947" y="2047200"/>
              <a:ext cx="7384" cy="6250"/>
            </a:xfrm>
            <a:custGeom>
              <a:avLst/>
              <a:gdLst/>
              <a:ahLst/>
              <a:cxnLst/>
              <a:rect l="l" t="t" r="r" b="b"/>
              <a:pathLst>
                <a:path w="651" h="551" extrusionOk="0">
                  <a:moveTo>
                    <a:pt x="372" y="0"/>
                  </a:moveTo>
                  <a:cubicBezTo>
                    <a:pt x="304" y="0"/>
                    <a:pt x="235" y="25"/>
                    <a:pt x="180" y="80"/>
                  </a:cubicBezTo>
                  <a:cubicBezTo>
                    <a:pt x="0" y="250"/>
                    <a:pt x="120" y="551"/>
                    <a:pt x="371" y="551"/>
                  </a:cubicBezTo>
                  <a:cubicBezTo>
                    <a:pt x="521" y="551"/>
                    <a:pt x="641" y="431"/>
                    <a:pt x="651" y="270"/>
                  </a:cubicBezTo>
                  <a:cubicBezTo>
                    <a:pt x="651" y="108"/>
                    <a:pt x="514" y="0"/>
                    <a:pt x="372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516" name="Google Shape;1515;p44"/>
            <p:cNvSpPr/>
            <p:nvPr/>
          </p:nvSpPr>
          <p:spPr>
            <a:xfrm>
              <a:off x="6808903" y="2050864"/>
              <a:ext cx="7282" cy="6227"/>
            </a:xfrm>
            <a:custGeom>
              <a:avLst/>
              <a:gdLst/>
              <a:ahLst/>
              <a:cxnLst/>
              <a:rect l="l" t="t" r="r" b="b"/>
              <a:pathLst>
                <a:path w="642" h="549" extrusionOk="0">
                  <a:moveTo>
                    <a:pt x="356" y="0"/>
                  </a:moveTo>
                  <a:cubicBezTo>
                    <a:pt x="290" y="0"/>
                    <a:pt x="224" y="24"/>
                    <a:pt x="170" y="78"/>
                  </a:cubicBezTo>
                  <a:cubicBezTo>
                    <a:pt x="0" y="258"/>
                    <a:pt x="120" y="548"/>
                    <a:pt x="371" y="548"/>
                  </a:cubicBezTo>
                  <a:cubicBezTo>
                    <a:pt x="521" y="548"/>
                    <a:pt x="641" y="428"/>
                    <a:pt x="641" y="278"/>
                  </a:cubicBezTo>
                  <a:cubicBezTo>
                    <a:pt x="641" y="113"/>
                    <a:pt x="500" y="0"/>
                    <a:pt x="356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517" name="Google Shape;1516;p44"/>
            <p:cNvSpPr/>
            <p:nvPr/>
          </p:nvSpPr>
          <p:spPr>
            <a:xfrm>
              <a:off x="6801746" y="2054641"/>
              <a:ext cx="7168" cy="6193"/>
            </a:xfrm>
            <a:custGeom>
              <a:avLst/>
              <a:gdLst/>
              <a:ahLst/>
              <a:cxnLst/>
              <a:rect l="l" t="t" r="r" b="b"/>
              <a:pathLst>
                <a:path w="632" h="546" extrusionOk="0">
                  <a:moveTo>
                    <a:pt x="360" y="1"/>
                  </a:moveTo>
                  <a:cubicBezTo>
                    <a:pt x="294" y="1"/>
                    <a:pt x="226" y="27"/>
                    <a:pt x="171" y="85"/>
                  </a:cubicBezTo>
                  <a:cubicBezTo>
                    <a:pt x="0" y="255"/>
                    <a:pt x="120" y="546"/>
                    <a:pt x="361" y="546"/>
                  </a:cubicBezTo>
                  <a:cubicBezTo>
                    <a:pt x="511" y="546"/>
                    <a:pt x="631" y="426"/>
                    <a:pt x="631" y="275"/>
                  </a:cubicBezTo>
                  <a:cubicBezTo>
                    <a:pt x="631" y="113"/>
                    <a:pt x="499" y="1"/>
                    <a:pt x="360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518" name="Google Shape;1517;p44"/>
            <p:cNvSpPr/>
            <p:nvPr/>
          </p:nvSpPr>
          <p:spPr>
            <a:xfrm>
              <a:off x="6794589" y="2058362"/>
              <a:ext cx="7168" cy="6227"/>
            </a:xfrm>
            <a:custGeom>
              <a:avLst/>
              <a:gdLst/>
              <a:ahLst/>
              <a:cxnLst/>
              <a:rect l="l" t="t" r="r" b="b"/>
              <a:pathLst>
                <a:path w="632" h="549" extrusionOk="0">
                  <a:moveTo>
                    <a:pt x="354" y="0"/>
                  </a:moveTo>
                  <a:cubicBezTo>
                    <a:pt x="290" y="0"/>
                    <a:pt x="224" y="24"/>
                    <a:pt x="171" y="77"/>
                  </a:cubicBezTo>
                  <a:cubicBezTo>
                    <a:pt x="0" y="248"/>
                    <a:pt x="121" y="548"/>
                    <a:pt x="361" y="548"/>
                  </a:cubicBezTo>
                  <a:cubicBezTo>
                    <a:pt x="511" y="548"/>
                    <a:pt x="631" y="428"/>
                    <a:pt x="631" y="278"/>
                  </a:cubicBezTo>
                  <a:cubicBezTo>
                    <a:pt x="631" y="113"/>
                    <a:pt x="495" y="0"/>
                    <a:pt x="354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519" name="Google Shape;1518;p44"/>
            <p:cNvSpPr/>
            <p:nvPr/>
          </p:nvSpPr>
          <p:spPr>
            <a:xfrm>
              <a:off x="6788453" y="2062184"/>
              <a:ext cx="6148" cy="6148"/>
            </a:xfrm>
            <a:custGeom>
              <a:avLst/>
              <a:gdLst/>
              <a:ahLst/>
              <a:cxnLst/>
              <a:rect l="l" t="t" r="r" b="b"/>
              <a:pathLst>
                <a:path w="542" h="542" extrusionOk="0">
                  <a:moveTo>
                    <a:pt x="271" y="1"/>
                  </a:moveTo>
                  <a:cubicBezTo>
                    <a:pt x="121" y="1"/>
                    <a:pt x="1" y="121"/>
                    <a:pt x="1" y="271"/>
                  </a:cubicBezTo>
                  <a:cubicBezTo>
                    <a:pt x="1" y="411"/>
                    <a:pt x="121" y="542"/>
                    <a:pt x="271" y="542"/>
                  </a:cubicBezTo>
                  <a:cubicBezTo>
                    <a:pt x="421" y="542"/>
                    <a:pt x="541" y="411"/>
                    <a:pt x="541" y="271"/>
                  </a:cubicBezTo>
                  <a:cubicBezTo>
                    <a:pt x="541" y="121"/>
                    <a:pt x="421" y="1"/>
                    <a:pt x="271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520" name="Google Shape;1519;p44"/>
            <p:cNvSpPr/>
            <p:nvPr/>
          </p:nvSpPr>
          <p:spPr>
            <a:xfrm>
              <a:off x="6780275" y="2065825"/>
              <a:ext cx="7168" cy="6148"/>
            </a:xfrm>
            <a:custGeom>
              <a:avLst/>
              <a:gdLst/>
              <a:ahLst/>
              <a:cxnLst/>
              <a:rect l="l" t="t" r="r" b="b"/>
              <a:pathLst>
                <a:path w="632" h="542" extrusionOk="0">
                  <a:moveTo>
                    <a:pt x="360" y="1"/>
                  </a:moveTo>
                  <a:cubicBezTo>
                    <a:pt x="294" y="1"/>
                    <a:pt x="226" y="25"/>
                    <a:pt x="171" y="80"/>
                  </a:cubicBezTo>
                  <a:cubicBezTo>
                    <a:pt x="1" y="251"/>
                    <a:pt x="121" y="541"/>
                    <a:pt x="361" y="541"/>
                  </a:cubicBezTo>
                  <a:cubicBezTo>
                    <a:pt x="511" y="541"/>
                    <a:pt x="632" y="411"/>
                    <a:pt x="632" y="271"/>
                  </a:cubicBezTo>
                  <a:cubicBezTo>
                    <a:pt x="632" y="108"/>
                    <a:pt x="499" y="1"/>
                    <a:pt x="360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521" name="Google Shape;1520;p44"/>
            <p:cNvSpPr/>
            <p:nvPr/>
          </p:nvSpPr>
          <p:spPr>
            <a:xfrm>
              <a:off x="6773118" y="2069579"/>
              <a:ext cx="7055" cy="6023"/>
            </a:xfrm>
            <a:custGeom>
              <a:avLst/>
              <a:gdLst/>
              <a:ahLst/>
              <a:cxnLst/>
              <a:rect l="l" t="t" r="r" b="b"/>
              <a:pathLst>
                <a:path w="622" h="531" extrusionOk="0">
                  <a:moveTo>
                    <a:pt x="358" y="0"/>
                  </a:moveTo>
                  <a:cubicBezTo>
                    <a:pt x="293" y="0"/>
                    <a:pt x="226" y="25"/>
                    <a:pt x="171" y="80"/>
                  </a:cubicBezTo>
                  <a:cubicBezTo>
                    <a:pt x="1" y="250"/>
                    <a:pt x="121" y="530"/>
                    <a:pt x="361" y="530"/>
                  </a:cubicBezTo>
                  <a:cubicBezTo>
                    <a:pt x="501" y="530"/>
                    <a:pt x="622" y="410"/>
                    <a:pt x="622" y="270"/>
                  </a:cubicBezTo>
                  <a:cubicBezTo>
                    <a:pt x="622" y="108"/>
                    <a:pt x="493" y="0"/>
                    <a:pt x="358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522" name="Google Shape;1521;p44"/>
            <p:cNvSpPr/>
            <p:nvPr/>
          </p:nvSpPr>
          <p:spPr>
            <a:xfrm>
              <a:off x="6765961" y="2073254"/>
              <a:ext cx="7055" cy="6091"/>
            </a:xfrm>
            <a:custGeom>
              <a:avLst/>
              <a:gdLst/>
              <a:ahLst/>
              <a:cxnLst/>
              <a:rect l="l" t="t" r="r" b="b"/>
              <a:pathLst>
                <a:path w="622" h="537" extrusionOk="0">
                  <a:moveTo>
                    <a:pt x="353" y="1"/>
                  </a:moveTo>
                  <a:cubicBezTo>
                    <a:pt x="288" y="1"/>
                    <a:pt x="223" y="24"/>
                    <a:pt x="171" y="76"/>
                  </a:cubicBezTo>
                  <a:cubicBezTo>
                    <a:pt x="1" y="247"/>
                    <a:pt x="121" y="537"/>
                    <a:pt x="361" y="537"/>
                  </a:cubicBezTo>
                  <a:cubicBezTo>
                    <a:pt x="502" y="537"/>
                    <a:pt x="622" y="417"/>
                    <a:pt x="622" y="267"/>
                  </a:cubicBezTo>
                  <a:cubicBezTo>
                    <a:pt x="622" y="104"/>
                    <a:pt x="489" y="1"/>
                    <a:pt x="353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523" name="Google Shape;1522;p44"/>
            <p:cNvSpPr/>
            <p:nvPr/>
          </p:nvSpPr>
          <p:spPr>
            <a:xfrm>
              <a:off x="6758803" y="2076952"/>
              <a:ext cx="7055" cy="6034"/>
            </a:xfrm>
            <a:custGeom>
              <a:avLst/>
              <a:gdLst/>
              <a:ahLst/>
              <a:cxnLst/>
              <a:rect l="l" t="t" r="r" b="b"/>
              <a:pathLst>
                <a:path w="622" h="532" extrusionOk="0">
                  <a:moveTo>
                    <a:pt x="354" y="1"/>
                  </a:moveTo>
                  <a:cubicBezTo>
                    <a:pt x="289" y="1"/>
                    <a:pt x="223" y="26"/>
                    <a:pt x="171" y="81"/>
                  </a:cubicBezTo>
                  <a:cubicBezTo>
                    <a:pt x="1" y="251"/>
                    <a:pt x="121" y="531"/>
                    <a:pt x="351" y="531"/>
                  </a:cubicBezTo>
                  <a:cubicBezTo>
                    <a:pt x="502" y="531"/>
                    <a:pt x="622" y="411"/>
                    <a:pt x="622" y="271"/>
                  </a:cubicBezTo>
                  <a:cubicBezTo>
                    <a:pt x="622" y="109"/>
                    <a:pt x="489" y="1"/>
                    <a:pt x="354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524" name="Google Shape;1523;p44"/>
            <p:cNvSpPr/>
            <p:nvPr/>
          </p:nvSpPr>
          <p:spPr>
            <a:xfrm>
              <a:off x="6751658" y="2080706"/>
              <a:ext cx="6930" cy="5909"/>
            </a:xfrm>
            <a:custGeom>
              <a:avLst/>
              <a:gdLst/>
              <a:ahLst/>
              <a:cxnLst/>
              <a:rect l="l" t="t" r="r" b="b"/>
              <a:pathLst>
                <a:path w="611" h="521" extrusionOk="0">
                  <a:moveTo>
                    <a:pt x="352" y="0"/>
                  </a:moveTo>
                  <a:cubicBezTo>
                    <a:pt x="288" y="0"/>
                    <a:pt x="223" y="25"/>
                    <a:pt x="170" y="80"/>
                  </a:cubicBezTo>
                  <a:cubicBezTo>
                    <a:pt x="0" y="240"/>
                    <a:pt x="120" y="521"/>
                    <a:pt x="351" y="521"/>
                  </a:cubicBezTo>
                  <a:cubicBezTo>
                    <a:pt x="501" y="521"/>
                    <a:pt x="611" y="411"/>
                    <a:pt x="611" y="260"/>
                  </a:cubicBezTo>
                  <a:cubicBezTo>
                    <a:pt x="611" y="105"/>
                    <a:pt x="484" y="0"/>
                    <a:pt x="352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525" name="Google Shape;1524;p44"/>
            <p:cNvSpPr/>
            <p:nvPr/>
          </p:nvSpPr>
          <p:spPr>
            <a:xfrm>
              <a:off x="6745521" y="2084336"/>
              <a:ext cx="5921" cy="6034"/>
            </a:xfrm>
            <a:custGeom>
              <a:avLst/>
              <a:gdLst/>
              <a:ahLst/>
              <a:cxnLst/>
              <a:rect l="l" t="t" r="r" b="b"/>
              <a:pathLst>
                <a:path w="522" h="532" extrusionOk="0">
                  <a:moveTo>
                    <a:pt x="261" y="1"/>
                  </a:moveTo>
                  <a:cubicBezTo>
                    <a:pt x="110" y="1"/>
                    <a:pt x="0" y="121"/>
                    <a:pt x="0" y="271"/>
                  </a:cubicBezTo>
                  <a:cubicBezTo>
                    <a:pt x="0" y="411"/>
                    <a:pt x="110" y="531"/>
                    <a:pt x="261" y="531"/>
                  </a:cubicBezTo>
                  <a:cubicBezTo>
                    <a:pt x="401" y="531"/>
                    <a:pt x="521" y="411"/>
                    <a:pt x="521" y="271"/>
                  </a:cubicBezTo>
                  <a:cubicBezTo>
                    <a:pt x="521" y="121"/>
                    <a:pt x="401" y="1"/>
                    <a:pt x="261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526" name="Google Shape;1525;p44"/>
            <p:cNvSpPr/>
            <p:nvPr/>
          </p:nvSpPr>
          <p:spPr>
            <a:xfrm>
              <a:off x="6737343" y="2088045"/>
              <a:ext cx="6942" cy="5955"/>
            </a:xfrm>
            <a:custGeom>
              <a:avLst/>
              <a:gdLst/>
              <a:ahLst/>
              <a:cxnLst/>
              <a:rect l="l" t="t" r="r" b="b"/>
              <a:pathLst>
                <a:path w="612" h="525" extrusionOk="0">
                  <a:moveTo>
                    <a:pt x="338" y="1"/>
                  </a:moveTo>
                  <a:cubicBezTo>
                    <a:pt x="275" y="1"/>
                    <a:pt x="211" y="23"/>
                    <a:pt x="161" y="74"/>
                  </a:cubicBezTo>
                  <a:cubicBezTo>
                    <a:pt x="0" y="244"/>
                    <a:pt x="110" y="525"/>
                    <a:pt x="351" y="525"/>
                  </a:cubicBezTo>
                  <a:cubicBezTo>
                    <a:pt x="491" y="525"/>
                    <a:pt x="611" y="405"/>
                    <a:pt x="611" y="264"/>
                  </a:cubicBezTo>
                  <a:cubicBezTo>
                    <a:pt x="611" y="107"/>
                    <a:pt x="475" y="1"/>
                    <a:pt x="338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527" name="Google Shape;1526;p44"/>
            <p:cNvSpPr/>
            <p:nvPr/>
          </p:nvSpPr>
          <p:spPr>
            <a:xfrm>
              <a:off x="6730186" y="2091720"/>
              <a:ext cx="6828" cy="5921"/>
            </a:xfrm>
            <a:custGeom>
              <a:avLst/>
              <a:gdLst/>
              <a:ahLst/>
              <a:cxnLst/>
              <a:rect l="l" t="t" r="r" b="b"/>
              <a:pathLst>
                <a:path w="602" h="522" extrusionOk="0">
                  <a:moveTo>
                    <a:pt x="342" y="0"/>
                  </a:moveTo>
                  <a:cubicBezTo>
                    <a:pt x="278" y="0"/>
                    <a:pt x="213" y="25"/>
                    <a:pt x="161" y="81"/>
                  </a:cubicBezTo>
                  <a:cubicBezTo>
                    <a:pt x="0" y="241"/>
                    <a:pt x="111" y="521"/>
                    <a:pt x="341" y="521"/>
                  </a:cubicBezTo>
                  <a:cubicBezTo>
                    <a:pt x="481" y="521"/>
                    <a:pt x="601" y="401"/>
                    <a:pt x="601" y="261"/>
                  </a:cubicBezTo>
                  <a:cubicBezTo>
                    <a:pt x="601" y="106"/>
                    <a:pt x="474" y="0"/>
                    <a:pt x="342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528" name="Google Shape;1527;p44"/>
            <p:cNvSpPr/>
            <p:nvPr/>
          </p:nvSpPr>
          <p:spPr>
            <a:xfrm>
              <a:off x="6722916" y="2095349"/>
              <a:ext cx="6908" cy="5921"/>
            </a:xfrm>
            <a:custGeom>
              <a:avLst/>
              <a:gdLst/>
              <a:ahLst/>
              <a:cxnLst/>
              <a:rect l="l" t="t" r="r" b="b"/>
              <a:pathLst>
                <a:path w="609" h="522" extrusionOk="0">
                  <a:moveTo>
                    <a:pt x="340" y="0"/>
                  </a:moveTo>
                  <a:cubicBezTo>
                    <a:pt x="280" y="0"/>
                    <a:pt x="220" y="22"/>
                    <a:pt x="171" y="71"/>
                  </a:cubicBezTo>
                  <a:cubicBezTo>
                    <a:pt x="1" y="241"/>
                    <a:pt x="121" y="522"/>
                    <a:pt x="351" y="522"/>
                  </a:cubicBezTo>
                  <a:cubicBezTo>
                    <a:pt x="491" y="522"/>
                    <a:pt x="601" y="411"/>
                    <a:pt x="601" y="271"/>
                  </a:cubicBezTo>
                  <a:cubicBezTo>
                    <a:pt x="608" y="112"/>
                    <a:pt x="476" y="0"/>
                    <a:pt x="34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529" name="Google Shape;1528;p44"/>
            <p:cNvSpPr/>
            <p:nvPr/>
          </p:nvSpPr>
          <p:spPr>
            <a:xfrm>
              <a:off x="6715872" y="2099149"/>
              <a:ext cx="6715" cy="5762"/>
            </a:xfrm>
            <a:custGeom>
              <a:avLst/>
              <a:gdLst/>
              <a:ahLst/>
              <a:cxnLst/>
              <a:rect l="l" t="t" r="r" b="b"/>
              <a:pathLst>
                <a:path w="592" h="508" extrusionOk="0">
                  <a:moveTo>
                    <a:pt x="331" y="0"/>
                  </a:moveTo>
                  <a:cubicBezTo>
                    <a:pt x="268" y="0"/>
                    <a:pt x="203" y="24"/>
                    <a:pt x="151" y="76"/>
                  </a:cubicBezTo>
                  <a:cubicBezTo>
                    <a:pt x="1" y="237"/>
                    <a:pt x="111" y="507"/>
                    <a:pt x="331" y="507"/>
                  </a:cubicBezTo>
                  <a:cubicBezTo>
                    <a:pt x="471" y="507"/>
                    <a:pt x="592" y="387"/>
                    <a:pt x="581" y="247"/>
                  </a:cubicBezTo>
                  <a:cubicBezTo>
                    <a:pt x="581" y="99"/>
                    <a:pt x="459" y="0"/>
                    <a:pt x="331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530" name="Google Shape;1529;p44"/>
            <p:cNvSpPr/>
            <p:nvPr/>
          </p:nvSpPr>
          <p:spPr>
            <a:xfrm>
              <a:off x="6709509" y="2102620"/>
              <a:ext cx="5807" cy="5807"/>
            </a:xfrm>
            <a:custGeom>
              <a:avLst/>
              <a:gdLst/>
              <a:ahLst/>
              <a:cxnLst/>
              <a:rect l="l" t="t" r="r" b="b"/>
              <a:pathLst>
                <a:path w="512" h="512" extrusionOk="0">
                  <a:moveTo>
                    <a:pt x="261" y="1"/>
                  </a:moveTo>
                  <a:cubicBezTo>
                    <a:pt x="121" y="1"/>
                    <a:pt x="1" y="121"/>
                    <a:pt x="1" y="261"/>
                  </a:cubicBezTo>
                  <a:cubicBezTo>
                    <a:pt x="1" y="401"/>
                    <a:pt x="121" y="512"/>
                    <a:pt x="261" y="512"/>
                  </a:cubicBezTo>
                  <a:cubicBezTo>
                    <a:pt x="401" y="512"/>
                    <a:pt x="512" y="401"/>
                    <a:pt x="512" y="261"/>
                  </a:cubicBezTo>
                  <a:cubicBezTo>
                    <a:pt x="512" y="121"/>
                    <a:pt x="401" y="1"/>
                    <a:pt x="261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531" name="Google Shape;1530;p44"/>
            <p:cNvSpPr/>
            <p:nvPr/>
          </p:nvSpPr>
          <p:spPr>
            <a:xfrm>
              <a:off x="6702363" y="2106374"/>
              <a:ext cx="5683" cy="5683"/>
            </a:xfrm>
            <a:custGeom>
              <a:avLst/>
              <a:gdLst/>
              <a:ahLst/>
              <a:cxnLst/>
              <a:rect l="l" t="t" r="r" b="b"/>
              <a:pathLst>
                <a:path w="501" h="501" extrusionOk="0">
                  <a:moveTo>
                    <a:pt x="250" y="0"/>
                  </a:moveTo>
                  <a:cubicBezTo>
                    <a:pt x="110" y="0"/>
                    <a:pt x="0" y="110"/>
                    <a:pt x="0" y="251"/>
                  </a:cubicBezTo>
                  <a:cubicBezTo>
                    <a:pt x="0" y="391"/>
                    <a:pt x="110" y="501"/>
                    <a:pt x="250" y="501"/>
                  </a:cubicBezTo>
                  <a:cubicBezTo>
                    <a:pt x="391" y="501"/>
                    <a:pt x="501" y="391"/>
                    <a:pt x="501" y="251"/>
                  </a:cubicBezTo>
                  <a:cubicBezTo>
                    <a:pt x="501" y="110"/>
                    <a:pt x="391" y="0"/>
                    <a:pt x="25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532" name="Google Shape;1531;p44"/>
            <p:cNvSpPr/>
            <p:nvPr/>
          </p:nvSpPr>
          <p:spPr>
            <a:xfrm>
              <a:off x="6694299" y="2109947"/>
              <a:ext cx="6590" cy="5751"/>
            </a:xfrm>
            <a:custGeom>
              <a:avLst/>
              <a:gdLst/>
              <a:ahLst/>
              <a:cxnLst/>
              <a:rect l="l" t="t" r="r" b="b"/>
              <a:pathLst>
                <a:path w="581" h="507" extrusionOk="0">
                  <a:moveTo>
                    <a:pt x="329" y="0"/>
                  </a:moveTo>
                  <a:cubicBezTo>
                    <a:pt x="266" y="0"/>
                    <a:pt x="202" y="24"/>
                    <a:pt x="150" y="76"/>
                  </a:cubicBezTo>
                  <a:cubicBezTo>
                    <a:pt x="0" y="236"/>
                    <a:pt x="110" y="506"/>
                    <a:pt x="330" y="506"/>
                  </a:cubicBezTo>
                  <a:cubicBezTo>
                    <a:pt x="471" y="506"/>
                    <a:pt x="581" y="396"/>
                    <a:pt x="581" y="256"/>
                  </a:cubicBezTo>
                  <a:cubicBezTo>
                    <a:pt x="581" y="101"/>
                    <a:pt x="458" y="0"/>
                    <a:pt x="329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533" name="Google Shape;1532;p44"/>
            <p:cNvSpPr/>
            <p:nvPr/>
          </p:nvSpPr>
          <p:spPr>
            <a:xfrm>
              <a:off x="6687935" y="2113531"/>
              <a:ext cx="5683" cy="5683"/>
            </a:xfrm>
            <a:custGeom>
              <a:avLst/>
              <a:gdLst/>
              <a:ahLst/>
              <a:cxnLst/>
              <a:rect l="l" t="t" r="r" b="b"/>
              <a:pathLst>
                <a:path w="501" h="501" extrusionOk="0">
                  <a:moveTo>
                    <a:pt x="251" y="0"/>
                  </a:moveTo>
                  <a:cubicBezTo>
                    <a:pt x="110" y="0"/>
                    <a:pt x="0" y="110"/>
                    <a:pt x="0" y="251"/>
                  </a:cubicBezTo>
                  <a:cubicBezTo>
                    <a:pt x="0" y="391"/>
                    <a:pt x="110" y="501"/>
                    <a:pt x="251" y="501"/>
                  </a:cubicBezTo>
                  <a:cubicBezTo>
                    <a:pt x="391" y="501"/>
                    <a:pt x="501" y="391"/>
                    <a:pt x="501" y="251"/>
                  </a:cubicBezTo>
                  <a:cubicBezTo>
                    <a:pt x="501" y="110"/>
                    <a:pt x="391" y="0"/>
                    <a:pt x="251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534" name="Google Shape;1533;p44"/>
            <p:cNvSpPr/>
            <p:nvPr/>
          </p:nvSpPr>
          <p:spPr>
            <a:xfrm>
              <a:off x="6679758" y="2117104"/>
              <a:ext cx="6715" cy="5751"/>
            </a:xfrm>
            <a:custGeom>
              <a:avLst/>
              <a:gdLst/>
              <a:ahLst/>
              <a:cxnLst/>
              <a:rect l="l" t="t" r="r" b="b"/>
              <a:pathLst>
                <a:path w="592" h="507" extrusionOk="0">
                  <a:moveTo>
                    <a:pt x="339" y="0"/>
                  </a:moveTo>
                  <a:cubicBezTo>
                    <a:pt x="277" y="0"/>
                    <a:pt x="213" y="24"/>
                    <a:pt x="160" y="76"/>
                  </a:cubicBezTo>
                  <a:cubicBezTo>
                    <a:pt x="0" y="236"/>
                    <a:pt x="110" y="506"/>
                    <a:pt x="341" y="506"/>
                  </a:cubicBezTo>
                  <a:cubicBezTo>
                    <a:pt x="471" y="506"/>
                    <a:pt x="591" y="396"/>
                    <a:pt x="591" y="256"/>
                  </a:cubicBezTo>
                  <a:cubicBezTo>
                    <a:pt x="591" y="101"/>
                    <a:pt x="468" y="0"/>
                    <a:pt x="339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535" name="Google Shape;1534;p44"/>
            <p:cNvSpPr/>
            <p:nvPr/>
          </p:nvSpPr>
          <p:spPr>
            <a:xfrm>
              <a:off x="6672487" y="2120734"/>
              <a:ext cx="6715" cy="5637"/>
            </a:xfrm>
            <a:custGeom>
              <a:avLst/>
              <a:gdLst/>
              <a:ahLst/>
              <a:cxnLst/>
              <a:rect l="l" t="t" r="r" b="b"/>
              <a:pathLst>
                <a:path w="592" h="497" extrusionOk="0">
                  <a:moveTo>
                    <a:pt x="340" y="0"/>
                  </a:moveTo>
                  <a:cubicBezTo>
                    <a:pt x="278" y="0"/>
                    <a:pt x="213" y="24"/>
                    <a:pt x="161" y="76"/>
                  </a:cubicBezTo>
                  <a:cubicBezTo>
                    <a:pt x="0" y="226"/>
                    <a:pt x="120" y="497"/>
                    <a:pt x="341" y="497"/>
                  </a:cubicBezTo>
                  <a:cubicBezTo>
                    <a:pt x="481" y="497"/>
                    <a:pt x="591" y="387"/>
                    <a:pt x="591" y="246"/>
                  </a:cubicBezTo>
                  <a:cubicBezTo>
                    <a:pt x="591" y="98"/>
                    <a:pt x="469" y="0"/>
                    <a:pt x="34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536" name="Google Shape;1535;p44"/>
            <p:cNvSpPr/>
            <p:nvPr/>
          </p:nvSpPr>
          <p:spPr>
            <a:xfrm>
              <a:off x="6665330" y="2124250"/>
              <a:ext cx="6601" cy="5762"/>
            </a:xfrm>
            <a:custGeom>
              <a:avLst/>
              <a:gdLst/>
              <a:ahLst/>
              <a:cxnLst/>
              <a:rect l="l" t="t" r="r" b="b"/>
              <a:pathLst>
                <a:path w="582" h="508" extrusionOk="0">
                  <a:moveTo>
                    <a:pt x="332" y="1"/>
                  </a:moveTo>
                  <a:cubicBezTo>
                    <a:pt x="271" y="1"/>
                    <a:pt x="210" y="24"/>
                    <a:pt x="161" y="77"/>
                  </a:cubicBezTo>
                  <a:cubicBezTo>
                    <a:pt x="0" y="237"/>
                    <a:pt x="111" y="507"/>
                    <a:pt x="331" y="507"/>
                  </a:cubicBezTo>
                  <a:cubicBezTo>
                    <a:pt x="471" y="507"/>
                    <a:pt x="581" y="387"/>
                    <a:pt x="581" y="257"/>
                  </a:cubicBezTo>
                  <a:cubicBezTo>
                    <a:pt x="581" y="102"/>
                    <a:pt x="458" y="1"/>
                    <a:pt x="332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537" name="Google Shape;1536;p44"/>
            <p:cNvSpPr/>
            <p:nvPr/>
          </p:nvSpPr>
          <p:spPr>
            <a:xfrm>
              <a:off x="6659080" y="2127948"/>
              <a:ext cx="5581" cy="5581"/>
            </a:xfrm>
            <a:custGeom>
              <a:avLst/>
              <a:gdLst/>
              <a:ahLst/>
              <a:cxnLst/>
              <a:rect l="l" t="t" r="r" b="b"/>
              <a:pathLst>
                <a:path w="492" h="492" extrusionOk="0">
                  <a:moveTo>
                    <a:pt x="251" y="1"/>
                  </a:moveTo>
                  <a:cubicBezTo>
                    <a:pt x="111" y="1"/>
                    <a:pt x="1" y="111"/>
                    <a:pt x="1" y="241"/>
                  </a:cubicBezTo>
                  <a:cubicBezTo>
                    <a:pt x="1" y="381"/>
                    <a:pt x="111" y="492"/>
                    <a:pt x="251" y="492"/>
                  </a:cubicBezTo>
                  <a:cubicBezTo>
                    <a:pt x="381" y="492"/>
                    <a:pt x="491" y="381"/>
                    <a:pt x="491" y="241"/>
                  </a:cubicBezTo>
                  <a:cubicBezTo>
                    <a:pt x="491" y="111"/>
                    <a:pt x="381" y="1"/>
                    <a:pt x="251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538" name="Google Shape;1537;p44"/>
            <p:cNvSpPr/>
            <p:nvPr/>
          </p:nvSpPr>
          <p:spPr>
            <a:xfrm>
              <a:off x="6651016" y="2131475"/>
              <a:ext cx="6488" cy="5581"/>
            </a:xfrm>
            <a:custGeom>
              <a:avLst/>
              <a:gdLst/>
              <a:ahLst/>
              <a:cxnLst/>
              <a:rect l="l" t="t" r="r" b="b"/>
              <a:pathLst>
                <a:path w="572" h="492" extrusionOk="0">
                  <a:moveTo>
                    <a:pt x="317" y="1"/>
                  </a:moveTo>
                  <a:cubicBezTo>
                    <a:pt x="258" y="1"/>
                    <a:pt x="199" y="22"/>
                    <a:pt x="151" y="70"/>
                  </a:cubicBezTo>
                  <a:cubicBezTo>
                    <a:pt x="1" y="231"/>
                    <a:pt x="101" y="481"/>
                    <a:pt x="321" y="491"/>
                  </a:cubicBezTo>
                  <a:cubicBezTo>
                    <a:pt x="461" y="491"/>
                    <a:pt x="571" y="381"/>
                    <a:pt x="571" y="241"/>
                  </a:cubicBezTo>
                  <a:cubicBezTo>
                    <a:pt x="565" y="98"/>
                    <a:pt x="442" y="1"/>
                    <a:pt x="317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539" name="Google Shape;1538;p44"/>
            <p:cNvSpPr/>
            <p:nvPr/>
          </p:nvSpPr>
          <p:spPr>
            <a:xfrm>
              <a:off x="6644653" y="2135105"/>
              <a:ext cx="5467" cy="5467"/>
            </a:xfrm>
            <a:custGeom>
              <a:avLst/>
              <a:gdLst/>
              <a:ahLst/>
              <a:cxnLst/>
              <a:rect l="l" t="t" r="r" b="b"/>
              <a:pathLst>
                <a:path w="482" h="482" extrusionOk="0">
                  <a:moveTo>
                    <a:pt x="241" y="1"/>
                  </a:moveTo>
                  <a:cubicBezTo>
                    <a:pt x="101" y="1"/>
                    <a:pt x="1" y="101"/>
                    <a:pt x="1" y="241"/>
                  </a:cubicBezTo>
                  <a:cubicBezTo>
                    <a:pt x="1" y="371"/>
                    <a:pt x="101" y="481"/>
                    <a:pt x="241" y="481"/>
                  </a:cubicBezTo>
                  <a:cubicBezTo>
                    <a:pt x="371" y="481"/>
                    <a:pt x="482" y="371"/>
                    <a:pt x="482" y="241"/>
                  </a:cubicBezTo>
                  <a:cubicBezTo>
                    <a:pt x="482" y="101"/>
                    <a:pt x="371" y="1"/>
                    <a:pt x="241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540" name="Google Shape;1539;p44"/>
            <p:cNvSpPr/>
            <p:nvPr/>
          </p:nvSpPr>
          <p:spPr>
            <a:xfrm>
              <a:off x="6636475" y="2138632"/>
              <a:ext cx="6374" cy="5456"/>
            </a:xfrm>
            <a:custGeom>
              <a:avLst/>
              <a:gdLst/>
              <a:ahLst/>
              <a:cxnLst/>
              <a:rect l="l" t="t" r="r" b="b"/>
              <a:pathLst>
                <a:path w="562" h="481" extrusionOk="0">
                  <a:moveTo>
                    <a:pt x="317" y="1"/>
                  </a:moveTo>
                  <a:cubicBezTo>
                    <a:pt x="258" y="1"/>
                    <a:pt x="199" y="22"/>
                    <a:pt x="151" y="70"/>
                  </a:cubicBezTo>
                  <a:cubicBezTo>
                    <a:pt x="1" y="221"/>
                    <a:pt x="111" y="481"/>
                    <a:pt x="321" y="481"/>
                  </a:cubicBezTo>
                  <a:cubicBezTo>
                    <a:pt x="452" y="481"/>
                    <a:pt x="562" y="371"/>
                    <a:pt x="562" y="241"/>
                  </a:cubicBezTo>
                  <a:cubicBezTo>
                    <a:pt x="562" y="98"/>
                    <a:pt x="441" y="1"/>
                    <a:pt x="317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541" name="Google Shape;1540;p44"/>
            <p:cNvSpPr/>
            <p:nvPr/>
          </p:nvSpPr>
          <p:spPr>
            <a:xfrm>
              <a:off x="6629204" y="2142160"/>
              <a:ext cx="6374" cy="5456"/>
            </a:xfrm>
            <a:custGeom>
              <a:avLst/>
              <a:gdLst/>
              <a:ahLst/>
              <a:cxnLst/>
              <a:rect l="l" t="t" r="r" b="b"/>
              <a:pathLst>
                <a:path w="562" h="481" extrusionOk="0">
                  <a:moveTo>
                    <a:pt x="317" y="0"/>
                  </a:moveTo>
                  <a:cubicBezTo>
                    <a:pt x="259" y="0"/>
                    <a:pt x="199" y="22"/>
                    <a:pt x="151" y="70"/>
                  </a:cubicBezTo>
                  <a:cubicBezTo>
                    <a:pt x="1" y="220"/>
                    <a:pt x="111" y="480"/>
                    <a:pt x="321" y="480"/>
                  </a:cubicBezTo>
                  <a:cubicBezTo>
                    <a:pt x="452" y="480"/>
                    <a:pt x="562" y="370"/>
                    <a:pt x="562" y="240"/>
                  </a:cubicBezTo>
                  <a:cubicBezTo>
                    <a:pt x="562" y="97"/>
                    <a:pt x="441" y="0"/>
                    <a:pt x="31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542" name="Google Shape;1541;p44"/>
            <p:cNvSpPr/>
            <p:nvPr/>
          </p:nvSpPr>
          <p:spPr>
            <a:xfrm>
              <a:off x="6621945" y="2145676"/>
              <a:ext cx="6363" cy="5456"/>
            </a:xfrm>
            <a:custGeom>
              <a:avLst/>
              <a:gdLst/>
              <a:ahLst/>
              <a:cxnLst/>
              <a:rect l="l" t="t" r="r" b="b"/>
              <a:pathLst>
                <a:path w="561" h="481" extrusionOk="0">
                  <a:moveTo>
                    <a:pt x="316" y="1"/>
                  </a:moveTo>
                  <a:cubicBezTo>
                    <a:pt x="258" y="1"/>
                    <a:pt x="198" y="22"/>
                    <a:pt x="150" y="70"/>
                  </a:cubicBezTo>
                  <a:cubicBezTo>
                    <a:pt x="0" y="220"/>
                    <a:pt x="110" y="481"/>
                    <a:pt x="331" y="481"/>
                  </a:cubicBezTo>
                  <a:cubicBezTo>
                    <a:pt x="461" y="481"/>
                    <a:pt x="561" y="371"/>
                    <a:pt x="561" y="240"/>
                  </a:cubicBezTo>
                  <a:cubicBezTo>
                    <a:pt x="561" y="97"/>
                    <a:pt x="440" y="1"/>
                    <a:pt x="316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543" name="Google Shape;1542;p44"/>
            <p:cNvSpPr/>
            <p:nvPr/>
          </p:nvSpPr>
          <p:spPr>
            <a:xfrm>
              <a:off x="6614674" y="2149204"/>
              <a:ext cx="6363" cy="5456"/>
            </a:xfrm>
            <a:custGeom>
              <a:avLst/>
              <a:gdLst/>
              <a:ahLst/>
              <a:cxnLst/>
              <a:rect l="l" t="t" r="r" b="b"/>
              <a:pathLst>
                <a:path w="561" h="481" extrusionOk="0">
                  <a:moveTo>
                    <a:pt x="316" y="0"/>
                  </a:moveTo>
                  <a:cubicBezTo>
                    <a:pt x="258" y="0"/>
                    <a:pt x="198" y="22"/>
                    <a:pt x="150" y="70"/>
                  </a:cubicBezTo>
                  <a:cubicBezTo>
                    <a:pt x="0" y="220"/>
                    <a:pt x="110" y="480"/>
                    <a:pt x="321" y="480"/>
                  </a:cubicBezTo>
                  <a:cubicBezTo>
                    <a:pt x="451" y="480"/>
                    <a:pt x="561" y="370"/>
                    <a:pt x="561" y="240"/>
                  </a:cubicBezTo>
                  <a:cubicBezTo>
                    <a:pt x="561" y="97"/>
                    <a:pt x="441" y="0"/>
                    <a:pt x="316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544" name="Google Shape;1543;p44"/>
            <p:cNvSpPr/>
            <p:nvPr/>
          </p:nvSpPr>
          <p:spPr>
            <a:xfrm>
              <a:off x="6607404" y="2152720"/>
              <a:ext cx="6374" cy="5342"/>
            </a:xfrm>
            <a:custGeom>
              <a:avLst/>
              <a:gdLst/>
              <a:ahLst/>
              <a:cxnLst/>
              <a:rect l="l" t="t" r="r" b="b"/>
              <a:pathLst>
                <a:path w="562" h="471" extrusionOk="0">
                  <a:moveTo>
                    <a:pt x="316" y="1"/>
                  </a:moveTo>
                  <a:cubicBezTo>
                    <a:pt x="258" y="1"/>
                    <a:pt x="199" y="22"/>
                    <a:pt x="150" y="70"/>
                  </a:cubicBezTo>
                  <a:cubicBezTo>
                    <a:pt x="0" y="220"/>
                    <a:pt x="110" y="471"/>
                    <a:pt x="321" y="471"/>
                  </a:cubicBezTo>
                  <a:cubicBezTo>
                    <a:pt x="451" y="471"/>
                    <a:pt x="561" y="370"/>
                    <a:pt x="561" y="240"/>
                  </a:cubicBezTo>
                  <a:cubicBezTo>
                    <a:pt x="561" y="97"/>
                    <a:pt x="441" y="1"/>
                    <a:pt x="316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545" name="Google Shape;1544;p44"/>
            <p:cNvSpPr/>
            <p:nvPr/>
          </p:nvSpPr>
          <p:spPr>
            <a:xfrm>
              <a:off x="6600247" y="2156247"/>
              <a:ext cx="6261" cy="5342"/>
            </a:xfrm>
            <a:custGeom>
              <a:avLst/>
              <a:gdLst/>
              <a:ahLst/>
              <a:cxnLst/>
              <a:rect l="l" t="t" r="r" b="b"/>
              <a:pathLst>
                <a:path w="552" h="471" extrusionOk="0">
                  <a:moveTo>
                    <a:pt x="306" y="0"/>
                  </a:moveTo>
                  <a:cubicBezTo>
                    <a:pt x="248" y="0"/>
                    <a:pt x="189" y="21"/>
                    <a:pt x="141" y="70"/>
                  </a:cubicBezTo>
                  <a:cubicBezTo>
                    <a:pt x="0" y="220"/>
                    <a:pt x="101" y="470"/>
                    <a:pt x="311" y="470"/>
                  </a:cubicBezTo>
                  <a:cubicBezTo>
                    <a:pt x="441" y="470"/>
                    <a:pt x="541" y="370"/>
                    <a:pt x="551" y="240"/>
                  </a:cubicBezTo>
                  <a:cubicBezTo>
                    <a:pt x="551" y="97"/>
                    <a:pt x="431" y="0"/>
                    <a:pt x="306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546" name="Google Shape;1545;p44"/>
            <p:cNvSpPr/>
            <p:nvPr/>
          </p:nvSpPr>
          <p:spPr>
            <a:xfrm>
              <a:off x="6592976" y="2159763"/>
              <a:ext cx="6148" cy="5342"/>
            </a:xfrm>
            <a:custGeom>
              <a:avLst/>
              <a:gdLst/>
              <a:ahLst/>
              <a:cxnLst/>
              <a:rect l="l" t="t" r="r" b="b"/>
              <a:pathLst>
                <a:path w="542" h="471" extrusionOk="0">
                  <a:moveTo>
                    <a:pt x="309" y="0"/>
                  </a:moveTo>
                  <a:cubicBezTo>
                    <a:pt x="253" y="0"/>
                    <a:pt x="196" y="22"/>
                    <a:pt x="151" y="70"/>
                  </a:cubicBezTo>
                  <a:cubicBezTo>
                    <a:pt x="1" y="210"/>
                    <a:pt x="101" y="460"/>
                    <a:pt x="311" y="471"/>
                  </a:cubicBezTo>
                  <a:cubicBezTo>
                    <a:pt x="441" y="471"/>
                    <a:pt x="541" y="360"/>
                    <a:pt x="541" y="230"/>
                  </a:cubicBezTo>
                  <a:cubicBezTo>
                    <a:pt x="541" y="94"/>
                    <a:pt x="426" y="0"/>
                    <a:pt x="309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547" name="Google Shape;1546;p44"/>
            <p:cNvSpPr/>
            <p:nvPr/>
          </p:nvSpPr>
          <p:spPr>
            <a:xfrm>
              <a:off x="6586613" y="2163280"/>
              <a:ext cx="5240" cy="5229"/>
            </a:xfrm>
            <a:custGeom>
              <a:avLst/>
              <a:gdLst/>
              <a:ahLst/>
              <a:cxnLst/>
              <a:rect l="l" t="t" r="r" b="b"/>
              <a:pathLst>
                <a:path w="462" h="461" extrusionOk="0">
                  <a:moveTo>
                    <a:pt x="231" y="0"/>
                  </a:moveTo>
                  <a:cubicBezTo>
                    <a:pt x="101" y="0"/>
                    <a:pt x="1" y="100"/>
                    <a:pt x="1" y="231"/>
                  </a:cubicBezTo>
                  <a:cubicBezTo>
                    <a:pt x="1" y="361"/>
                    <a:pt x="101" y="461"/>
                    <a:pt x="231" y="461"/>
                  </a:cubicBezTo>
                  <a:cubicBezTo>
                    <a:pt x="361" y="461"/>
                    <a:pt x="461" y="361"/>
                    <a:pt x="461" y="231"/>
                  </a:cubicBezTo>
                  <a:cubicBezTo>
                    <a:pt x="461" y="100"/>
                    <a:pt x="361" y="0"/>
                    <a:pt x="231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548" name="Google Shape;1547;p44"/>
            <p:cNvSpPr/>
            <p:nvPr/>
          </p:nvSpPr>
          <p:spPr>
            <a:xfrm>
              <a:off x="6578435" y="2166739"/>
              <a:ext cx="6148" cy="5184"/>
            </a:xfrm>
            <a:custGeom>
              <a:avLst/>
              <a:gdLst/>
              <a:ahLst/>
              <a:cxnLst/>
              <a:rect l="l" t="t" r="r" b="b"/>
              <a:pathLst>
                <a:path w="542" h="457" extrusionOk="0">
                  <a:moveTo>
                    <a:pt x="305" y="0"/>
                  </a:moveTo>
                  <a:cubicBezTo>
                    <a:pt x="248" y="0"/>
                    <a:pt x="189" y="21"/>
                    <a:pt x="141" y="66"/>
                  </a:cubicBezTo>
                  <a:cubicBezTo>
                    <a:pt x="1" y="216"/>
                    <a:pt x="101" y="456"/>
                    <a:pt x="311" y="456"/>
                  </a:cubicBezTo>
                  <a:cubicBezTo>
                    <a:pt x="431" y="456"/>
                    <a:pt x="541" y="356"/>
                    <a:pt x="541" y="226"/>
                  </a:cubicBezTo>
                  <a:cubicBezTo>
                    <a:pt x="541" y="90"/>
                    <a:pt x="426" y="0"/>
                    <a:pt x="305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549" name="Google Shape;1548;p44"/>
            <p:cNvSpPr/>
            <p:nvPr/>
          </p:nvSpPr>
          <p:spPr>
            <a:xfrm>
              <a:off x="6571164" y="2170187"/>
              <a:ext cx="6034" cy="5252"/>
            </a:xfrm>
            <a:custGeom>
              <a:avLst/>
              <a:gdLst/>
              <a:ahLst/>
              <a:cxnLst/>
              <a:rect l="l" t="t" r="r" b="b"/>
              <a:pathLst>
                <a:path w="532" h="463" extrusionOk="0">
                  <a:moveTo>
                    <a:pt x="308" y="0"/>
                  </a:moveTo>
                  <a:cubicBezTo>
                    <a:pt x="250" y="0"/>
                    <a:pt x="191" y="23"/>
                    <a:pt x="141" y="72"/>
                  </a:cubicBezTo>
                  <a:cubicBezTo>
                    <a:pt x="1" y="212"/>
                    <a:pt x="101" y="463"/>
                    <a:pt x="311" y="463"/>
                  </a:cubicBezTo>
                  <a:cubicBezTo>
                    <a:pt x="431" y="463"/>
                    <a:pt x="532" y="353"/>
                    <a:pt x="532" y="232"/>
                  </a:cubicBezTo>
                  <a:cubicBezTo>
                    <a:pt x="532" y="92"/>
                    <a:pt x="424" y="0"/>
                    <a:pt x="308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550" name="Google Shape;1549;p44"/>
            <p:cNvSpPr/>
            <p:nvPr/>
          </p:nvSpPr>
          <p:spPr>
            <a:xfrm>
              <a:off x="6564813" y="2173613"/>
              <a:ext cx="5115" cy="5240"/>
            </a:xfrm>
            <a:custGeom>
              <a:avLst/>
              <a:gdLst/>
              <a:ahLst/>
              <a:cxnLst/>
              <a:rect l="l" t="t" r="r" b="b"/>
              <a:pathLst>
                <a:path w="451" h="462" extrusionOk="0">
                  <a:moveTo>
                    <a:pt x="220" y="1"/>
                  </a:moveTo>
                  <a:cubicBezTo>
                    <a:pt x="100" y="1"/>
                    <a:pt x="0" y="111"/>
                    <a:pt x="0" y="231"/>
                  </a:cubicBezTo>
                  <a:cubicBezTo>
                    <a:pt x="0" y="361"/>
                    <a:pt x="100" y="461"/>
                    <a:pt x="220" y="461"/>
                  </a:cubicBezTo>
                  <a:cubicBezTo>
                    <a:pt x="351" y="461"/>
                    <a:pt x="451" y="361"/>
                    <a:pt x="451" y="231"/>
                  </a:cubicBezTo>
                  <a:cubicBezTo>
                    <a:pt x="451" y="111"/>
                    <a:pt x="351" y="1"/>
                    <a:pt x="220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551" name="Google Shape;1550;p44"/>
            <p:cNvSpPr/>
            <p:nvPr/>
          </p:nvSpPr>
          <p:spPr>
            <a:xfrm>
              <a:off x="6556635" y="2177072"/>
              <a:ext cx="6023" cy="5184"/>
            </a:xfrm>
            <a:custGeom>
              <a:avLst/>
              <a:gdLst/>
              <a:ahLst/>
              <a:cxnLst/>
              <a:rect l="l" t="t" r="r" b="b"/>
              <a:pathLst>
                <a:path w="531" h="457" extrusionOk="0">
                  <a:moveTo>
                    <a:pt x="295" y="1"/>
                  </a:moveTo>
                  <a:cubicBezTo>
                    <a:pt x="241" y="1"/>
                    <a:pt x="185" y="21"/>
                    <a:pt x="140" y="66"/>
                  </a:cubicBezTo>
                  <a:cubicBezTo>
                    <a:pt x="0" y="216"/>
                    <a:pt x="100" y="457"/>
                    <a:pt x="300" y="457"/>
                  </a:cubicBezTo>
                  <a:cubicBezTo>
                    <a:pt x="421" y="457"/>
                    <a:pt x="531" y="356"/>
                    <a:pt x="521" y="226"/>
                  </a:cubicBezTo>
                  <a:cubicBezTo>
                    <a:pt x="521" y="90"/>
                    <a:pt x="410" y="1"/>
                    <a:pt x="295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552" name="Google Shape;1551;p44"/>
            <p:cNvSpPr/>
            <p:nvPr/>
          </p:nvSpPr>
          <p:spPr>
            <a:xfrm>
              <a:off x="6550158" y="2180543"/>
              <a:ext cx="5115" cy="5127"/>
            </a:xfrm>
            <a:custGeom>
              <a:avLst/>
              <a:gdLst/>
              <a:ahLst/>
              <a:cxnLst/>
              <a:rect l="l" t="t" r="r" b="b"/>
              <a:pathLst>
                <a:path w="451" h="452" extrusionOk="0">
                  <a:moveTo>
                    <a:pt x="231" y="0"/>
                  </a:moveTo>
                  <a:cubicBezTo>
                    <a:pt x="100" y="0"/>
                    <a:pt x="0" y="101"/>
                    <a:pt x="0" y="231"/>
                  </a:cubicBezTo>
                  <a:cubicBezTo>
                    <a:pt x="0" y="351"/>
                    <a:pt x="100" y="451"/>
                    <a:pt x="231" y="451"/>
                  </a:cubicBezTo>
                  <a:cubicBezTo>
                    <a:pt x="351" y="451"/>
                    <a:pt x="451" y="351"/>
                    <a:pt x="451" y="231"/>
                  </a:cubicBezTo>
                  <a:cubicBezTo>
                    <a:pt x="451" y="101"/>
                    <a:pt x="351" y="0"/>
                    <a:pt x="231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553" name="Google Shape;1552;p44"/>
            <p:cNvSpPr/>
            <p:nvPr/>
          </p:nvSpPr>
          <p:spPr>
            <a:xfrm>
              <a:off x="6541980" y="2184002"/>
              <a:ext cx="6023" cy="5070"/>
            </a:xfrm>
            <a:custGeom>
              <a:avLst/>
              <a:gdLst/>
              <a:ahLst/>
              <a:cxnLst/>
              <a:rect l="l" t="t" r="r" b="b"/>
              <a:pathLst>
                <a:path w="531" h="447" extrusionOk="0">
                  <a:moveTo>
                    <a:pt x="298" y="1"/>
                  </a:moveTo>
                  <a:cubicBezTo>
                    <a:pt x="242" y="1"/>
                    <a:pt x="186" y="21"/>
                    <a:pt x="140" y="66"/>
                  </a:cubicBezTo>
                  <a:cubicBezTo>
                    <a:pt x="0" y="206"/>
                    <a:pt x="100" y="446"/>
                    <a:pt x="301" y="446"/>
                  </a:cubicBezTo>
                  <a:cubicBezTo>
                    <a:pt x="431" y="446"/>
                    <a:pt x="521" y="346"/>
                    <a:pt x="531" y="226"/>
                  </a:cubicBezTo>
                  <a:cubicBezTo>
                    <a:pt x="531" y="90"/>
                    <a:pt x="416" y="1"/>
                    <a:pt x="298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554" name="Google Shape;1553;p44"/>
            <p:cNvSpPr/>
            <p:nvPr/>
          </p:nvSpPr>
          <p:spPr>
            <a:xfrm>
              <a:off x="6534710" y="2187405"/>
              <a:ext cx="5921" cy="5070"/>
            </a:xfrm>
            <a:custGeom>
              <a:avLst/>
              <a:gdLst/>
              <a:ahLst/>
              <a:cxnLst/>
              <a:rect l="l" t="t" r="r" b="b"/>
              <a:pathLst>
                <a:path w="522" h="447" extrusionOk="0">
                  <a:moveTo>
                    <a:pt x="296" y="1"/>
                  </a:moveTo>
                  <a:cubicBezTo>
                    <a:pt x="241" y="1"/>
                    <a:pt x="186" y="21"/>
                    <a:pt x="141" y="66"/>
                  </a:cubicBezTo>
                  <a:cubicBezTo>
                    <a:pt x="0" y="207"/>
                    <a:pt x="100" y="447"/>
                    <a:pt x="301" y="447"/>
                  </a:cubicBezTo>
                  <a:cubicBezTo>
                    <a:pt x="421" y="447"/>
                    <a:pt x="521" y="347"/>
                    <a:pt x="521" y="227"/>
                  </a:cubicBezTo>
                  <a:cubicBezTo>
                    <a:pt x="521" y="91"/>
                    <a:pt x="411" y="1"/>
                    <a:pt x="296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555" name="Google Shape;1554;p44"/>
            <p:cNvSpPr/>
            <p:nvPr/>
          </p:nvSpPr>
          <p:spPr>
            <a:xfrm>
              <a:off x="6527439" y="2190819"/>
              <a:ext cx="5807" cy="5070"/>
            </a:xfrm>
            <a:custGeom>
              <a:avLst/>
              <a:gdLst/>
              <a:ahLst/>
              <a:cxnLst/>
              <a:rect l="l" t="t" r="r" b="b"/>
              <a:pathLst>
                <a:path w="512" h="447" extrusionOk="0">
                  <a:moveTo>
                    <a:pt x="293" y="0"/>
                  </a:moveTo>
                  <a:cubicBezTo>
                    <a:pt x="240" y="0"/>
                    <a:pt x="186" y="21"/>
                    <a:pt x="141" y="66"/>
                  </a:cubicBezTo>
                  <a:cubicBezTo>
                    <a:pt x="0" y="206"/>
                    <a:pt x="101" y="446"/>
                    <a:pt x="291" y="446"/>
                  </a:cubicBezTo>
                  <a:cubicBezTo>
                    <a:pt x="421" y="446"/>
                    <a:pt x="511" y="346"/>
                    <a:pt x="511" y="226"/>
                  </a:cubicBezTo>
                  <a:cubicBezTo>
                    <a:pt x="511" y="90"/>
                    <a:pt x="405" y="0"/>
                    <a:pt x="293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556" name="Google Shape;1555;p44"/>
            <p:cNvSpPr/>
            <p:nvPr/>
          </p:nvSpPr>
          <p:spPr>
            <a:xfrm>
              <a:off x="6520055" y="2194222"/>
              <a:ext cx="5807" cy="4957"/>
            </a:xfrm>
            <a:custGeom>
              <a:avLst/>
              <a:gdLst/>
              <a:ahLst/>
              <a:cxnLst/>
              <a:rect l="l" t="t" r="r" b="b"/>
              <a:pathLst>
                <a:path w="512" h="437" extrusionOk="0">
                  <a:moveTo>
                    <a:pt x="293" y="1"/>
                  </a:moveTo>
                  <a:cubicBezTo>
                    <a:pt x="240" y="1"/>
                    <a:pt x="186" y="21"/>
                    <a:pt x="141" y="66"/>
                  </a:cubicBezTo>
                  <a:cubicBezTo>
                    <a:pt x="1" y="206"/>
                    <a:pt x="101" y="437"/>
                    <a:pt x="301" y="437"/>
                  </a:cubicBezTo>
                  <a:cubicBezTo>
                    <a:pt x="421" y="437"/>
                    <a:pt x="511" y="347"/>
                    <a:pt x="511" y="226"/>
                  </a:cubicBezTo>
                  <a:cubicBezTo>
                    <a:pt x="511" y="91"/>
                    <a:pt x="405" y="1"/>
                    <a:pt x="293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557" name="Google Shape;1556;p44"/>
            <p:cNvSpPr/>
            <p:nvPr/>
          </p:nvSpPr>
          <p:spPr>
            <a:xfrm>
              <a:off x="6512785" y="2197568"/>
              <a:ext cx="5807" cy="5025"/>
            </a:xfrm>
            <a:custGeom>
              <a:avLst/>
              <a:gdLst/>
              <a:ahLst/>
              <a:cxnLst/>
              <a:rect l="l" t="t" r="r" b="b"/>
              <a:pathLst>
                <a:path w="512" h="443" extrusionOk="0">
                  <a:moveTo>
                    <a:pt x="293" y="1"/>
                  </a:moveTo>
                  <a:cubicBezTo>
                    <a:pt x="240" y="1"/>
                    <a:pt x="186" y="20"/>
                    <a:pt x="141" y="62"/>
                  </a:cubicBezTo>
                  <a:cubicBezTo>
                    <a:pt x="1" y="202"/>
                    <a:pt x="101" y="442"/>
                    <a:pt x="291" y="442"/>
                  </a:cubicBezTo>
                  <a:cubicBezTo>
                    <a:pt x="411" y="442"/>
                    <a:pt x="511" y="342"/>
                    <a:pt x="511" y="222"/>
                  </a:cubicBezTo>
                  <a:cubicBezTo>
                    <a:pt x="511" y="86"/>
                    <a:pt x="405" y="1"/>
                    <a:pt x="293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558" name="Google Shape;1557;p44"/>
            <p:cNvSpPr/>
            <p:nvPr/>
          </p:nvSpPr>
          <p:spPr>
            <a:xfrm>
              <a:off x="6505514" y="2201039"/>
              <a:ext cx="5694" cy="4957"/>
            </a:xfrm>
            <a:custGeom>
              <a:avLst/>
              <a:gdLst/>
              <a:ahLst/>
              <a:cxnLst/>
              <a:rect l="l" t="t" r="r" b="b"/>
              <a:pathLst>
                <a:path w="502" h="437" extrusionOk="0">
                  <a:moveTo>
                    <a:pt x="285" y="0"/>
                  </a:moveTo>
                  <a:cubicBezTo>
                    <a:pt x="231" y="0"/>
                    <a:pt x="176" y="21"/>
                    <a:pt x="131" y="66"/>
                  </a:cubicBezTo>
                  <a:cubicBezTo>
                    <a:pt x="1" y="196"/>
                    <a:pt x="91" y="437"/>
                    <a:pt x="291" y="437"/>
                  </a:cubicBezTo>
                  <a:cubicBezTo>
                    <a:pt x="411" y="437"/>
                    <a:pt x="501" y="336"/>
                    <a:pt x="501" y="216"/>
                  </a:cubicBezTo>
                  <a:cubicBezTo>
                    <a:pt x="501" y="88"/>
                    <a:pt x="396" y="0"/>
                    <a:pt x="285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559" name="Google Shape;1558;p44"/>
            <p:cNvSpPr/>
            <p:nvPr/>
          </p:nvSpPr>
          <p:spPr>
            <a:xfrm>
              <a:off x="6498130" y="2204385"/>
              <a:ext cx="5807" cy="4900"/>
            </a:xfrm>
            <a:custGeom>
              <a:avLst/>
              <a:gdLst/>
              <a:ahLst/>
              <a:cxnLst/>
              <a:rect l="l" t="t" r="r" b="b"/>
              <a:pathLst>
                <a:path w="512" h="432" extrusionOk="0">
                  <a:moveTo>
                    <a:pt x="289" y="1"/>
                  </a:moveTo>
                  <a:cubicBezTo>
                    <a:pt x="236" y="1"/>
                    <a:pt x="183" y="20"/>
                    <a:pt x="141" y="61"/>
                  </a:cubicBezTo>
                  <a:cubicBezTo>
                    <a:pt x="1" y="202"/>
                    <a:pt x="101" y="432"/>
                    <a:pt x="291" y="432"/>
                  </a:cubicBezTo>
                  <a:cubicBezTo>
                    <a:pt x="411" y="432"/>
                    <a:pt x="512" y="332"/>
                    <a:pt x="512" y="222"/>
                  </a:cubicBezTo>
                  <a:cubicBezTo>
                    <a:pt x="512" y="86"/>
                    <a:pt x="401" y="1"/>
                    <a:pt x="289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560" name="Google Shape;1559;p44"/>
            <p:cNvSpPr/>
            <p:nvPr/>
          </p:nvSpPr>
          <p:spPr>
            <a:xfrm>
              <a:off x="6490860" y="2207742"/>
              <a:ext cx="5694" cy="4843"/>
            </a:xfrm>
            <a:custGeom>
              <a:avLst/>
              <a:gdLst/>
              <a:ahLst/>
              <a:cxnLst/>
              <a:rect l="l" t="t" r="r" b="b"/>
              <a:pathLst>
                <a:path w="502" h="427" extrusionOk="0">
                  <a:moveTo>
                    <a:pt x="285" y="0"/>
                  </a:moveTo>
                  <a:cubicBezTo>
                    <a:pt x="232" y="0"/>
                    <a:pt x="177" y="20"/>
                    <a:pt x="131" y="66"/>
                  </a:cubicBezTo>
                  <a:cubicBezTo>
                    <a:pt x="1" y="196"/>
                    <a:pt x="91" y="426"/>
                    <a:pt x="291" y="426"/>
                  </a:cubicBezTo>
                  <a:cubicBezTo>
                    <a:pt x="401" y="426"/>
                    <a:pt x="502" y="336"/>
                    <a:pt x="502" y="216"/>
                  </a:cubicBezTo>
                  <a:cubicBezTo>
                    <a:pt x="502" y="88"/>
                    <a:pt x="397" y="0"/>
                    <a:pt x="285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561" name="Google Shape;1560;p44"/>
            <p:cNvSpPr/>
            <p:nvPr/>
          </p:nvSpPr>
          <p:spPr>
            <a:xfrm>
              <a:off x="6483476" y="2211077"/>
              <a:ext cx="5694" cy="4911"/>
            </a:xfrm>
            <a:custGeom>
              <a:avLst/>
              <a:gdLst/>
              <a:ahLst/>
              <a:cxnLst/>
              <a:rect l="l" t="t" r="r" b="b"/>
              <a:pathLst>
                <a:path w="502" h="433" extrusionOk="0">
                  <a:moveTo>
                    <a:pt x="288" y="1"/>
                  </a:moveTo>
                  <a:cubicBezTo>
                    <a:pt x="236" y="1"/>
                    <a:pt x="183" y="20"/>
                    <a:pt x="141" y="62"/>
                  </a:cubicBezTo>
                  <a:cubicBezTo>
                    <a:pt x="1" y="202"/>
                    <a:pt x="101" y="433"/>
                    <a:pt x="291" y="433"/>
                  </a:cubicBezTo>
                  <a:cubicBezTo>
                    <a:pt x="412" y="433"/>
                    <a:pt x="502" y="333"/>
                    <a:pt x="502" y="212"/>
                  </a:cubicBezTo>
                  <a:cubicBezTo>
                    <a:pt x="502" y="84"/>
                    <a:pt x="396" y="1"/>
                    <a:pt x="288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562" name="Google Shape;1561;p44"/>
            <p:cNvSpPr/>
            <p:nvPr/>
          </p:nvSpPr>
          <p:spPr>
            <a:xfrm>
              <a:off x="6476216" y="2214434"/>
              <a:ext cx="5569" cy="4855"/>
            </a:xfrm>
            <a:custGeom>
              <a:avLst/>
              <a:gdLst/>
              <a:ahLst/>
              <a:cxnLst/>
              <a:rect l="l" t="t" r="r" b="b"/>
              <a:pathLst>
                <a:path w="491" h="428" extrusionOk="0">
                  <a:moveTo>
                    <a:pt x="277" y="1"/>
                  </a:moveTo>
                  <a:cubicBezTo>
                    <a:pt x="225" y="1"/>
                    <a:pt x="173" y="21"/>
                    <a:pt x="130" y="67"/>
                  </a:cubicBezTo>
                  <a:cubicBezTo>
                    <a:pt x="0" y="197"/>
                    <a:pt x="90" y="427"/>
                    <a:pt x="280" y="427"/>
                  </a:cubicBezTo>
                  <a:cubicBezTo>
                    <a:pt x="401" y="427"/>
                    <a:pt x="491" y="327"/>
                    <a:pt x="491" y="217"/>
                  </a:cubicBezTo>
                  <a:cubicBezTo>
                    <a:pt x="491" y="88"/>
                    <a:pt x="386" y="1"/>
                    <a:pt x="277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563" name="Google Shape;1562;p44"/>
            <p:cNvSpPr/>
            <p:nvPr/>
          </p:nvSpPr>
          <p:spPr>
            <a:xfrm>
              <a:off x="6468832" y="2217780"/>
              <a:ext cx="5569" cy="4798"/>
            </a:xfrm>
            <a:custGeom>
              <a:avLst/>
              <a:gdLst/>
              <a:ahLst/>
              <a:cxnLst/>
              <a:rect l="l" t="t" r="r" b="b"/>
              <a:pathLst>
                <a:path w="491" h="423" extrusionOk="0">
                  <a:moveTo>
                    <a:pt x="282" y="1"/>
                  </a:moveTo>
                  <a:cubicBezTo>
                    <a:pt x="230" y="1"/>
                    <a:pt x="176" y="20"/>
                    <a:pt x="130" y="62"/>
                  </a:cubicBezTo>
                  <a:cubicBezTo>
                    <a:pt x="0" y="192"/>
                    <a:pt x="100" y="423"/>
                    <a:pt x="281" y="423"/>
                  </a:cubicBezTo>
                  <a:cubicBezTo>
                    <a:pt x="401" y="423"/>
                    <a:pt x="491" y="322"/>
                    <a:pt x="491" y="212"/>
                  </a:cubicBezTo>
                  <a:cubicBezTo>
                    <a:pt x="491" y="84"/>
                    <a:pt x="390" y="1"/>
                    <a:pt x="282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564" name="Google Shape;1563;p44"/>
            <p:cNvSpPr/>
            <p:nvPr/>
          </p:nvSpPr>
          <p:spPr>
            <a:xfrm>
              <a:off x="6462356" y="2221092"/>
              <a:ext cx="4662" cy="4775"/>
            </a:xfrm>
            <a:custGeom>
              <a:avLst/>
              <a:gdLst/>
              <a:ahLst/>
              <a:cxnLst/>
              <a:rect l="l" t="t" r="r" b="b"/>
              <a:pathLst>
                <a:path w="411" h="421" extrusionOk="0">
                  <a:moveTo>
                    <a:pt x="211" y="0"/>
                  </a:moveTo>
                  <a:cubicBezTo>
                    <a:pt x="91" y="0"/>
                    <a:pt x="0" y="101"/>
                    <a:pt x="0" y="211"/>
                  </a:cubicBezTo>
                  <a:cubicBezTo>
                    <a:pt x="0" y="321"/>
                    <a:pt x="91" y="421"/>
                    <a:pt x="211" y="421"/>
                  </a:cubicBezTo>
                  <a:cubicBezTo>
                    <a:pt x="321" y="421"/>
                    <a:pt x="411" y="321"/>
                    <a:pt x="411" y="211"/>
                  </a:cubicBezTo>
                  <a:cubicBezTo>
                    <a:pt x="411" y="101"/>
                    <a:pt x="321" y="0"/>
                    <a:pt x="211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565" name="Google Shape;1564;p44"/>
            <p:cNvSpPr/>
            <p:nvPr/>
          </p:nvSpPr>
          <p:spPr>
            <a:xfrm>
              <a:off x="6454178" y="2224450"/>
              <a:ext cx="5467" cy="4718"/>
            </a:xfrm>
            <a:custGeom>
              <a:avLst/>
              <a:gdLst/>
              <a:ahLst/>
              <a:cxnLst/>
              <a:rect l="l" t="t" r="r" b="b"/>
              <a:pathLst>
                <a:path w="482" h="416" extrusionOk="0">
                  <a:moveTo>
                    <a:pt x="270" y="0"/>
                  </a:moveTo>
                  <a:cubicBezTo>
                    <a:pt x="221" y="0"/>
                    <a:pt x="171" y="17"/>
                    <a:pt x="131" y="55"/>
                  </a:cubicBezTo>
                  <a:cubicBezTo>
                    <a:pt x="0" y="185"/>
                    <a:pt x="91" y="415"/>
                    <a:pt x="281" y="415"/>
                  </a:cubicBezTo>
                  <a:cubicBezTo>
                    <a:pt x="391" y="415"/>
                    <a:pt x="481" y="325"/>
                    <a:pt x="481" y="205"/>
                  </a:cubicBezTo>
                  <a:cubicBezTo>
                    <a:pt x="481" y="81"/>
                    <a:pt x="377" y="0"/>
                    <a:pt x="27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566" name="Google Shape;1565;p44"/>
            <p:cNvSpPr/>
            <p:nvPr/>
          </p:nvSpPr>
          <p:spPr>
            <a:xfrm>
              <a:off x="6446794" y="2227694"/>
              <a:ext cx="5467" cy="4764"/>
            </a:xfrm>
            <a:custGeom>
              <a:avLst/>
              <a:gdLst/>
              <a:ahLst/>
              <a:cxnLst/>
              <a:rect l="l" t="t" r="r" b="b"/>
              <a:pathLst>
                <a:path w="482" h="420" extrusionOk="0">
                  <a:moveTo>
                    <a:pt x="271" y="0"/>
                  </a:moveTo>
                  <a:cubicBezTo>
                    <a:pt x="222" y="0"/>
                    <a:pt x="172" y="18"/>
                    <a:pt x="131" y="59"/>
                  </a:cubicBezTo>
                  <a:cubicBezTo>
                    <a:pt x="0" y="199"/>
                    <a:pt x="91" y="420"/>
                    <a:pt x="281" y="420"/>
                  </a:cubicBezTo>
                  <a:cubicBezTo>
                    <a:pt x="391" y="420"/>
                    <a:pt x="481" y="320"/>
                    <a:pt x="481" y="209"/>
                  </a:cubicBezTo>
                  <a:cubicBezTo>
                    <a:pt x="481" y="86"/>
                    <a:pt x="378" y="0"/>
                    <a:pt x="271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567" name="Google Shape;1566;p44"/>
            <p:cNvSpPr/>
            <p:nvPr/>
          </p:nvSpPr>
          <p:spPr>
            <a:xfrm>
              <a:off x="6440317" y="2231085"/>
              <a:ext cx="4560" cy="4560"/>
            </a:xfrm>
            <a:custGeom>
              <a:avLst/>
              <a:gdLst/>
              <a:ahLst/>
              <a:cxnLst/>
              <a:rect l="l" t="t" r="r" b="b"/>
              <a:pathLst>
                <a:path w="402" h="402" extrusionOk="0">
                  <a:moveTo>
                    <a:pt x="201" y="1"/>
                  </a:moveTo>
                  <a:cubicBezTo>
                    <a:pt x="91" y="1"/>
                    <a:pt x="1" y="91"/>
                    <a:pt x="1" y="201"/>
                  </a:cubicBezTo>
                  <a:cubicBezTo>
                    <a:pt x="1" y="311"/>
                    <a:pt x="91" y="401"/>
                    <a:pt x="201" y="401"/>
                  </a:cubicBezTo>
                  <a:cubicBezTo>
                    <a:pt x="311" y="401"/>
                    <a:pt x="401" y="311"/>
                    <a:pt x="401" y="201"/>
                  </a:cubicBezTo>
                  <a:cubicBezTo>
                    <a:pt x="401" y="91"/>
                    <a:pt x="311" y="1"/>
                    <a:pt x="201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568" name="Google Shape;1567;p44"/>
            <p:cNvSpPr/>
            <p:nvPr/>
          </p:nvSpPr>
          <p:spPr>
            <a:xfrm>
              <a:off x="6432139" y="2234329"/>
              <a:ext cx="5354" cy="4605"/>
            </a:xfrm>
            <a:custGeom>
              <a:avLst/>
              <a:gdLst/>
              <a:ahLst/>
              <a:cxnLst/>
              <a:rect l="l" t="t" r="r" b="b"/>
              <a:pathLst>
                <a:path w="472" h="406" extrusionOk="0">
                  <a:moveTo>
                    <a:pt x="264" y="0"/>
                  </a:moveTo>
                  <a:cubicBezTo>
                    <a:pt x="216" y="0"/>
                    <a:pt x="169" y="17"/>
                    <a:pt x="131" y="55"/>
                  </a:cubicBezTo>
                  <a:cubicBezTo>
                    <a:pt x="1" y="185"/>
                    <a:pt x="91" y="406"/>
                    <a:pt x="271" y="406"/>
                  </a:cubicBezTo>
                  <a:cubicBezTo>
                    <a:pt x="381" y="406"/>
                    <a:pt x="471" y="315"/>
                    <a:pt x="471" y="205"/>
                  </a:cubicBezTo>
                  <a:cubicBezTo>
                    <a:pt x="471" y="82"/>
                    <a:pt x="368" y="0"/>
                    <a:pt x="264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569" name="Google Shape;1568;p44"/>
            <p:cNvSpPr/>
            <p:nvPr/>
          </p:nvSpPr>
          <p:spPr>
            <a:xfrm>
              <a:off x="6425549" y="2237562"/>
              <a:ext cx="4560" cy="4548"/>
            </a:xfrm>
            <a:custGeom>
              <a:avLst/>
              <a:gdLst/>
              <a:ahLst/>
              <a:cxnLst/>
              <a:rect l="l" t="t" r="r" b="b"/>
              <a:pathLst>
                <a:path w="402" h="401" extrusionOk="0">
                  <a:moveTo>
                    <a:pt x="201" y="0"/>
                  </a:moveTo>
                  <a:cubicBezTo>
                    <a:pt x="91" y="0"/>
                    <a:pt x="1" y="91"/>
                    <a:pt x="1" y="201"/>
                  </a:cubicBezTo>
                  <a:cubicBezTo>
                    <a:pt x="1" y="311"/>
                    <a:pt x="91" y="401"/>
                    <a:pt x="201" y="401"/>
                  </a:cubicBezTo>
                  <a:cubicBezTo>
                    <a:pt x="311" y="401"/>
                    <a:pt x="401" y="311"/>
                    <a:pt x="401" y="201"/>
                  </a:cubicBezTo>
                  <a:cubicBezTo>
                    <a:pt x="401" y="91"/>
                    <a:pt x="311" y="0"/>
                    <a:pt x="201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570" name="Google Shape;1569;p44"/>
            <p:cNvSpPr/>
            <p:nvPr/>
          </p:nvSpPr>
          <p:spPr>
            <a:xfrm>
              <a:off x="6417371" y="2240840"/>
              <a:ext cx="5354" cy="4571"/>
            </a:xfrm>
            <a:custGeom>
              <a:avLst/>
              <a:gdLst/>
              <a:ahLst/>
              <a:cxnLst/>
              <a:rect l="l" t="t" r="r" b="b"/>
              <a:pathLst>
                <a:path w="472" h="403" extrusionOk="0">
                  <a:moveTo>
                    <a:pt x="270" y="0"/>
                  </a:moveTo>
                  <a:cubicBezTo>
                    <a:pt x="220" y="0"/>
                    <a:pt x="170" y="19"/>
                    <a:pt x="131" y="62"/>
                  </a:cubicBezTo>
                  <a:cubicBezTo>
                    <a:pt x="1" y="182"/>
                    <a:pt x="91" y="402"/>
                    <a:pt x="271" y="402"/>
                  </a:cubicBezTo>
                  <a:cubicBezTo>
                    <a:pt x="381" y="402"/>
                    <a:pt x="471" y="312"/>
                    <a:pt x="471" y="202"/>
                  </a:cubicBezTo>
                  <a:cubicBezTo>
                    <a:pt x="471" y="81"/>
                    <a:pt x="372" y="0"/>
                    <a:pt x="27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571" name="Google Shape;1570;p44"/>
            <p:cNvSpPr/>
            <p:nvPr/>
          </p:nvSpPr>
          <p:spPr>
            <a:xfrm>
              <a:off x="6409988" y="2244095"/>
              <a:ext cx="5354" cy="4492"/>
            </a:xfrm>
            <a:custGeom>
              <a:avLst/>
              <a:gdLst/>
              <a:ahLst/>
              <a:cxnLst/>
              <a:rect l="l" t="t" r="r" b="b"/>
              <a:pathLst>
                <a:path w="472" h="396" extrusionOk="0">
                  <a:moveTo>
                    <a:pt x="264" y="1"/>
                  </a:moveTo>
                  <a:cubicBezTo>
                    <a:pt x="216" y="1"/>
                    <a:pt x="169" y="18"/>
                    <a:pt x="131" y="55"/>
                  </a:cubicBezTo>
                  <a:cubicBezTo>
                    <a:pt x="1" y="185"/>
                    <a:pt x="91" y="396"/>
                    <a:pt x="271" y="396"/>
                  </a:cubicBezTo>
                  <a:cubicBezTo>
                    <a:pt x="381" y="396"/>
                    <a:pt x="462" y="306"/>
                    <a:pt x="472" y="206"/>
                  </a:cubicBezTo>
                  <a:cubicBezTo>
                    <a:pt x="472" y="82"/>
                    <a:pt x="368" y="1"/>
                    <a:pt x="264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572" name="Google Shape;1571;p44"/>
            <p:cNvSpPr/>
            <p:nvPr/>
          </p:nvSpPr>
          <p:spPr>
            <a:xfrm>
              <a:off x="6402615" y="2247316"/>
              <a:ext cx="5229" cy="4571"/>
            </a:xfrm>
            <a:custGeom>
              <a:avLst/>
              <a:gdLst/>
              <a:ahLst/>
              <a:cxnLst/>
              <a:rect l="l" t="t" r="r" b="b"/>
              <a:pathLst>
                <a:path w="461" h="403" extrusionOk="0">
                  <a:moveTo>
                    <a:pt x="259" y="0"/>
                  </a:moveTo>
                  <a:cubicBezTo>
                    <a:pt x="209" y="0"/>
                    <a:pt x="159" y="19"/>
                    <a:pt x="120" y="62"/>
                  </a:cubicBezTo>
                  <a:cubicBezTo>
                    <a:pt x="0" y="182"/>
                    <a:pt x="80" y="402"/>
                    <a:pt x="260" y="402"/>
                  </a:cubicBezTo>
                  <a:cubicBezTo>
                    <a:pt x="371" y="402"/>
                    <a:pt x="461" y="312"/>
                    <a:pt x="461" y="202"/>
                  </a:cubicBezTo>
                  <a:cubicBezTo>
                    <a:pt x="461" y="81"/>
                    <a:pt x="361" y="0"/>
                    <a:pt x="259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573" name="Google Shape;1572;p44"/>
            <p:cNvSpPr/>
            <p:nvPr/>
          </p:nvSpPr>
          <p:spPr>
            <a:xfrm>
              <a:off x="6395231" y="2250572"/>
              <a:ext cx="5229" cy="4492"/>
            </a:xfrm>
            <a:custGeom>
              <a:avLst/>
              <a:gdLst/>
              <a:ahLst/>
              <a:cxnLst/>
              <a:rect l="l" t="t" r="r" b="b"/>
              <a:pathLst>
                <a:path w="461" h="396" extrusionOk="0">
                  <a:moveTo>
                    <a:pt x="258" y="0"/>
                  </a:moveTo>
                  <a:cubicBezTo>
                    <a:pt x="210" y="0"/>
                    <a:pt x="161" y="17"/>
                    <a:pt x="120" y="55"/>
                  </a:cubicBezTo>
                  <a:cubicBezTo>
                    <a:pt x="0" y="185"/>
                    <a:pt x="90" y="396"/>
                    <a:pt x="260" y="396"/>
                  </a:cubicBezTo>
                  <a:cubicBezTo>
                    <a:pt x="371" y="396"/>
                    <a:pt x="461" y="305"/>
                    <a:pt x="461" y="205"/>
                  </a:cubicBezTo>
                  <a:cubicBezTo>
                    <a:pt x="461" y="82"/>
                    <a:pt x="362" y="0"/>
                    <a:pt x="258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574" name="Google Shape;1573;p44"/>
            <p:cNvSpPr/>
            <p:nvPr/>
          </p:nvSpPr>
          <p:spPr>
            <a:xfrm>
              <a:off x="6388641" y="2253804"/>
              <a:ext cx="4321" cy="4435"/>
            </a:xfrm>
            <a:custGeom>
              <a:avLst/>
              <a:gdLst/>
              <a:ahLst/>
              <a:cxnLst/>
              <a:rect l="l" t="t" r="r" b="b"/>
              <a:pathLst>
                <a:path w="381" h="391" extrusionOk="0">
                  <a:moveTo>
                    <a:pt x="191" y="0"/>
                  </a:moveTo>
                  <a:cubicBezTo>
                    <a:pt x="80" y="0"/>
                    <a:pt x="0" y="91"/>
                    <a:pt x="0" y="191"/>
                  </a:cubicBezTo>
                  <a:cubicBezTo>
                    <a:pt x="0" y="301"/>
                    <a:pt x="80" y="391"/>
                    <a:pt x="191" y="391"/>
                  </a:cubicBezTo>
                  <a:cubicBezTo>
                    <a:pt x="301" y="391"/>
                    <a:pt x="381" y="301"/>
                    <a:pt x="381" y="191"/>
                  </a:cubicBezTo>
                  <a:cubicBezTo>
                    <a:pt x="381" y="91"/>
                    <a:pt x="301" y="0"/>
                    <a:pt x="191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575" name="Google Shape;1574;p44"/>
            <p:cNvSpPr/>
            <p:nvPr/>
          </p:nvSpPr>
          <p:spPr>
            <a:xfrm>
              <a:off x="6380463" y="2257014"/>
              <a:ext cx="5115" cy="4412"/>
            </a:xfrm>
            <a:custGeom>
              <a:avLst/>
              <a:gdLst/>
              <a:ahLst/>
              <a:cxnLst/>
              <a:rect l="l" t="t" r="r" b="b"/>
              <a:pathLst>
                <a:path w="451" h="389" extrusionOk="0">
                  <a:moveTo>
                    <a:pt x="257" y="1"/>
                  </a:moveTo>
                  <a:cubicBezTo>
                    <a:pt x="209" y="1"/>
                    <a:pt x="160" y="19"/>
                    <a:pt x="120" y="58"/>
                  </a:cubicBezTo>
                  <a:cubicBezTo>
                    <a:pt x="0" y="178"/>
                    <a:pt x="80" y="388"/>
                    <a:pt x="261" y="388"/>
                  </a:cubicBezTo>
                  <a:cubicBezTo>
                    <a:pt x="361" y="388"/>
                    <a:pt x="451" y="298"/>
                    <a:pt x="451" y="198"/>
                  </a:cubicBezTo>
                  <a:cubicBezTo>
                    <a:pt x="451" y="77"/>
                    <a:pt x="356" y="1"/>
                    <a:pt x="257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576" name="Google Shape;1575;p44"/>
            <p:cNvSpPr/>
            <p:nvPr/>
          </p:nvSpPr>
          <p:spPr>
            <a:xfrm>
              <a:off x="6373760" y="2260167"/>
              <a:ext cx="4435" cy="4435"/>
            </a:xfrm>
            <a:custGeom>
              <a:avLst/>
              <a:gdLst/>
              <a:ahLst/>
              <a:cxnLst/>
              <a:rect l="l" t="t" r="r" b="b"/>
              <a:pathLst>
                <a:path w="391" h="391" extrusionOk="0">
                  <a:moveTo>
                    <a:pt x="191" y="0"/>
                  </a:moveTo>
                  <a:cubicBezTo>
                    <a:pt x="91" y="0"/>
                    <a:pt x="0" y="90"/>
                    <a:pt x="0" y="200"/>
                  </a:cubicBezTo>
                  <a:cubicBezTo>
                    <a:pt x="0" y="301"/>
                    <a:pt x="91" y="391"/>
                    <a:pt x="191" y="391"/>
                  </a:cubicBezTo>
                  <a:cubicBezTo>
                    <a:pt x="301" y="391"/>
                    <a:pt x="391" y="301"/>
                    <a:pt x="391" y="200"/>
                  </a:cubicBezTo>
                  <a:cubicBezTo>
                    <a:pt x="391" y="90"/>
                    <a:pt x="301" y="0"/>
                    <a:pt x="191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577" name="Google Shape;1576;p44"/>
            <p:cNvSpPr/>
            <p:nvPr/>
          </p:nvSpPr>
          <p:spPr>
            <a:xfrm>
              <a:off x="6365695" y="2263400"/>
              <a:ext cx="5013" cy="4390"/>
            </a:xfrm>
            <a:custGeom>
              <a:avLst/>
              <a:gdLst/>
              <a:ahLst/>
              <a:cxnLst/>
              <a:rect l="l" t="t" r="r" b="b"/>
              <a:pathLst>
                <a:path w="442" h="387" extrusionOk="0">
                  <a:moveTo>
                    <a:pt x="250" y="1"/>
                  </a:moveTo>
                  <a:cubicBezTo>
                    <a:pt x="205" y="1"/>
                    <a:pt x="159" y="18"/>
                    <a:pt x="121" y="56"/>
                  </a:cubicBezTo>
                  <a:cubicBezTo>
                    <a:pt x="0" y="176"/>
                    <a:pt x="81" y="386"/>
                    <a:pt x="251" y="386"/>
                  </a:cubicBezTo>
                  <a:cubicBezTo>
                    <a:pt x="361" y="376"/>
                    <a:pt x="441" y="296"/>
                    <a:pt x="441" y="196"/>
                  </a:cubicBezTo>
                  <a:cubicBezTo>
                    <a:pt x="441" y="80"/>
                    <a:pt x="348" y="1"/>
                    <a:pt x="250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578" name="Google Shape;1577;p44"/>
            <p:cNvSpPr/>
            <p:nvPr/>
          </p:nvSpPr>
          <p:spPr>
            <a:xfrm>
              <a:off x="6358311" y="2266576"/>
              <a:ext cx="5013" cy="4276"/>
            </a:xfrm>
            <a:custGeom>
              <a:avLst/>
              <a:gdLst/>
              <a:ahLst/>
              <a:cxnLst/>
              <a:rect l="l" t="t" r="r" b="b"/>
              <a:pathLst>
                <a:path w="442" h="377" extrusionOk="0">
                  <a:moveTo>
                    <a:pt x="244" y="1"/>
                  </a:moveTo>
                  <a:cubicBezTo>
                    <a:pt x="197" y="1"/>
                    <a:pt x="149" y="18"/>
                    <a:pt x="111" y="56"/>
                  </a:cubicBezTo>
                  <a:cubicBezTo>
                    <a:pt x="1" y="176"/>
                    <a:pt x="81" y="377"/>
                    <a:pt x="251" y="377"/>
                  </a:cubicBezTo>
                  <a:cubicBezTo>
                    <a:pt x="351" y="377"/>
                    <a:pt x="441" y="296"/>
                    <a:pt x="441" y="186"/>
                  </a:cubicBezTo>
                  <a:cubicBezTo>
                    <a:pt x="441" y="77"/>
                    <a:pt x="344" y="1"/>
                    <a:pt x="244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579" name="Google Shape;1578;p44"/>
            <p:cNvSpPr/>
            <p:nvPr/>
          </p:nvSpPr>
          <p:spPr>
            <a:xfrm>
              <a:off x="6351608" y="2269706"/>
              <a:ext cx="4219" cy="4321"/>
            </a:xfrm>
            <a:custGeom>
              <a:avLst/>
              <a:gdLst/>
              <a:ahLst/>
              <a:cxnLst/>
              <a:rect l="l" t="t" r="r" b="b"/>
              <a:pathLst>
                <a:path w="372" h="381" extrusionOk="0">
                  <a:moveTo>
                    <a:pt x="181" y="0"/>
                  </a:moveTo>
                  <a:cubicBezTo>
                    <a:pt x="81" y="0"/>
                    <a:pt x="1" y="90"/>
                    <a:pt x="1" y="191"/>
                  </a:cubicBezTo>
                  <a:cubicBezTo>
                    <a:pt x="1" y="291"/>
                    <a:pt x="81" y="381"/>
                    <a:pt x="181" y="381"/>
                  </a:cubicBezTo>
                  <a:cubicBezTo>
                    <a:pt x="291" y="381"/>
                    <a:pt x="371" y="291"/>
                    <a:pt x="371" y="191"/>
                  </a:cubicBezTo>
                  <a:cubicBezTo>
                    <a:pt x="371" y="90"/>
                    <a:pt x="291" y="0"/>
                    <a:pt x="181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580" name="Google Shape;1579;p44"/>
            <p:cNvSpPr/>
            <p:nvPr/>
          </p:nvSpPr>
          <p:spPr>
            <a:xfrm>
              <a:off x="6344110" y="2272882"/>
              <a:ext cx="4219" cy="4219"/>
            </a:xfrm>
            <a:custGeom>
              <a:avLst/>
              <a:gdLst/>
              <a:ahLst/>
              <a:cxnLst/>
              <a:rect l="l" t="t" r="r" b="b"/>
              <a:pathLst>
                <a:path w="372" h="372" extrusionOk="0">
                  <a:moveTo>
                    <a:pt x="191" y="1"/>
                  </a:moveTo>
                  <a:cubicBezTo>
                    <a:pt x="81" y="1"/>
                    <a:pt x="1" y="81"/>
                    <a:pt x="1" y="191"/>
                  </a:cubicBezTo>
                  <a:cubicBezTo>
                    <a:pt x="1" y="291"/>
                    <a:pt x="81" y="371"/>
                    <a:pt x="191" y="371"/>
                  </a:cubicBezTo>
                  <a:cubicBezTo>
                    <a:pt x="291" y="371"/>
                    <a:pt x="371" y="291"/>
                    <a:pt x="371" y="191"/>
                  </a:cubicBezTo>
                  <a:cubicBezTo>
                    <a:pt x="371" y="81"/>
                    <a:pt x="291" y="1"/>
                    <a:pt x="191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581" name="Google Shape;1580;p44"/>
            <p:cNvSpPr/>
            <p:nvPr/>
          </p:nvSpPr>
          <p:spPr>
            <a:xfrm>
              <a:off x="6336046" y="2276058"/>
              <a:ext cx="4900" cy="4219"/>
            </a:xfrm>
            <a:custGeom>
              <a:avLst/>
              <a:gdLst/>
              <a:ahLst/>
              <a:cxnLst/>
              <a:rect l="l" t="t" r="r" b="b"/>
              <a:pathLst>
                <a:path w="432" h="372" extrusionOk="0">
                  <a:moveTo>
                    <a:pt x="241" y="0"/>
                  </a:moveTo>
                  <a:cubicBezTo>
                    <a:pt x="196" y="0"/>
                    <a:pt x="149" y="16"/>
                    <a:pt x="111" y="51"/>
                  </a:cubicBezTo>
                  <a:cubicBezTo>
                    <a:pt x="1" y="171"/>
                    <a:pt x="81" y="372"/>
                    <a:pt x="251" y="372"/>
                  </a:cubicBezTo>
                  <a:cubicBezTo>
                    <a:pt x="351" y="372"/>
                    <a:pt x="431" y="282"/>
                    <a:pt x="431" y="181"/>
                  </a:cubicBezTo>
                  <a:cubicBezTo>
                    <a:pt x="431" y="72"/>
                    <a:pt x="338" y="0"/>
                    <a:pt x="241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582" name="Google Shape;1581;p44"/>
            <p:cNvSpPr/>
            <p:nvPr/>
          </p:nvSpPr>
          <p:spPr>
            <a:xfrm>
              <a:off x="6328548" y="2279166"/>
              <a:ext cx="4900" cy="4185"/>
            </a:xfrm>
            <a:custGeom>
              <a:avLst/>
              <a:gdLst/>
              <a:ahLst/>
              <a:cxnLst/>
              <a:rect l="l" t="t" r="r" b="b"/>
              <a:pathLst>
                <a:path w="432" h="369" extrusionOk="0">
                  <a:moveTo>
                    <a:pt x="249" y="0"/>
                  </a:moveTo>
                  <a:cubicBezTo>
                    <a:pt x="204" y="0"/>
                    <a:pt x="157" y="18"/>
                    <a:pt x="121" y="58"/>
                  </a:cubicBezTo>
                  <a:cubicBezTo>
                    <a:pt x="1" y="168"/>
                    <a:pt x="81" y="368"/>
                    <a:pt x="251" y="368"/>
                  </a:cubicBezTo>
                  <a:cubicBezTo>
                    <a:pt x="351" y="368"/>
                    <a:pt x="431" y="288"/>
                    <a:pt x="431" y="188"/>
                  </a:cubicBezTo>
                  <a:cubicBezTo>
                    <a:pt x="431" y="74"/>
                    <a:pt x="342" y="0"/>
                    <a:pt x="249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583" name="Google Shape;1582;p44"/>
            <p:cNvSpPr/>
            <p:nvPr/>
          </p:nvSpPr>
          <p:spPr>
            <a:xfrm>
              <a:off x="6321164" y="2282308"/>
              <a:ext cx="4787" cy="4106"/>
            </a:xfrm>
            <a:custGeom>
              <a:avLst/>
              <a:gdLst/>
              <a:ahLst/>
              <a:cxnLst/>
              <a:rect l="l" t="t" r="r" b="b"/>
              <a:pathLst>
                <a:path w="422" h="362" extrusionOk="0">
                  <a:moveTo>
                    <a:pt x="239" y="0"/>
                  </a:moveTo>
                  <a:cubicBezTo>
                    <a:pt x="195" y="0"/>
                    <a:pt x="149" y="16"/>
                    <a:pt x="111" y="51"/>
                  </a:cubicBezTo>
                  <a:cubicBezTo>
                    <a:pt x="1" y="171"/>
                    <a:pt x="81" y="361"/>
                    <a:pt x="241" y="361"/>
                  </a:cubicBezTo>
                  <a:cubicBezTo>
                    <a:pt x="341" y="361"/>
                    <a:pt x="422" y="281"/>
                    <a:pt x="422" y="181"/>
                  </a:cubicBezTo>
                  <a:cubicBezTo>
                    <a:pt x="422" y="72"/>
                    <a:pt x="333" y="0"/>
                    <a:pt x="239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584" name="Google Shape;1583;p44"/>
            <p:cNvSpPr/>
            <p:nvPr/>
          </p:nvSpPr>
          <p:spPr>
            <a:xfrm>
              <a:off x="6314359" y="2285382"/>
              <a:ext cx="4095" cy="4095"/>
            </a:xfrm>
            <a:custGeom>
              <a:avLst/>
              <a:gdLst/>
              <a:ahLst/>
              <a:cxnLst/>
              <a:rect l="l" t="t" r="r" b="b"/>
              <a:pathLst>
                <a:path w="361" h="361" extrusionOk="0">
                  <a:moveTo>
                    <a:pt x="180" y="0"/>
                  </a:moveTo>
                  <a:cubicBezTo>
                    <a:pt x="80" y="0"/>
                    <a:pt x="0" y="80"/>
                    <a:pt x="0" y="181"/>
                  </a:cubicBezTo>
                  <a:cubicBezTo>
                    <a:pt x="0" y="281"/>
                    <a:pt x="80" y="361"/>
                    <a:pt x="180" y="361"/>
                  </a:cubicBezTo>
                  <a:cubicBezTo>
                    <a:pt x="281" y="361"/>
                    <a:pt x="361" y="281"/>
                    <a:pt x="361" y="181"/>
                  </a:cubicBezTo>
                  <a:cubicBezTo>
                    <a:pt x="361" y="80"/>
                    <a:pt x="281" y="0"/>
                    <a:pt x="18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585" name="Google Shape;1584;p44"/>
            <p:cNvSpPr/>
            <p:nvPr/>
          </p:nvSpPr>
          <p:spPr>
            <a:xfrm>
              <a:off x="6306294" y="2288467"/>
              <a:ext cx="4775" cy="4083"/>
            </a:xfrm>
            <a:custGeom>
              <a:avLst/>
              <a:gdLst/>
              <a:ahLst/>
              <a:cxnLst/>
              <a:rect l="l" t="t" r="r" b="b"/>
              <a:pathLst>
                <a:path w="421" h="360" extrusionOk="0">
                  <a:moveTo>
                    <a:pt x="240" y="1"/>
                  </a:moveTo>
                  <a:cubicBezTo>
                    <a:pt x="194" y="1"/>
                    <a:pt x="147" y="19"/>
                    <a:pt x="110" y="59"/>
                  </a:cubicBezTo>
                  <a:cubicBezTo>
                    <a:pt x="0" y="169"/>
                    <a:pt x="80" y="359"/>
                    <a:pt x="240" y="359"/>
                  </a:cubicBezTo>
                  <a:cubicBezTo>
                    <a:pt x="341" y="359"/>
                    <a:pt x="421" y="279"/>
                    <a:pt x="421" y="179"/>
                  </a:cubicBezTo>
                  <a:cubicBezTo>
                    <a:pt x="421" y="72"/>
                    <a:pt x="332" y="1"/>
                    <a:pt x="240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586" name="Google Shape;1585;p44"/>
            <p:cNvSpPr/>
            <p:nvPr/>
          </p:nvSpPr>
          <p:spPr>
            <a:xfrm>
              <a:off x="6299478" y="2291631"/>
              <a:ext cx="4095" cy="3981"/>
            </a:xfrm>
            <a:custGeom>
              <a:avLst/>
              <a:gdLst/>
              <a:ahLst/>
              <a:cxnLst/>
              <a:rect l="l" t="t" r="r" b="b"/>
              <a:pathLst>
                <a:path w="361" h="351" extrusionOk="0">
                  <a:moveTo>
                    <a:pt x="181" y="0"/>
                  </a:moveTo>
                  <a:cubicBezTo>
                    <a:pt x="80" y="0"/>
                    <a:pt x="0" y="80"/>
                    <a:pt x="0" y="170"/>
                  </a:cubicBezTo>
                  <a:cubicBezTo>
                    <a:pt x="0" y="270"/>
                    <a:pt x="80" y="351"/>
                    <a:pt x="181" y="351"/>
                  </a:cubicBezTo>
                  <a:cubicBezTo>
                    <a:pt x="281" y="351"/>
                    <a:pt x="361" y="270"/>
                    <a:pt x="361" y="170"/>
                  </a:cubicBezTo>
                  <a:cubicBezTo>
                    <a:pt x="361" y="80"/>
                    <a:pt x="281" y="0"/>
                    <a:pt x="181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587" name="Google Shape;1586;p44"/>
            <p:cNvSpPr/>
            <p:nvPr/>
          </p:nvSpPr>
          <p:spPr>
            <a:xfrm>
              <a:off x="6291413" y="2294682"/>
              <a:ext cx="4662" cy="3993"/>
            </a:xfrm>
            <a:custGeom>
              <a:avLst/>
              <a:gdLst/>
              <a:ahLst/>
              <a:cxnLst/>
              <a:rect l="l" t="t" r="r" b="b"/>
              <a:pathLst>
                <a:path w="411" h="352" extrusionOk="0">
                  <a:moveTo>
                    <a:pt x="233" y="0"/>
                  </a:moveTo>
                  <a:cubicBezTo>
                    <a:pt x="190" y="0"/>
                    <a:pt x="146" y="16"/>
                    <a:pt x="110" y="52"/>
                  </a:cubicBezTo>
                  <a:cubicBezTo>
                    <a:pt x="0" y="162"/>
                    <a:pt x="70" y="352"/>
                    <a:pt x="231" y="352"/>
                  </a:cubicBezTo>
                  <a:cubicBezTo>
                    <a:pt x="331" y="352"/>
                    <a:pt x="411" y="272"/>
                    <a:pt x="411" y="172"/>
                  </a:cubicBezTo>
                  <a:cubicBezTo>
                    <a:pt x="411" y="70"/>
                    <a:pt x="323" y="0"/>
                    <a:pt x="233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588" name="Google Shape;1587;p44"/>
            <p:cNvSpPr/>
            <p:nvPr/>
          </p:nvSpPr>
          <p:spPr>
            <a:xfrm>
              <a:off x="6284596" y="2297756"/>
              <a:ext cx="3981" cy="3993"/>
            </a:xfrm>
            <a:custGeom>
              <a:avLst/>
              <a:gdLst/>
              <a:ahLst/>
              <a:cxnLst/>
              <a:rect l="l" t="t" r="r" b="b"/>
              <a:pathLst>
                <a:path w="351" h="352" extrusionOk="0">
                  <a:moveTo>
                    <a:pt x="171" y="1"/>
                  </a:moveTo>
                  <a:cubicBezTo>
                    <a:pt x="81" y="1"/>
                    <a:pt x="0" y="81"/>
                    <a:pt x="0" y="171"/>
                  </a:cubicBezTo>
                  <a:cubicBezTo>
                    <a:pt x="0" y="271"/>
                    <a:pt x="81" y="351"/>
                    <a:pt x="171" y="351"/>
                  </a:cubicBezTo>
                  <a:cubicBezTo>
                    <a:pt x="271" y="351"/>
                    <a:pt x="351" y="271"/>
                    <a:pt x="351" y="171"/>
                  </a:cubicBezTo>
                  <a:cubicBezTo>
                    <a:pt x="351" y="81"/>
                    <a:pt x="271" y="1"/>
                    <a:pt x="171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589" name="Google Shape;1588;p44"/>
            <p:cNvSpPr/>
            <p:nvPr/>
          </p:nvSpPr>
          <p:spPr>
            <a:xfrm>
              <a:off x="6276418" y="2300785"/>
              <a:ext cx="4673" cy="4027"/>
            </a:xfrm>
            <a:custGeom>
              <a:avLst/>
              <a:gdLst/>
              <a:ahLst/>
              <a:cxnLst/>
              <a:rect l="l" t="t" r="r" b="b"/>
              <a:pathLst>
                <a:path w="412" h="355" extrusionOk="0">
                  <a:moveTo>
                    <a:pt x="237" y="1"/>
                  </a:moveTo>
                  <a:cubicBezTo>
                    <a:pt x="193" y="1"/>
                    <a:pt x="147" y="18"/>
                    <a:pt x="111" y="54"/>
                  </a:cubicBezTo>
                  <a:cubicBezTo>
                    <a:pt x="0" y="164"/>
                    <a:pt x="81" y="355"/>
                    <a:pt x="241" y="355"/>
                  </a:cubicBezTo>
                  <a:cubicBezTo>
                    <a:pt x="331" y="345"/>
                    <a:pt x="411" y="275"/>
                    <a:pt x="411" y="174"/>
                  </a:cubicBezTo>
                  <a:cubicBezTo>
                    <a:pt x="411" y="68"/>
                    <a:pt x="326" y="1"/>
                    <a:pt x="237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590" name="Google Shape;1589;p44"/>
            <p:cNvSpPr/>
            <p:nvPr/>
          </p:nvSpPr>
          <p:spPr>
            <a:xfrm>
              <a:off x="6269034" y="2303768"/>
              <a:ext cx="4560" cy="4004"/>
            </a:xfrm>
            <a:custGeom>
              <a:avLst/>
              <a:gdLst/>
              <a:ahLst/>
              <a:cxnLst/>
              <a:rect l="l" t="t" r="r" b="b"/>
              <a:pathLst>
                <a:path w="402" h="353" extrusionOk="0">
                  <a:moveTo>
                    <a:pt x="222" y="1"/>
                  </a:moveTo>
                  <a:cubicBezTo>
                    <a:pt x="179" y="1"/>
                    <a:pt x="136" y="16"/>
                    <a:pt x="101" y="52"/>
                  </a:cubicBezTo>
                  <a:cubicBezTo>
                    <a:pt x="1" y="162"/>
                    <a:pt x="71" y="352"/>
                    <a:pt x="231" y="352"/>
                  </a:cubicBezTo>
                  <a:cubicBezTo>
                    <a:pt x="321" y="352"/>
                    <a:pt x="401" y="272"/>
                    <a:pt x="401" y="182"/>
                  </a:cubicBezTo>
                  <a:cubicBezTo>
                    <a:pt x="401" y="73"/>
                    <a:pt x="313" y="1"/>
                    <a:pt x="222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591" name="Google Shape;1590;p44"/>
            <p:cNvSpPr/>
            <p:nvPr/>
          </p:nvSpPr>
          <p:spPr>
            <a:xfrm>
              <a:off x="6262104" y="2306842"/>
              <a:ext cx="3993" cy="3879"/>
            </a:xfrm>
            <a:custGeom>
              <a:avLst/>
              <a:gdLst/>
              <a:ahLst/>
              <a:cxnLst/>
              <a:rect l="l" t="t" r="r" b="b"/>
              <a:pathLst>
                <a:path w="352" h="342" extrusionOk="0">
                  <a:moveTo>
                    <a:pt x="181" y="1"/>
                  </a:moveTo>
                  <a:cubicBezTo>
                    <a:pt x="81" y="1"/>
                    <a:pt x="1" y="81"/>
                    <a:pt x="1" y="171"/>
                  </a:cubicBezTo>
                  <a:cubicBezTo>
                    <a:pt x="1" y="261"/>
                    <a:pt x="81" y="341"/>
                    <a:pt x="181" y="341"/>
                  </a:cubicBezTo>
                  <a:cubicBezTo>
                    <a:pt x="271" y="341"/>
                    <a:pt x="351" y="261"/>
                    <a:pt x="351" y="171"/>
                  </a:cubicBezTo>
                  <a:cubicBezTo>
                    <a:pt x="351" y="81"/>
                    <a:pt x="271" y="1"/>
                    <a:pt x="181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592" name="Google Shape;1591;p44"/>
            <p:cNvSpPr/>
            <p:nvPr/>
          </p:nvSpPr>
          <p:spPr>
            <a:xfrm>
              <a:off x="6254039" y="2309836"/>
              <a:ext cx="4560" cy="3834"/>
            </a:xfrm>
            <a:custGeom>
              <a:avLst/>
              <a:gdLst/>
              <a:ahLst/>
              <a:cxnLst/>
              <a:rect l="l" t="t" r="r" b="b"/>
              <a:pathLst>
                <a:path w="402" h="338" extrusionOk="0">
                  <a:moveTo>
                    <a:pt x="226" y="1"/>
                  </a:moveTo>
                  <a:cubicBezTo>
                    <a:pt x="185" y="1"/>
                    <a:pt x="143" y="15"/>
                    <a:pt x="111" y="47"/>
                  </a:cubicBezTo>
                  <a:cubicBezTo>
                    <a:pt x="1" y="158"/>
                    <a:pt x="71" y="338"/>
                    <a:pt x="231" y="338"/>
                  </a:cubicBezTo>
                  <a:cubicBezTo>
                    <a:pt x="321" y="338"/>
                    <a:pt x="401" y="268"/>
                    <a:pt x="401" y="168"/>
                  </a:cubicBezTo>
                  <a:cubicBezTo>
                    <a:pt x="401" y="66"/>
                    <a:pt x="314" y="1"/>
                    <a:pt x="226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593" name="Google Shape;1592;p44"/>
            <p:cNvSpPr/>
            <p:nvPr/>
          </p:nvSpPr>
          <p:spPr>
            <a:xfrm>
              <a:off x="6246542" y="2312853"/>
              <a:ext cx="4446" cy="3890"/>
            </a:xfrm>
            <a:custGeom>
              <a:avLst/>
              <a:gdLst/>
              <a:ahLst/>
              <a:cxnLst/>
              <a:rect l="l" t="t" r="r" b="b"/>
              <a:pathLst>
                <a:path w="392" h="343" extrusionOk="0">
                  <a:moveTo>
                    <a:pt x="224" y="1"/>
                  </a:moveTo>
                  <a:cubicBezTo>
                    <a:pt x="184" y="1"/>
                    <a:pt x="143" y="16"/>
                    <a:pt x="111" y="52"/>
                  </a:cubicBezTo>
                  <a:cubicBezTo>
                    <a:pt x="1" y="162"/>
                    <a:pt x="81" y="342"/>
                    <a:pt x="231" y="342"/>
                  </a:cubicBezTo>
                  <a:cubicBezTo>
                    <a:pt x="321" y="342"/>
                    <a:pt x="391" y="262"/>
                    <a:pt x="391" y="172"/>
                  </a:cubicBezTo>
                  <a:cubicBezTo>
                    <a:pt x="391" y="70"/>
                    <a:pt x="309" y="1"/>
                    <a:pt x="224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594" name="Google Shape;1593;p44"/>
            <p:cNvSpPr/>
            <p:nvPr/>
          </p:nvSpPr>
          <p:spPr>
            <a:xfrm>
              <a:off x="6239045" y="2315802"/>
              <a:ext cx="4446" cy="3890"/>
            </a:xfrm>
            <a:custGeom>
              <a:avLst/>
              <a:gdLst/>
              <a:ahLst/>
              <a:cxnLst/>
              <a:rect l="l" t="t" r="r" b="b"/>
              <a:pathLst>
                <a:path w="392" h="343" extrusionOk="0">
                  <a:moveTo>
                    <a:pt x="224" y="1"/>
                  </a:moveTo>
                  <a:cubicBezTo>
                    <a:pt x="184" y="1"/>
                    <a:pt x="143" y="17"/>
                    <a:pt x="111" y="52"/>
                  </a:cubicBezTo>
                  <a:cubicBezTo>
                    <a:pt x="1" y="162"/>
                    <a:pt x="81" y="343"/>
                    <a:pt x="231" y="343"/>
                  </a:cubicBezTo>
                  <a:cubicBezTo>
                    <a:pt x="321" y="343"/>
                    <a:pt x="391" y="262"/>
                    <a:pt x="391" y="172"/>
                  </a:cubicBezTo>
                  <a:cubicBezTo>
                    <a:pt x="391" y="70"/>
                    <a:pt x="309" y="1"/>
                    <a:pt x="224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595" name="Google Shape;1594;p44"/>
            <p:cNvSpPr/>
            <p:nvPr/>
          </p:nvSpPr>
          <p:spPr>
            <a:xfrm>
              <a:off x="6231547" y="2318808"/>
              <a:ext cx="4446" cy="3834"/>
            </a:xfrm>
            <a:custGeom>
              <a:avLst/>
              <a:gdLst/>
              <a:ahLst/>
              <a:cxnLst/>
              <a:rect l="l" t="t" r="r" b="b"/>
              <a:pathLst>
                <a:path w="392" h="338" extrusionOk="0">
                  <a:moveTo>
                    <a:pt x="224" y="1"/>
                  </a:moveTo>
                  <a:cubicBezTo>
                    <a:pt x="184" y="1"/>
                    <a:pt x="143" y="15"/>
                    <a:pt x="111" y="47"/>
                  </a:cubicBezTo>
                  <a:cubicBezTo>
                    <a:pt x="1" y="158"/>
                    <a:pt x="81" y="328"/>
                    <a:pt x="221" y="338"/>
                  </a:cubicBezTo>
                  <a:cubicBezTo>
                    <a:pt x="321" y="338"/>
                    <a:pt x="391" y="258"/>
                    <a:pt x="391" y="168"/>
                  </a:cubicBezTo>
                  <a:cubicBezTo>
                    <a:pt x="391" y="66"/>
                    <a:pt x="308" y="1"/>
                    <a:pt x="224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596" name="Google Shape;1595;p44"/>
            <p:cNvSpPr/>
            <p:nvPr/>
          </p:nvSpPr>
          <p:spPr>
            <a:xfrm>
              <a:off x="6224742" y="2321836"/>
              <a:ext cx="3754" cy="3652"/>
            </a:xfrm>
            <a:custGeom>
              <a:avLst/>
              <a:gdLst/>
              <a:ahLst/>
              <a:cxnLst/>
              <a:rect l="l" t="t" r="r" b="b"/>
              <a:pathLst>
                <a:path w="331" h="322" extrusionOk="0">
                  <a:moveTo>
                    <a:pt x="160" y="1"/>
                  </a:moveTo>
                  <a:cubicBezTo>
                    <a:pt x="70" y="1"/>
                    <a:pt x="0" y="71"/>
                    <a:pt x="0" y="161"/>
                  </a:cubicBezTo>
                  <a:cubicBezTo>
                    <a:pt x="0" y="251"/>
                    <a:pt x="70" y="321"/>
                    <a:pt x="160" y="321"/>
                  </a:cubicBezTo>
                  <a:cubicBezTo>
                    <a:pt x="250" y="321"/>
                    <a:pt x="331" y="251"/>
                    <a:pt x="331" y="161"/>
                  </a:cubicBezTo>
                  <a:cubicBezTo>
                    <a:pt x="331" y="71"/>
                    <a:pt x="250" y="1"/>
                    <a:pt x="160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597" name="Google Shape;1596;p44"/>
            <p:cNvSpPr/>
            <p:nvPr/>
          </p:nvSpPr>
          <p:spPr>
            <a:xfrm>
              <a:off x="6217244" y="2324797"/>
              <a:ext cx="3641" cy="3641"/>
            </a:xfrm>
            <a:custGeom>
              <a:avLst/>
              <a:gdLst/>
              <a:ahLst/>
              <a:cxnLst/>
              <a:rect l="l" t="t" r="r" b="b"/>
              <a:pathLst>
                <a:path w="321" h="321" extrusionOk="0">
                  <a:moveTo>
                    <a:pt x="160" y="0"/>
                  </a:moveTo>
                  <a:cubicBezTo>
                    <a:pt x="70" y="0"/>
                    <a:pt x="0" y="70"/>
                    <a:pt x="0" y="160"/>
                  </a:cubicBezTo>
                  <a:cubicBezTo>
                    <a:pt x="0" y="250"/>
                    <a:pt x="70" y="321"/>
                    <a:pt x="160" y="321"/>
                  </a:cubicBezTo>
                  <a:cubicBezTo>
                    <a:pt x="250" y="321"/>
                    <a:pt x="321" y="250"/>
                    <a:pt x="321" y="160"/>
                  </a:cubicBezTo>
                  <a:cubicBezTo>
                    <a:pt x="321" y="70"/>
                    <a:pt x="250" y="0"/>
                    <a:pt x="16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598" name="Google Shape;1597;p44"/>
            <p:cNvSpPr/>
            <p:nvPr/>
          </p:nvSpPr>
          <p:spPr>
            <a:xfrm>
              <a:off x="6209066" y="2327666"/>
              <a:ext cx="4321" cy="3720"/>
            </a:xfrm>
            <a:custGeom>
              <a:avLst/>
              <a:gdLst/>
              <a:ahLst/>
              <a:cxnLst/>
              <a:rect l="l" t="t" r="r" b="b"/>
              <a:pathLst>
                <a:path w="381" h="328" extrusionOk="0">
                  <a:moveTo>
                    <a:pt x="213" y="1"/>
                  </a:moveTo>
                  <a:cubicBezTo>
                    <a:pt x="173" y="1"/>
                    <a:pt x="132" y="15"/>
                    <a:pt x="100" y="48"/>
                  </a:cubicBezTo>
                  <a:cubicBezTo>
                    <a:pt x="0" y="148"/>
                    <a:pt x="70" y="328"/>
                    <a:pt x="220" y="328"/>
                  </a:cubicBezTo>
                  <a:cubicBezTo>
                    <a:pt x="311" y="328"/>
                    <a:pt x="381" y="248"/>
                    <a:pt x="381" y="168"/>
                  </a:cubicBezTo>
                  <a:cubicBezTo>
                    <a:pt x="381" y="66"/>
                    <a:pt x="298" y="1"/>
                    <a:pt x="213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599" name="Google Shape;1598;p44"/>
            <p:cNvSpPr/>
            <p:nvPr/>
          </p:nvSpPr>
          <p:spPr>
            <a:xfrm>
              <a:off x="6201569" y="2330616"/>
              <a:ext cx="4208" cy="3618"/>
            </a:xfrm>
            <a:custGeom>
              <a:avLst/>
              <a:gdLst/>
              <a:ahLst/>
              <a:cxnLst/>
              <a:rect l="l" t="t" r="r" b="b"/>
              <a:pathLst>
                <a:path w="371" h="319" extrusionOk="0">
                  <a:moveTo>
                    <a:pt x="212" y="1"/>
                  </a:moveTo>
                  <a:cubicBezTo>
                    <a:pt x="173" y="1"/>
                    <a:pt x="133" y="15"/>
                    <a:pt x="100" y="48"/>
                  </a:cubicBezTo>
                  <a:cubicBezTo>
                    <a:pt x="0" y="148"/>
                    <a:pt x="70" y="318"/>
                    <a:pt x="210" y="318"/>
                  </a:cubicBezTo>
                  <a:cubicBezTo>
                    <a:pt x="301" y="318"/>
                    <a:pt x="371" y="248"/>
                    <a:pt x="371" y="158"/>
                  </a:cubicBezTo>
                  <a:cubicBezTo>
                    <a:pt x="371" y="63"/>
                    <a:pt x="293" y="1"/>
                    <a:pt x="212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600" name="Google Shape;1599;p44"/>
            <p:cNvSpPr/>
            <p:nvPr/>
          </p:nvSpPr>
          <p:spPr>
            <a:xfrm>
              <a:off x="6194072" y="2333463"/>
              <a:ext cx="4208" cy="3720"/>
            </a:xfrm>
            <a:custGeom>
              <a:avLst/>
              <a:gdLst/>
              <a:ahLst/>
              <a:cxnLst/>
              <a:rect l="l" t="t" r="r" b="b"/>
              <a:pathLst>
                <a:path w="371" h="328" extrusionOk="0">
                  <a:moveTo>
                    <a:pt x="211" y="0"/>
                  </a:moveTo>
                  <a:cubicBezTo>
                    <a:pt x="172" y="0"/>
                    <a:pt x="133" y="15"/>
                    <a:pt x="100" y="47"/>
                  </a:cubicBezTo>
                  <a:cubicBezTo>
                    <a:pt x="0" y="147"/>
                    <a:pt x="70" y="328"/>
                    <a:pt x="211" y="328"/>
                  </a:cubicBezTo>
                  <a:cubicBezTo>
                    <a:pt x="301" y="328"/>
                    <a:pt x="371" y="248"/>
                    <a:pt x="371" y="167"/>
                  </a:cubicBezTo>
                  <a:cubicBezTo>
                    <a:pt x="371" y="66"/>
                    <a:pt x="292" y="0"/>
                    <a:pt x="211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601" name="Google Shape;1600;p44"/>
            <p:cNvSpPr/>
            <p:nvPr/>
          </p:nvSpPr>
          <p:spPr>
            <a:xfrm>
              <a:off x="6186574" y="2336412"/>
              <a:ext cx="4095" cy="3607"/>
            </a:xfrm>
            <a:custGeom>
              <a:avLst/>
              <a:gdLst/>
              <a:ahLst/>
              <a:cxnLst/>
              <a:rect l="l" t="t" r="r" b="b"/>
              <a:pathLst>
                <a:path w="361" h="318" extrusionOk="0">
                  <a:moveTo>
                    <a:pt x="210" y="1"/>
                  </a:moveTo>
                  <a:cubicBezTo>
                    <a:pt x="172" y="1"/>
                    <a:pt x="133" y="15"/>
                    <a:pt x="100" y="48"/>
                  </a:cubicBezTo>
                  <a:cubicBezTo>
                    <a:pt x="0" y="148"/>
                    <a:pt x="70" y="318"/>
                    <a:pt x="211" y="318"/>
                  </a:cubicBezTo>
                  <a:cubicBezTo>
                    <a:pt x="291" y="318"/>
                    <a:pt x="361" y="248"/>
                    <a:pt x="361" y="158"/>
                  </a:cubicBezTo>
                  <a:cubicBezTo>
                    <a:pt x="361" y="63"/>
                    <a:pt x="288" y="1"/>
                    <a:pt x="210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602" name="Google Shape;1601;p44"/>
            <p:cNvSpPr/>
            <p:nvPr/>
          </p:nvSpPr>
          <p:spPr>
            <a:xfrm>
              <a:off x="6178963" y="2339247"/>
              <a:ext cx="4208" cy="3618"/>
            </a:xfrm>
            <a:custGeom>
              <a:avLst/>
              <a:gdLst/>
              <a:ahLst/>
              <a:cxnLst/>
              <a:rect l="l" t="t" r="r" b="b"/>
              <a:pathLst>
                <a:path w="371" h="319" extrusionOk="0">
                  <a:moveTo>
                    <a:pt x="212" y="1"/>
                  </a:moveTo>
                  <a:cubicBezTo>
                    <a:pt x="173" y="1"/>
                    <a:pt x="133" y="15"/>
                    <a:pt x="101" y="48"/>
                  </a:cubicBezTo>
                  <a:cubicBezTo>
                    <a:pt x="0" y="148"/>
                    <a:pt x="71" y="318"/>
                    <a:pt x="211" y="318"/>
                  </a:cubicBezTo>
                  <a:cubicBezTo>
                    <a:pt x="301" y="318"/>
                    <a:pt x="371" y="248"/>
                    <a:pt x="371" y="158"/>
                  </a:cubicBezTo>
                  <a:cubicBezTo>
                    <a:pt x="371" y="64"/>
                    <a:pt x="293" y="1"/>
                    <a:pt x="212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603" name="Google Shape;1602;p44"/>
            <p:cNvSpPr/>
            <p:nvPr/>
          </p:nvSpPr>
          <p:spPr>
            <a:xfrm>
              <a:off x="6171466" y="2342208"/>
              <a:ext cx="4095" cy="3493"/>
            </a:xfrm>
            <a:custGeom>
              <a:avLst/>
              <a:gdLst/>
              <a:ahLst/>
              <a:cxnLst/>
              <a:rect l="l" t="t" r="r" b="b"/>
              <a:pathLst>
                <a:path w="361" h="308" extrusionOk="0">
                  <a:moveTo>
                    <a:pt x="202" y="0"/>
                  </a:moveTo>
                  <a:cubicBezTo>
                    <a:pt x="163" y="0"/>
                    <a:pt x="123" y="15"/>
                    <a:pt x="91" y="47"/>
                  </a:cubicBezTo>
                  <a:cubicBezTo>
                    <a:pt x="0" y="147"/>
                    <a:pt x="71" y="308"/>
                    <a:pt x="211" y="308"/>
                  </a:cubicBezTo>
                  <a:cubicBezTo>
                    <a:pt x="291" y="308"/>
                    <a:pt x="361" y="238"/>
                    <a:pt x="361" y="158"/>
                  </a:cubicBezTo>
                  <a:cubicBezTo>
                    <a:pt x="361" y="63"/>
                    <a:pt x="283" y="0"/>
                    <a:pt x="202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604" name="Google Shape;1603;p44"/>
            <p:cNvSpPr/>
            <p:nvPr/>
          </p:nvSpPr>
          <p:spPr>
            <a:xfrm>
              <a:off x="6163969" y="2345043"/>
              <a:ext cx="4106" cy="3505"/>
            </a:xfrm>
            <a:custGeom>
              <a:avLst/>
              <a:gdLst/>
              <a:ahLst/>
              <a:cxnLst/>
              <a:rect l="l" t="t" r="r" b="b"/>
              <a:pathLst>
                <a:path w="362" h="309" extrusionOk="0">
                  <a:moveTo>
                    <a:pt x="202" y="1"/>
                  </a:moveTo>
                  <a:cubicBezTo>
                    <a:pt x="163" y="1"/>
                    <a:pt x="123" y="15"/>
                    <a:pt x="91" y="48"/>
                  </a:cubicBezTo>
                  <a:cubicBezTo>
                    <a:pt x="1" y="138"/>
                    <a:pt x="71" y="308"/>
                    <a:pt x="201" y="308"/>
                  </a:cubicBezTo>
                  <a:cubicBezTo>
                    <a:pt x="291" y="308"/>
                    <a:pt x="361" y="238"/>
                    <a:pt x="361" y="158"/>
                  </a:cubicBezTo>
                  <a:cubicBezTo>
                    <a:pt x="361" y="63"/>
                    <a:pt x="284" y="1"/>
                    <a:pt x="202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605" name="Google Shape;1604;p44"/>
            <p:cNvSpPr/>
            <p:nvPr/>
          </p:nvSpPr>
          <p:spPr>
            <a:xfrm>
              <a:off x="6156358" y="2347879"/>
              <a:ext cx="4106" cy="3505"/>
            </a:xfrm>
            <a:custGeom>
              <a:avLst/>
              <a:gdLst/>
              <a:ahLst/>
              <a:cxnLst/>
              <a:rect l="l" t="t" r="r" b="b"/>
              <a:pathLst>
                <a:path w="362" h="309" extrusionOk="0">
                  <a:moveTo>
                    <a:pt x="207" y="1"/>
                  </a:moveTo>
                  <a:cubicBezTo>
                    <a:pt x="169" y="1"/>
                    <a:pt x="130" y="15"/>
                    <a:pt x="101" y="48"/>
                  </a:cubicBezTo>
                  <a:cubicBezTo>
                    <a:pt x="1" y="138"/>
                    <a:pt x="71" y="308"/>
                    <a:pt x="211" y="308"/>
                  </a:cubicBezTo>
                  <a:cubicBezTo>
                    <a:pt x="291" y="308"/>
                    <a:pt x="361" y="238"/>
                    <a:pt x="361" y="148"/>
                  </a:cubicBezTo>
                  <a:cubicBezTo>
                    <a:pt x="361" y="61"/>
                    <a:pt x="285" y="1"/>
                    <a:pt x="207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606" name="Google Shape;1605;p44"/>
            <p:cNvSpPr/>
            <p:nvPr/>
          </p:nvSpPr>
          <p:spPr>
            <a:xfrm>
              <a:off x="6148860" y="2350714"/>
              <a:ext cx="3993" cy="3391"/>
            </a:xfrm>
            <a:custGeom>
              <a:avLst/>
              <a:gdLst/>
              <a:ahLst/>
              <a:cxnLst/>
              <a:rect l="l" t="t" r="r" b="b"/>
              <a:pathLst>
                <a:path w="352" h="299" extrusionOk="0">
                  <a:moveTo>
                    <a:pt x="201" y="1"/>
                  </a:moveTo>
                  <a:cubicBezTo>
                    <a:pt x="163" y="1"/>
                    <a:pt x="124" y="15"/>
                    <a:pt x="91" y="48"/>
                  </a:cubicBezTo>
                  <a:cubicBezTo>
                    <a:pt x="1" y="139"/>
                    <a:pt x="71" y="299"/>
                    <a:pt x="201" y="299"/>
                  </a:cubicBezTo>
                  <a:cubicBezTo>
                    <a:pt x="281" y="299"/>
                    <a:pt x="351" y="239"/>
                    <a:pt x="351" y="149"/>
                  </a:cubicBezTo>
                  <a:cubicBezTo>
                    <a:pt x="351" y="61"/>
                    <a:pt x="279" y="1"/>
                    <a:pt x="201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607" name="Google Shape;1606;p44"/>
            <p:cNvSpPr/>
            <p:nvPr/>
          </p:nvSpPr>
          <p:spPr>
            <a:xfrm>
              <a:off x="6141250" y="2353527"/>
              <a:ext cx="3993" cy="3425"/>
            </a:xfrm>
            <a:custGeom>
              <a:avLst/>
              <a:gdLst/>
              <a:ahLst/>
              <a:cxnLst/>
              <a:rect l="l" t="t" r="r" b="b"/>
              <a:pathLst>
                <a:path w="352" h="302" extrusionOk="0">
                  <a:moveTo>
                    <a:pt x="199" y="0"/>
                  </a:moveTo>
                  <a:cubicBezTo>
                    <a:pt x="164" y="0"/>
                    <a:pt x="129" y="13"/>
                    <a:pt x="101" y="41"/>
                  </a:cubicBezTo>
                  <a:cubicBezTo>
                    <a:pt x="1" y="141"/>
                    <a:pt x="71" y="301"/>
                    <a:pt x="211" y="301"/>
                  </a:cubicBezTo>
                  <a:cubicBezTo>
                    <a:pt x="291" y="301"/>
                    <a:pt x="351" y="231"/>
                    <a:pt x="351" y="151"/>
                  </a:cubicBezTo>
                  <a:cubicBezTo>
                    <a:pt x="351" y="61"/>
                    <a:pt x="275" y="0"/>
                    <a:pt x="199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608" name="Google Shape;1607;p44"/>
            <p:cNvSpPr/>
            <p:nvPr/>
          </p:nvSpPr>
          <p:spPr>
            <a:xfrm>
              <a:off x="6134319" y="2356374"/>
              <a:ext cx="3425" cy="3301"/>
            </a:xfrm>
            <a:custGeom>
              <a:avLst/>
              <a:gdLst/>
              <a:ahLst/>
              <a:cxnLst/>
              <a:rect l="l" t="t" r="r" b="b"/>
              <a:pathLst>
                <a:path w="302" h="291" extrusionOk="0">
                  <a:moveTo>
                    <a:pt x="151" y="0"/>
                  </a:moveTo>
                  <a:cubicBezTo>
                    <a:pt x="71" y="0"/>
                    <a:pt x="1" y="60"/>
                    <a:pt x="1" y="150"/>
                  </a:cubicBezTo>
                  <a:cubicBezTo>
                    <a:pt x="1" y="230"/>
                    <a:pt x="71" y="290"/>
                    <a:pt x="151" y="290"/>
                  </a:cubicBezTo>
                  <a:cubicBezTo>
                    <a:pt x="231" y="290"/>
                    <a:pt x="301" y="230"/>
                    <a:pt x="301" y="150"/>
                  </a:cubicBezTo>
                  <a:cubicBezTo>
                    <a:pt x="301" y="60"/>
                    <a:pt x="231" y="0"/>
                    <a:pt x="151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609" name="Google Shape;1608;p44"/>
            <p:cNvSpPr/>
            <p:nvPr/>
          </p:nvSpPr>
          <p:spPr>
            <a:xfrm>
              <a:off x="6126141" y="2359119"/>
              <a:ext cx="3993" cy="3391"/>
            </a:xfrm>
            <a:custGeom>
              <a:avLst/>
              <a:gdLst/>
              <a:ahLst/>
              <a:cxnLst/>
              <a:rect l="l" t="t" r="r" b="b"/>
              <a:pathLst>
                <a:path w="352" h="299" extrusionOk="0">
                  <a:moveTo>
                    <a:pt x="205" y="1"/>
                  </a:moveTo>
                  <a:cubicBezTo>
                    <a:pt x="168" y="1"/>
                    <a:pt x="131" y="15"/>
                    <a:pt x="101" y="48"/>
                  </a:cubicBezTo>
                  <a:cubicBezTo>
                    <a:pt x="1" y="139"/>
                    <a:pt x="71" y="299"/>
                    <a:pt x="201" y="299"/>
                  </a:cubicBezTo>
                  <a:cubicBezTo>
                    <a:pt x="281" y="299"/>
                    <a:pt x="351" y="229"/>
                    <a:pt x="351" y="149"/>
                  </a:cubicBezTo>
                  <a:cubicBezTo>
                    <a:pt x="351" y="61"/>
                    <a:pt x="279" y="1"/>
                    <a:pt x="205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610" name="Google Shape;1609;p44"/>
            <p:cNvSpPr/>
            <p:nvPr/>
          </p:nvSpPr>
          <p:spPr>
            <a:xfrm>
              <a:off x="6118644" y="2361898"/>
              <a:ext cx="3879" cy="3346"/>
            </a:xfrm>
            <a:custGeom>
              <a:avLst/>
              <a:gdLst/>
              <a:ahLst/>
              <a:cxnLst/>
              <a:rect l="l" t="t" r="r" b="b"/>
              <a:pathLst>
                <a:path w="342" h="295" extrusionOk="0">
                  <a:moveTo>
                    <a:pt x="195" y="1"/>
                  </a:moveTo>
                  <a:cubicBezTo>
                    <a:pt x="158" y="1"/>
                    <a:pt x="121" y="14"/>
                    <a:pt x="91" y="44"/>
                  </a:cubicBezTo>
                  <a:cubicBezTo>
                    <a:pt x="1" y="134"/>
                    <a:pt x="61" y="294"/>
                    <a:pt x="191" y="294"/>
                  </a:cubicBezTo>
                  <a:cubicBezTo>
                    <a:pt x="271" y="294"/>
                    <a:pt x="341" y="224"/>
                    <a:pt x="341" y="144"/>
                  </a:cubicBezTo>
                  <a:cubicBezTo>
                    <a:pt x="341" y="57"/>
                    <a:pt x="269" y="1"/>
                    <a:pt x="195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611" name="Google Shape;1610;p44"/>
            <p:cNvSpPr/>
            <p:nvPr/>
          </p:nvSpPr>
          <p:spPr>
            <a:xfrm>
              <a:off x="6111045" y="2364654"/>
              <a:ext cx="3868" cy="3312"/>
            </a:xfrm>
            <a:custGeom>
              <a:avLst/>
              <a:gdLst/>
              <a:ahLst/>
              <a:cxnLst/>
              <a:rect l="l" t="t" r="r" b="b"/>
              <a:pathLst>
                <a:path w="341" h="292" extrusionOk="0">
                  <a:moveTo>
                    <a:pt x="188" y="0"/>
                  </a:moveTo>
                  <a:cubicBezTo>
                    <a:pt x="153" y="0"/>
                    <a:pt x="118" y="13"/>
                    <a:pt x="90" y="41"/>
                  </a:cubicBezTo>
                  <a:cubicBezTo>
                    <a:pt x="0" y="131"/>
                    <a:pt x="70" y="291"/>
                    <a:pt x="190" y="291"/>
                  </a:cubicBezTo>
                  <a:cubicBezTo>
                    <a:pt x="270" y="291"/>
                    <a:pt x="341" y="221"/>
                    <a:pt x="341" y="151"/>
                  </a:cubicBezTo>
                  <a:cubicBezTo>
                    <a:pt x="341" y="62"/>
                    <a:pt x="265" y="0"/>
                    <a:pt x="188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612" name="Google Shape;1611;p44"/>
            <p:cNvSpPr/>
            <p:nvPr/>
          </p:nvSpPr>
          <p:spPr>
            <a:xfrm>
              <a:off x="6104001" y="2367388"/>
              <a:ext cx="3301" cy="3301"/>
            </a:xfrm>
            <a:custGeom>
              <a:avLst/>
              <a:gdLst/>
              <a:ahLst/>
              <a:cxnLst/>
              <a:rect l="l" t="t" r="r" b="b"/>
              <a:pathLst>
                <a:path w="291" h="291" extrusionOk="0">
                  <a:moveTo>
                    <a:pt x="150" y="0"/>
                  </a:moveTo>
                  <a:cubicBezTo>
                    <a:pt x="70" y="0"/>
                    <a:pt x="0" y="70"/>
                    <a:pt x="0" y="151"/>
                  </a:cubicBezTo>
                  <a:cubicBezTo>
                    <a:pt x="0" y="221"/>
                    <a:pt x="70" y="291"/>
                    <a:pt x="150" y="291"/>
                  </a:cubicBezTo>
                  <a:cubicBezTo>
                    <a:pt x="220" y="291"/>
                    <a:pt x="291" y="221"/>
                    <a:pt x="291" y="151"/>
                  </a:cubicBezTo>
                  <a:cubicBezTo>
                    <a:pt x="291" y="70"/>
                    <a:pt x="220" y="0"/>
                    <a:pt x="15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613" name="Google Shape;1612;p44"/>
            <p:cNvSpPr/>
            <p:nvPr/>
          </p:nvSpPr>
          <p:spPr>
            <a:xfrm>
              <a:off x="6096390" y="2370110"/>
              <a:ext cx="3301" cy="3312"/>
            </a:xfrm>
            <a:custGeom>
              <a:avLst/>
              <a:gdLst/>
              <a:ahLst/>
              <a:cxnLst/>
              <a:rect l="l" t="t" r="r" b="b"/>
              <a:pathLst>
                <a:path w="291" h="292" extrusionOk="0">
                  <a:moveTo>
                    <a:pt x="150" y="1"/>
                  </a:moveTo>
                  <a:cubicBezTo>
                    <a:pt x="70" y="1"/>
                    <a:pt x="0" y="71"/>
                    <a:pt x="0" y="151"/>
                  </a:cubicBezTo>
                  <a:cubicBezTo>
                    <a:pt x="0" y="221"/>
                    <a:pt x="70" y="291"/>
                    <a:pt x="150" y="291"/>
                  </a:cubicBezTo>
                  <a:cubicBezTo>
                    <a:pt x="221" y="291"/>
                    <a:pt x="291" y="221"/>
                    <a:pt x="291" y="151"/>
                  </a:cubicBezTo>
                  <a:cubicBezTo>
                    <a:pt x="291" y="71"/>
                    <a:pt x="221" y="1"/>
                    <a:pt x="150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614" name="Google Shape;1613;p44"/>
            <p:cNvSpPr/>
            <p:nvPr/>
          </p:nvSpPr>
          <p:spPr>
            <a:xfrm>
              <a:off x="6088326" y="2372878"/>
              <a:ext cx="3754" cy="3153"/>
            </a:xfrm>
            <a:custGeom>
              <a:avLst/>
              <a:gdLst/>
              <a:ahLst/>
              <a:cxnLst/>
              <a:rect l="l" t="t" r="r" b="b"/>
              <a:pathLst>
                <a:path w="331" h="278" extrusionOk="0">
                  <a:moveTo>
                    <a:pt x="186" y="1"/>
                  </a:moveTo>
                  <a:cubicBezTo>
                    <a:pt x="153" y="1"/>
                    <a:pt x="119" y="12"/>
                    <a:pt x="90" y="37"/>
                  </a:cubicBezTo>
                  <a:cubicBezTo>
                    <a:pt x="0" y="127"/>
                    <a:pt x="60" y="277"/>
                    <a:pt x="190" y="277"/>
                  </a:cubicBezTo>
                  <a:cubicBezTo>
                    <a:pt x="261" y="277"/>
                    <a:pt x="331" y="217"/>
                    <a:pt x="331" y="137"/>
                  </a:cubicBezTo>
                  <a:cubicBezTo>
                    <a:pt x="331" y="55"/>
                    <a:pt x="260" y="1"/>
                    <a:pt x="186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615" name="Google Shape;1614;p44"/>
            <p:cNvSpPr/>
            <p:nvPr/>
          </p:nvSpPr>
          <p:spPr>
            <a:xfrm>
              <a:off x="6081282" y="2375566"/>
              <a:ext cx="3187" cy="3187"/>
            </a:xfrm>
            <a:custGeom>
              <a:avLst/>
              <a:gdLst/>
              <a:ahLst/>
              <a:cxnLst/>
              <a:rect l="l" t="t" r="r" b="b"/>
              <a:pathLst>
                <a:path w="281" h="281" extrusionOk="0">
                  <a:moveTo>
                    <a:pt x="141" y="0"/>
                  </a:moveTo>
                  <a:cubicBezTo>
                    <a:pt x="60" y="0"/>
                    <a:pt x="0" y="60"/>
                    <a:pt x="0" y="141"/>
                  </a:cubicBezTo>
                  <a:cubicBezTo>
                    <a:pt x="0" y="221"/>
                    <a:pt x="60" y="281"/>
                    <a:pt x="141" y="281"/>
                  </a:cubicBezTo>
                  <a:cubicBezTo>
                    <a:pt x="211" y="281"/>
                    <a:pt x="281" y="221"/>
                    <a:pt x="281" y="141"/>
                  </a:cubicBezTo>
                  <a:cubicBezTo>
                    <a:pt x="281" y="60"/>
                    <a:pt x="211" y="0"/>
                    <a:pt x="141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616" name="Google Shape;1615;p44"/>
            <p:cNvSpPr/>
            <p:nvPr/>
          </p:nvSpPr>
          <p:spPr>
            <a:xfrm>
              <a:off x="6073104" y="2378277"/>
              <a:ext cx="3641" cy="3210"/>
            </a:xfrm>
            <a:custGeom>
              <a:avLst/>
              <a:gdLst/>
              <a:ahLst/>
              <a:cxnLst/>
              <a:rect l="l" t="t" r="r" b="b"/>
              <a:pathLst>
                <a:path w="321" h="283" extrusionOk="0">
                  <a:moveTo>
                    <a:pt x="185" y="1"/>
                  </a:moveTo>
                  <a:cubicBezTo>
                    <a:pt x="152" y="1"/>
                    <a:pt x="119" y="13"/>
                    <a:pt x="90" y="42"/>
                  </a:cubicBezTo>
                  <a:cubicBezTo>
                    <a:pt x="0" y="132"/>
                    <a:pt x="60" y="272"/>
                    <a:pt x="191" y="282"/>
                  </a:cubicBezTo>
                  <a:cubicBezTo>
                    <a:pt x="261" y="282"/>
                    <a:pt x="321" y="212"/>
                    <a:pt x="321" y="142"/>
                  </a:cubicBezTo>
                  <a:cubicBezTo>
                    <a:pt x="321" y="60"/>
                    <a:pt x="255" y="1"/>
                    <a:pt x="185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617" name="Google Shape;1616;p44"/>
            <p:cNvSpPr/>
            <p:nvPr/>
          </p:nvSpPr>
          <p:spPr>
            <a:xfrm>
              <a:off x="6066060" y="2381022"/>
              <a:ext cx="3074" cy="3074"/>
            </a:xfrm>
            <a:custGeom>
              <a:avLst/>
              <a:gdLst/>
              <a:ahLst/>
              <a:cxnLst/>
              <a:rect l="l" t="t" r="r" b="b"/>
              <a:pathLst>
                <a:path w="271" h="271" extrusionOk="0">
                  <a:moveTo>
                    <a:pt x="141" y="0"/>
                  </a:moveTo>
                  <a:cubicBezTo>
                    <a:pt x="61" y="0"/>
                    <a:pt x="0" y="60"/>
                    <a:pt x="0" y="130"/>
                  </a:cubicBezTo>
                  <a:cubicBezTo>
                    <a:pt x="0" y="200"/>
                    <a:pt x="61" y="270"/>
                    <a:pt x="141" y="270"/>
                  </a:cubicBezTo>
                  <a:cubicBezTo>
                    <a:pt x="211" y="270"/>
                    <a:pt x="271" y="200"/>
                    <a:pt x="271" y="130"/>
                  </a:cubicBezTo>
                  <a:cubicBezTo>
                    <a:pt x="271" y="60"/>
                    <a:pt x="211" y="0"/>
                    <a:pt x="141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618" name="Google Shape;1617;p44"/>
            <p:cNvSpPr/>
            <p:nvPr/>
          </p:nvSpPr>
          <p:spPr>
            <a:xfrm>
              <a:off x="6057882" y="2383596"/>
              <a:ext cx="3641" cy="3108"/>
            </a:xfrm>
            <a:custGeom>
              <a:avLst/>
              <a:gdLst/>
              <a:ahLst/>
              <a:cxnLst/>
              <a:rect l="l" t="t" r="r" b="b"/>
              <a:pathLst>
                <a:path w="321" h="274" extrusionOk="0">
                  <a:moveTo>
                    <a:pt x="186" y="0"/>
                  </a:moveTo>
                  <a:cubicBezTo>
                    <a:pt x="152" y="0"/>
                    <a:pt x="117" y="13"/>
                    <a:pt x="91" y="43"/>
                  </a:cubicBezTo>
                  <a:cubicBezTo>
                    <a:pt x="0" y="124"/>
                    <a:pt x="61" y="274"/>
                    <a:pt x="181" y="274"/>
                  </a:cubicBezTo>
                  <a:cubicBezTo>
                    <a:pt x="261" y="274"/>
                    <a:pt x="321" y="214"/>
                    <a:pt x="321" y="134"/>
                  </a:cubicBezTo>
                  <a:cubicBezTo>
                    <a:pt x="321" y="53"/>
                    <a:pt x="254" y="0"/>
                    <a:pt x="186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619" name="Google Shape;1618;p44"/>
            <p:cNvSpPr/>
            <p:nvPr/>
          </p:nvSpPr>
          <p:spPr>
            <a:xfrm>
              <a:off x="6050839" y="2386239"/>
              <a:ext cx="2960" cy="3085"/>
            </a:xfrm>
            <a:custGeom>
              <a:avLst/>
              <a:gdLst/>
              <a:ahLst/>
              <a:cxnLst/>
              <a:rect l="l" t="t" r="r" b="b"/>
              <a:pathLst>
                <a:path w="261" h="272" extrusionOk="0">
                  <a:moveTo>
                    <a:pt x="131" y="1"/>
                  </a:moveTo>
                  <a:cubicBezTo>
                    <a:pt x="61" y="1"/>
                    <a:pt x="1" y="61"/>
                    <a:pt x="1" y="131"/>
                  </a:cubicBezTo>
                  <a:cubicBezTo>
                    <a:pt x="1" y="211"/>
                    <a:pt x="61" y="271"/>
                    <a:pt x="131" y="271"/>
                  </a:cubicBezTo>
                  <a:cubicBezTo>
                    <a:pt x="201" y="271"/>
                    <a:pt x="261" y="211"/>
                    <a:pt x="261" y="131"/>
                  </a:cubicBezTo>
                  <a:cubicBezTo>
                    <a:pt x="261" y="61"/>
                    <a:pt x="201" y="1"/>
                    <a:pt x="131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620" name="Google Shape;1619;p44"/>
            <p:cNvSpPr/>
            <p:nvPr/>
          </p:nvSpPr>
          <p:spPr>
            <a:xfrm>
              <a:off x="6042661" y="2388893"/>
              <a:ext cx="3493" cy="3040"/>
            </a:xfrm>
            <a:custGeom>
              <a:avLst/>
              <a:gdLst/>
              <a:ahLst/>
              <a:cxnLst/>
              <a:rect l="l" t="t" r="r" b="b"/>
              <a:pathLst>
                <a:path w="308" h="268" extrusionOk="0">
                  <a:moveTo>
                    <a:pt x="170" y="1"/>
                  </a:moveTo>
                  <a:cubicBezTo>
                    <a:pt x="138" y="1"/>
                    <a:pt x="106" y="12"/>
                    <a:pt x="81" y="37"/>
                  </a:cubicBezTo>
                  <a:cubicBezTo>
                    <a:pt x="1" y="127"/>
                    <a:pt x="61" y="267"/>
                    <a:pt x="181" y="267"/>
                  </a:cubicBezTo>
                  <a:cubicBezTo>
                    <a:pt x="251" y="257"/>
                    <a:pt x="301" y="207"/>
                    <a:pt x="301" y="137"/>
                  </a:cubicBezTo>
                  <a:cubicBezTo>
                    <a:pt x="308" y="55"/>
                    <a:pt x="239" y="1"/>
                    <a:pt x="170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621" name="Google Shape;1620;p44"/>
            <p:cNvSpPr/>
            <p:nvPr/>
          </p:nvSpPr>
          <p:spPr>
            <a:xfrm>
              <a:off x="6035163" y="2391616"/>
              <a:ext cx="3312" cy="2813"/>
            </a:xfrm>
            <a:custGeom>
              <a:avLst/>
              <a:gdLst/>
              <a:ahLst/>
              <a:cxnLst/>
              <a:rect l="l" t="t" r="r" b="b"/>
              <a:pathLst>
                <a:path w="292" h="248" extrusionOk="0">
                  <a:moveTo>
                    <a:pt x="167" y="1"/>
                  </a:moveTo>
                  <a:cubicBezTo>
                    <a:pt x="137" y="1"/>
                    <a:pt x="106" y="12"/>
                    <a:pt x="81" y="37"/>
                  </a:cubicBezTo>
                  <a:cubicBezTo>
                    <a:pt x="1" y="118"/>
                    <a:pt x="51" y="248"/>
                    <a:pt x="171" y="248"/>
                  </a:cubicBezTo>
                  <a:cubicBezTo>
                    <a:pt x="231" y="248"/>
                    <a:pt x="291" y="198"/>
                    <a:pt x="291" y="128"/>
                  </a:cubicBezTo>
                  <a:cubicBezTo>
                    <a:pt x="291" y="52"/>
                    <a:pt x="231" y="1"/>
                    <a:pt x="167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622" name="Google Shape;1621;p44"/>
            <p:cNvSpPr/>
            <p:nvPr/>
          </p:nvSpPr>
          <p:spPr>
            <a:xfrm>
              <a:off x="6027552" y="2394202"/>
              <a:ext cx="3312" cy="2847"/>
            </a:xfrm>
            <a:custGeom>
              <a:avLst/>
              <a:gdLst/>
              <a:ahLst/>
              <a:cxnLst/>
              <a:rect l="l" t="t" r="r" b="b"/>
              <a:pathLst>
                <a:path w="292" h="251" extrusionOk="0">
                  <a:moveTo>
                    <a:pt x="164" y="1"/>
                  </a:moveTo>
                  <a:cubicBezTo>
                    <a:pt x="131" y="1"/>
                    <a:pt x="98" y="13"/>
                    <a:pt x="71" y="40"/>
                  </a:cubicBezTo>
                  <a:cubicBezTo>
                    <a:pt x="1" y="120"/>
                    <a:pt x="51" y="250"/>
                    <a:pt x="161" y="250"/>
                  </a:cubicBezTo>
                  <a:cubicBezTo>
                    <a:pt x="231" y="250"/>
                    <a:pt x="291" y="190"/>
                    <a:pt x="291" y="130"/>
                  </a:cubicBezTo>
                  <a:cubicBezTo>
                    <a:pt x="291" y="50"/>
                    <a:pt x="229" y="1"/>
                    <a:pt x="164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623" name="Google Shape;1622;p44"/>
            <p:cNvSpPr/>
            <p:nvPr/>
          </p:nvSpPr>
          <p:spPr>
            <a:xfrm>
              <a:off x="6019828" y="2396799"/>
              <a:ext cx="3879" cy="2858"/>
            </a:xfrm>
            <a:custGeom>
              <a:avLst/>
              <a:gdLst/>
              <a:ahLst/>
              <a:cxnLst/>
              <a:rect l="l" t="t" r="r" b="b"/>
              <a:pathLst>
                <a:path w="342" h="252" extrusionOk="0">
                  <a:moveTo>
                    <a:pt x="171" y="1"/>
                  </a:moveTo>
                  <a:cubicBezTo>
                    <a:pt x="1" y="1"/>
                    <a:pt x="1" y="251"/>
                    <a:pt x="171" y="251"/>
                  </a:cubicBezTo>
                  <a:cubicBezTo>
                    <a:pt x="341" y="251"/>
                    <a:pt x="341" y="1"/>
                    <a:pt x="171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624" name="Google Shape;1623;p44"/>
            <p:cNvSpPr/>
            <p:nvPr/>
          </p:nvSpPr>
          <p:spPr>
            <a:xfrm>
              <a:off x="6012217" y="2399317"/>
              <a:ext cx="3312" cy="2836"/>
            </a:xfrm>
            <a:custGeom>
              <a:avLst/>
              <a:gdLst/>
              <a:ahLst/>
              <a:cxnLst/>
              <a:rect l="l" t="t" r="r" b="b"/>
              <a:pathLst>
                <a:path w="292" h="250" extrusionOk="0">
                  <a:moveTo>
                    <a:pt x="168" y="0"/>
                  </a:moveTo>
                  <a:cubicBezTo>
                    <a:pt x="136" y="0"/>
                    <a:pt x="105" y="12"/>
                    <a:pt x="81" y="39"/>
                  </a:cubicBezTo>
                  <a:cubicBezTo>
                    <a:pt x="1" y="109"/>
                    <a:pt x="51" y="250"/>
                    <a:pt x="161" y="250"/>
                  </a:cubicBezTo>
                  <a:cubicBezTo>
                    <a:pt x="231" y="250"/>
                    <a:pt x="291" y="190"/>
                    <a:pt x="291" y="119"/>
                  </a:cubicBezTo>
                  <a:cubicBezTo>
                    <a:pt x="291" y="47"/>
                    <a:pt x="230" y="0"/>
                    <a:pt x="168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625" name="Google Shape;1624;p44"/>
            <p:cNvSpPr/>
            <p:nvPr/>
          </p:nvSpPr>
          <p:spPr>
            <a:xfrm>
              <a:off x="6004947" y="2401801"/>
              <a:ext cx="2858" cy="2847"/>
            </a:xfrm>
            <a:custGeom>
              <a:avLst/>
              <a:gdLst/>
              <a:ahLst/>
              <a:cxnLst/>
              <a:rect l="l" t="t" r="r" b="b"/>
              <a:pathLst>
                <a:path w="252" h="251" extrusionOk="0">
                  <a:moveTo>
                    <a:pt x="131" y="1"/>
                  </a:moveTo>
                  <a:cubicBezTo>
                    <a:pt x="61" y="1"/>
                    <a:pt x="1" y="61"/>
                    <a:pt x="1" y="131"/>
                  </a:cubicBezTo>
                  <a:cubicBezTo>
                    <a:pt x="1" y="201"/>
                    <a:pt x="61" y="251"/>
                    <a:pt x="131" y="251"/>
                  </a:cubicBezTo>
                  <a:cubicBezTo>
                    <a:pt x="201" y="251"/>
                    <a:pt x="251" y="201"/>
                    <a:pt x="251" y="131"/>
                  </a:cubicBezTo>
                  <a:cubicBezTo>
                    <a:pt x="251" y="61"/>
                    <a:pt x="201" y="1"/>
                    <a:pt x="131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626" name="Google Shape;1625;p44"/>
            <p:cNvSpPr/>
            <p:nvPr/>
          </p:nvSpPr>
          <p:spPr>
            <a:xfrm>
              <a:off x="5996882" y="2404319"/>
              <a:ext cx="3312" cy="2836"/>
            </a:xfrm>
            <a:custGeom>
              <a:avLst/>
              <a:gdLst/>
              <a:ahLst/>
              <a:cxnLst/>
              <a:rect l="l" t="t" r="r" b="b"/>
              <a:pathLst>
                <a:path w="292" h="250" extrusionOk="0">
                  <a:moveTo>
                    <a:pt x="167" y="0"/>
                  </a:moveTo>
                  <a:cubicBezTo>
                    <a:pt x="136" y="0"/>
                    <a:pt x="104" y="12"/>
                    <a:pt x="81" y="39"/>
                  </a:cubicBezTo>
                  <a:cubicBezTo>
                    <a:pt x="1" y="119"/>
                    <a:pt x="51" y="249"/>
                    <a:pt x="161" y="249"/>
                  </a:cubicBezTo>
                  <a:cubicBezTo>
                    <a:pt x="231" y="249"/>
                    <a:pt x="291" y="199"/>
                    <a:pt x="291" y="129"/>
                  </a:cubicBezTo>
                  <a:cubicBezTo>
                    <a:pt x="291" y="49"/>
                    <a:pt x="229" y="0"/>
                    <a:pt x="16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627" name="Google Shape;1626;p44"/>
            <p:cNvSpPr/>
            <p:nvPr/>
          </p:nvSpPr>
          <p:spPr>
            <a:xfrm>
              <a:off x="5989737" y="2406917"/>
              <a:ext cx="2734" cy="2734"/>
            </a:xfrm>
            <a:custGeom>
              <a:avLst/>
              <a:gdLst/>
              <a:ahLst/>
              <a:cxnLst/>
              <a:rect l="l" t="t" r="r" b="b"/>
              <a:pathLst>
                <a:path w="241" h="241" extrusionOk="0">
                  <a:moveTo>
                    <a:pt x="120" y="0"/>
                  </a:moveTo>
                  <a:cubicBezTo>
                    <a:pt x="50" y="0"/>
                    <a:pt x="0" y="50"/>
                    <a:pt x="0" y="120"/>
                  </a:cubicBezTo>
                  <a:cubicBezTo>
                    <a:pt x="0" y="191"/>
                    <a:pt x="50" y="241"/>
                    <a:pt x="120" y="241"/>
                  </a:cubicBezTo>
                  <a:cubicBezTo>
                    <a:pt x="190" y="241"/>
                    <a:pt x="240" y="191"/>
                    <a:pt x="240" y="120"/>
                  </a:cubicBezTo>
                  <a:cubicBezTo>
                    <a:pt x="240" y="50"/>
                    <a:pt x="190" y="0"/>
                    <a:pt x="12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628" name="Google Shape;1627;p44"/>
            <p:cNvSpPr/>
            <p:nvPr/>
          </p:nvSpPr>
          <p:spPr>
            <a:xfrm>
              <a:off x="5981559" y="2409310"/>
              <a:ext cx="3301" cy="2836"/>
            </a:xfrm>
            <a:custGeom>
              <a:avLst/>
              <a:gdLst/>
              <a:ahLst/>
              <a:cxnLst/>
              <a:rect l="l" t="t" r="r" b="b"/>
              <a:pathLst>
                <a:path w="291" h="250" extrusionOk="0">
                  <a:moveTo>
                    <a:pt x="164" y="0"/>
                  </a:moveTo>
                  <a:cubicBezTo>
                    <a:pt x="131" y="0"/>
                    <a:pt x="97" y="12"/>
                    <a:pt x="70" y="40"/>
                  </a:cubicBezTo>
                  <a:cubicBezTo>
                    <a:pt x="0" y="110"/>
                    <a:pt x="50" y="250"/>
                    <a:pt x="160" y="250"/>
                  </a:cubicBezTo>
                  <a:cubicBezTo>
                    <a:pt x="230" y="250"/>
                    <a:pt x="290" y="190"/>
                    <a:pt x="290" y="120"/>
                  </a:cubicBezTo>
                  <a:cubicBezTo>
                    <a:pt x="290" y="47"/>
                    <a:pt x="229" y="0"/>
                    <a:pt x="164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629" name="Google Shape;1628;p44"/>
            <p:cNvSpPr/>
            <p:nvPr/>
          </p:nvSpPr>
          <p:spPr>
            <a:xfrm>
              <a:off x="5973834" y="2411726"/>
              <a:ext cx="3301" cy="2926"/>
            </a:xfrm>
            <a:custGeom>
              <a:avLst/>
              <a:gdLst/>
              <a:ahLst/>
              <a:cxnLst/>
              <a:rect l="l" t="t" r="r" b="b"/>
              <a:pathLst>
                <a:path w="291" h="258" extrusionOk="0">
                  <a:moveTo>
                    <a:pt x="166" y="0"/>
                  </a:moveTo>
                  <a:cubicBezTo>
                    <a:pt x="136" y="0"/>
                    <a:pt x="106" y="11"/>
                    <a:pt x="80" y="37"/>
                  </a:cubicBezTo>
                  <a:cubicBezTo>
                    <a:pt x="0" y="117"/>
                    <a:pt x="50" y="257"/>
                    <a:pt x="170" y="257"/>
                  </a:cubicBezTo>
                  <a:cubicBezTo>
                    <a:pt x="230" y="257"/>
                    <a:pt x="291" y="197"/>
                    <a:pt x="291" y="127"/>
                  </a:cubicBezTo>
                  <a:cubicBezTo>
                    <a:pt x="291" y="52"/>
                    <a:pt x="230" y="0"/>
                    <a:pt x="166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630" name="Google Shape;1629;p44"/>
            <p:cNvSpPr/>
            <p:nvPr/>
          </p:nvSpPr>
          <p:spPr>
            <a:xfrm>
              <a:off x="5966677" y="2414300"/>
              <a:ext cx="2734" cy="2734"/>
            </a:xfrm>
            <a:custGeom>
              <a:avLst/>
              <a:gdLst/>
              <a:ahLst/>
              <a:cxnLst/>
              <a:rect l="l" t="t" r="r" b="b"/>
              <a:pathLst>
                <a:path w="241" h="241" extrusionOk="0">
                  <a:moveTo>
                    <a:pt x="120" y="0"/>
                  </a:moveTo>
                  <a:cubicBezTo>
                    <a:pt x="50" y="0"/>
                    <a:pt x="0" y="60"/>
                    <a:pt x="0" y="120"/>
                  </a:cubicBezTo>
                  <a:cubicBezTo>
                    <a:pt x="0" y="190"/>
                    <a:pt x="50" y="240"/>
                    <a:pt x="120" y="240"/>
                  </a:cubicBezTo>
                  <a:cubicBezTo>
                    <a:pt x="180" y="240"/>
                    <a:pt x="241" y="190"/>
                    <a:pt x="241" y="120"/>
                  </a:cubicBezTo>
                  <a:cubicBezTo>
                    <a:pt x="241" y="60"/>
                    <a:pt x="180" y="0"/>
                    <a:pt x="12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631" name="Google Shape;1630;p44"/>
            <p:cNvSpPr/>
            <p:nvPr/>
          </p:nvSpPr>
          <p:spPr>
            <a:xfrm>
              <a:off x="5958613" y="2416773"/>
              <a:ext cx="3074" cy="2643"/>
            </a:xfrm>
            <a:custGeom>
              <a:avLst/>
              <a:gdLst/>
              <a:ahLst/>
              <a:cxnLst/>
              <a:rect l="l" t="t" r="r" b="b"/>
              <a:pathLst>
                <a:path w="271" h="233" extrusionOk="0">
                  <a:moveTo>
                    <a:pt x="149" y="0"/>
                  </a:moveTo>
                  <a:cubicBezTo>
                    <a:pt x="121" y="0"/>
                    <a:pt x="93" y="10"/>
                    <a:pt x="70" y="33"/>
                  </a:cubicBezTo>
                  <a:cubicBezTo>
                    <a:pt x="0" y="113"/>
                    <a:pt x="50" y="233"/>
                    <a:pt x="150" y="233"/>
                  </a:cubicBezTo>
                  <a:cubicBezTo>
                    <a:pt x="211" y="233"/>
                    <a:pt x="271" y="183"/>
                    <a:pt x="271" y="123"/>
                  </a:cubicBezTo>
                  <a:cubicBezTo>
                    <a:pt x="271" y="47"/>
                    <a:pt x="210" y="0"/>
                    <a:pt x="149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632" name="Google Shape;1631;p44"/>
            <p:cNvSpPr/>
            <p:nvPr/>
          </p:nvSpPr>
          <p:spPr>
            <a:xfrm>
              <a:off x="5950888" y="2419269"/>
              <a:ext cx="3074" cy="2654"/>
            </a:xfrm>
            <a:custGeom>
              <a:avLst/>
              <a:gdLst/>
              <a:ahLst/>
              <a:cxnLst/>
              <a:rect l="l" t="t" r="r" b="b"/>
              <a:pathLst>
                <a:path w="271" h="234" extrusionOk="0">
                  <a:moveTo>
                    <a:pt x="155" y="0"/>
                  </a:moveTo>
                  <a:cubicBezTo>
                    <a:pt x="126" y="0"/>
                    <a:pt x="96" y="10"/>
                    <a:pt x="70" y="33"/>
                  </a:cubicBezTo>
                  <a:cubicBezTo>
                    <a:pt x="0" y="103"/>
                    <a:pt x="50" y="223"/>
                    <a:pt x="160" y="233"/>
                  </a:cubicBezTo>
                  <a:cubicBezTo>
                    <a:pt x="221" y="233"/>
                    <a:pt x="271" y="173"/>
                    <a:pt x="271" y="113"/>
                  </a:cubicBezTo>
                  <a:cubicBezTo>
                    <a:pt x="271" y="45"/>
                    <a:pt x="215" y="0"/>
                    <a:pt x="155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633" name="Google Shape;1632;p44"/>
            <p:cNvSpPr/>
            <p:nvPr/>
          </p:nvSpPr>
          <p:spPr>
            <a:xfrm>
              <a:off x="5943164" y="2421650"/>
              <a:ext cx="3074" cy="2654"/>
            </a:xfrm>
            <a:custGeom>
              <a:avLst/>
              <a:gdLst/>
              <a:ahLst/>
              <a:cxnLst/>
              <a:rect l="l" t="t" r="r" b="b"/>
              <a:pathLst>
                <a:path w="271" h="234" extrusionOk="0">
                  <a:moveTo>
                    <a:pt x="150" y="0"/>
                  </a:moveTo>
                  <a:cubicBezTo>
                    <a:pt x="122" y="0"/>
                    <a:pt x="93" y="11"/>
                    <a:pt x="70" y="33"/>
                  </a:cubicBezTo>
                  <a:cubicBezTo>
                    <a:pt x="0" y="103"/>
                    <a:pt x="50" y="233"/>
                    <a:pt x="151" y="233"/>
                  </a:cubicBezTo>
                  <a:cubicBezTo>
                    <a:pt x="221" y="223"/>
                    <a:pt x="271" y="173"/>
                    <a:pt x="271" y="113"/>
                  </a:cubicBezTo>
                  <a:cubicBezTo>
                    <a:pt x="271" y="45"/>
                    <a:pt x="211" y="0"/>
                    <a:pt x="15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634" name="Google Shape;1633;p44"/>
            <p:cNvSpPr/>
            <p:nvPr/>
          </p:nvSpPr>
          <p:spPr>
            <a:xfrm>
              <a:off x="5935894" y="2424066"/>
              <a:ext cx="2620" cy="2507"/>
            </a:xfrm>
            <a:custGeom>
              <a:avLst/>
              <a:gdLst/>
              <a:ahLst/>
              <a:cxnLst/>
              <a:rect l="l" t="t" r="r" b="b"/>
              <a:pathLst>
                <a:path w="231" h="221" extrusionOk="0">
                  <a:moveTo>
                    <a:pt x="111" y="0"/>
                  </a:moveTo>
                  <a:cubicBezTo>
                    <a:pt x="50" y="0"/>
                    <a:pt x="0" y="50"/>
                    <a:pt x="0" y="111"/>
                  </a:cubicBezTo>
                  <a:cubicBezTo>
                    <a:pt x="0" y="171"/>
                    <a:pt x="50" y="221"/>
                    <a:pt x="111" y="221"/>
                  </a:cubicBezTo>
                  <a:cubicBezTo>
                    <a:pt x="181" y="221"/>
                    <a:pt x="231" y="171"/>
                    <a:pt x="231" y="111"/>
                  </a:cubicBezTo>
                  <a:cubicBezTo>
                    <a:pt x="231" y="50"/>
                    <a:pt x="181" y="0"/>
                    <a:pt x="111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635" name="Google Shape;1634;p44"/>
            <p:cNvSpPr/>
            <p:nvPr/>
          </p:nvSpPr>
          <p:spPr>
            <a:xfrm>
              <a:off x="5927829" y="2426426"/>
              <a:ext cx="2960" cy="2529"/>
            </a:xfrm>
            <a:custGeom>
              <a:avLst/>
              <a:gdLst/>
              <a:ahLst/>
              <a:cxnLst/>
              <a:rect l="l" t="t" r="r" b="b"/>
              <a:pathLst>
                <a:path w="261" h="223" extrusionOk="0">
                  <a:moveTo>
                    <a:pt x="148" y="0"/>
                  </a:moveTo>
                  <a:cubicBezTo>
                    <a:pt x="121" y="0"/>
                    <a:pt x="93" y="10"/>
                    <a:pt x="71" y="33"/>
                  </a:cubicBezTo>
                  <a:cubicBezTo>
                    <a:pt x="0" y="103"/>
                    <a:pt x="50" y="223"/>
                    <a:pt x="151" y="223"/>
                  </a:cubicBezTo>
                  <a:cubicBezTo>
                    <a:pt x="211" y="223"/>
                    <a:pt x="261" y="173"/>
                    <a:pt x="261" y="113"/>
                  </a:cubicBezTo>
                  <a:cubicBezTo>
                    <a:pt x="261" y="45"/>
                    <a:pt x="206" y="0"/>
                    <a:pt x="148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636" name="Google Shape;1635;p44"/>
            <p:cNvSpPr/>
            <p:nvPr/>
          </p:nvSpPr>
          <p:spPr>
            <a:xfrm>
              <a:off x="5920105" y="2428808"/>
              <a:ext cx="2960" cy="2541"/>
            </a:xfrm>
            <a:custGeom>
              <a:avLst/>
              <a:gdLst/>
              <a:ahLst/>
              <a:cxnLst/>
              <a:rect l="l" t="t" r="r" b="b"/>
              <a:pathLst>
                <a:path w="261" h="224" extrusionOk="0">
                  <a:moveTo>
                    <a:pt x="148" y="0"/>
                  </a:moveTo>
                  <a:cubicBezTo>
                    <a:pt x="121" y="0"/>
                    <a:pt x="93" y="10"/>
                    <a:pt x="71" y="33"/>
                  </a:cubicBezTo>
                  <a:cubicBezTo>
                    <a:pt x="0" y="103"/>
                    <a:pt x="51" y="223"/>
                    <a:pt x="151" y="223"/>
                  </a:cubicBezTo>
                  <a:cubicBezTo>
                    <a:pt x="211" y="223"/>
                    <a:pt x="261" y="173"/>
                    <a:pt x="261" y="113"/>
                  </a:cubicBezTo>
                  <a:cubicBezTo>
                    <a:pt x="261" y="45"/>
                    <a:pt x="206" y="0"/>
                    <a:pt x="148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637" name="Google Shape;1636;p44"/>
            <p:cNvSpPr/>
            <p:nvPr/>
          </p:nvSpPr>
          <p:spPr>
            <a:xfrm>
              <a:off x="5912381" y="2431189"/>
              <a:ext cx="2847" cy="2427"/>
            </a:xfrm>
            <a:custGeom>
              <a:avLst/>
              <a:gdLst/>
              <a:ahLst/>
              <a:cxnLst/>
              <a:rect l="l" t="t" r="r" b="b"/>
              <a:pathLst>
                <a:path w="251" h="214" extrusionOk="0">
                  <a:moveTo>
                    <a:pt x="147" y="0"/>
                  </a:moveTo>
                  <a:cubicBezTo>
                    <a:pt x="121" y="0"/>
                    <a:pt x="94" y="10"/>
                    <a:pt x="71" y="33"/>
                  </a:cubicBezTo>
                  <a:cubicBezTo>
                    <a:pt x="1" y="93"/>
                    <a:pt x="51" y="214"/>
                    <a:pt x="151" y="214"/>
                  </a:cubicBezTo>
                  <a:cubicBezTo>
                    <a:pt x="211" y="214"/>
                    <a:pt x="251" y="163"/>
                    <a:pt x="251" y="103"/>
                  </a:cubicBezTo>
                  <a:cubicBezTo>
                    <a:pt x="251" y="43"/>
                    <a:pt x="201" y="0"/>
                    <a:pt x="14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638" name="Google Shape;1637;p44"/>
            <p:cNvSpPr/>
            <p:nvPr/>
          </p:nvSpPr>
          <p:spPr>
            <a:xfrm>
              <a:off x="5904656" y="2433458"/>
              <a:ext cx="2847" cy="2427"/>
            </a:xfrm>
            <a:custGeom>
              <a:avLst/>
              <a:gdLst/>
              <a:ahLst/>
              <a:cxnLst/>
              <a:rect l="l" t="t" r="r" b="b"/>
              <a:pathLst>
                <a:path w="251" h="214" extrusionOk="0">
                  <a:moveTo>
                    <a:pt x="146" y="1"/>
                  </a:moveTo>
                  <a:cubicBezTo>
                    <a:pt x="120" y="1"/>
                    <a:pt x="93" y="11"/>
                    <a:pt x="71" y="34"/>
                  </a:cubicBezTo>
                  <a:cubicBezTo>
                    <a:pt x="1" y="104"/>
                    <a:pt x="51" y="214"/>
                    <a:pt x="141" y="214"/>
                  </a:cubicBezTo>
                  <a:cubicBezTo>
                    <a:pt x="201" y="214"/>
                    <a:pt x="251" y="174"/>
                    <a:pt x="251" y="114"/>
                  </a:cubicBezTo>
                  <a:cubicBezTo>
                    <a:pt x="251" y="46"/>
                    <a:pt x="200" y="1"/>
                    <a:pt x="146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639" name="Google Shape;1638;p44"/>
            <p:cNvSpPr/>
            <p:nvPr/>
          </p:nvSpPr>
          <p:spPr>
            <a:xfrm>
              <a:off x="5896932" y="2435806"/>
              <a:ext cx="2847" cy="2473"/>
            </a:xfrm>
            <a:custGeom>
              <a:avLst/>
              <a:gdLst/>
              <a:ahLst/>
              <a:cxnLst/>
              <a:rect l="l" t="t" r="r" b="b"/>
              <a:pathLst>
                <a:path w="251" h="218" extrusionOk="0">
                  <a:moveTo>
                    <a:pt x="141" y="1"/>
                  </a:moveTo>
                  <a:cubicBezTo>
                    <a:pt x="117" y="1"/>
                    <a:pt x="92" y="9"/>
                    <a:pt x="71" y="27"/>
                  </a:cubicBezTo>
                  <a:cubicBezTo>
                    <a:pt x="1" y="97"/>
                    <a:pt x="51" y="207"/>
                    <a:pt x="141" y="217"/>
                  </a:cubicBezTo>
                  <a:cubicBezTo>
                    <a:pt x="201" y="217"/>
                    <a:pt x="251" y="167"/>
                    <a:pt x="251" y="107"/>
                  </a:cubicBezTo>
                  <a:cubicBezTo>
                    <a:pt x="251" y="44"/>
                    <a:pt x="197" y="1"/>
                    <a:pt x="141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640" name="Google Shape;1639;p44"/>
            <p:cNvSpPr/>
            <p:nvPr/>
          </p:nvSpPr>
          <p:spPr>
            <a:xfrm>
              <a:off x="5889662" y="2438154"/>
              <a:ext cx="2393" cy="2393"/>
            </a:xfrm>
            <a:custGeom>
              <a:avLst/>
              <a:gdLst/>
              <a:ahLst/>
              <a:cxnLst/>
              <a:rect l="l" t="t" r="r" b="b"/>
              <a:pathLst>
                <a:path w="211" h="211" extrusionOk="0">
                  <a:moveTo>
                    <a:pt x="101" y="0"/>
                  </a:moveTo>
                  <a:cubicBezTo>
                    <a:pt x="41" y="0"/>
                    <a:pt x="1" y="40"/>
                    <a:pt x="1" y="100"/>
                  </a:cubicBezTo>
                  <a:cubicBezTo>
                    <a:pt x="1" y="160"/>
                    <a:pt x="41" y="200"/>
                    <a:pt x="101" y="210"/>
                  </a:cubicBezTo>
                  <a:cubicBezTo>
                    <a:pt x="161" y="200"/>
                    <a:pt x="211" y="160"/>
                    <a:pt x="211" y="100"/>
                  </a:cubicBezTo>
                  <a:cubicBezTo>
                    <a:pt x="211" y="40"/>
                    <a:pt x="161" y="0"/>
                    <a:pt x="101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641" name="Google Shape;1640;p44"/>
            <p:cNvSpPr/>
            <p:nvPr/>
          </p:nvSpPr>
          <p:spPr>
            <a:xfrm>
              <a:off x="5881937" y="2440422"/>
              <a:ext cx="2291" cy="2280"/>
            </a:xfrm>
            <a:custGeom>
              <a:avLst/>
              <a:gdLst/>
              <a:ahLst/>
              <a:cxnLst/>
              <a:rect l="l" t="t" r="r" b="b"/>
              <a:pathLst>
                <a:path w="202" h="201" extrusionOk="0">
                  <a:moveTo>
                    <a:pt x="101" y="0"/>
                  </a:moveTo>
                  <a:cubicBezTo>
                    <a:pt x="41" y="0"/>
                    <a:pt x="1" y="40"/>
                    <a:pt x="1" y="101"/>
                  </a:cubicBezTo>
                  <a:cubicBezTo>
                    <a:pt x="1" y="161"/>
                    <a:pt x="41" y="201"/>
                    <a:pt x="101" y="201"/>
                  </a:cubicBezTo>
                  <a:cubicBezTo>
                    <a:pt x="161" y="201"/>
                    <a:pt x="201" y="161"/>
                    <a:pt x="201" y="101"/>
                  </a:cubicBezTo>
                  <a:cubicBezTo>
                    <a:pt x="201" y="40"/>
                    <a:pt x="161" y="0"/>
                    <a:pt x="101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642" name="Google Shape;1641;p44"/>
            <p:cNvSpPr/>
            <p:nvPr/>
          </p:nvSpPr>
          <p:spPr>
            <a:xfrm>
              <a:off x="5873759" y="2442623"/>
              <a:ext cx="2745" cy="2348"/>
            </a:xfrm>
            <a:custGeom>
              <a:avLst/>
              <a:gdLst/>
              <a:ahLst/>
              <a:cxnLst/>
              <a:rect l="l" t="t" r="r" b="b"/>
              <a:pathLst>
                <a:path w="242" h="207" extrusionOk="0">
                  <a:moveTo>
                    <a:pt x="131" y="0"/>
                  </a:moveTo>
                  <a:cubicBezTo>
                    <a:pt x="107" y="0"/>
                    <a:pt x="82" y="9"/>
                    <a:pt x="61" y="27"/>
                  </a:cubicBezTo>
                  <a:cubicBezTo>
                    <a:pt x="1" y="97"/>
                    <a:pt x="41" y="207"/>
                    <a:pt x="141" y="207"/>
                  </a:cubicBezTo>
                  <a:cubicBezTo>
                    <a:pt x="191" y="207"/>
                    <a:pt x="241" y="157"/>
                    <a:pt x="241" y="107"/>
                  </a:cubicBezTo>
                  <a:cubicBezTo>
                    <a:pt x="241" y="44"/>
                    <a:pt x="187" y="0"/>
                    <a:pt x="131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643" name="Google Shape;1642;p44"/>
            <p:cNvSpPr/>
            <p:nvPr/>
          </p:nvSpPr>
          <p:spPr>
            <a:xfrm>
              <a:off x="5866035" y="2444869"/>
              <a:ext cx="2631" cy="2269"/>
            </a:xfrm>
            <a:custGeom>
              <a:avLst/>
              <a:gdLst/>
              <a:ahLst/>
              <a:cxnLst/>
              <a:rect l="l" t="t" r="r" b="b"/>
              <a:pathLst>
                <a:path w="232" h="200" extrusionOk="0">
                  <a:moveTo>
                    <a:pt x="130" y="0"/>
                  </a:moveTo>
                  <a:cubicBezTo>
                    <a:pt x="105" y="0"/>
                    <a:pt x="81" y="9"/>
                    <a:pt x="61" y="29"/>
                  </a:cubicBezTo>
                  <a:cubicBezTo>
                    <a:pt x="1" y="89"/>
                    <a:pt x="41" y="199"/>
                    <a:pt x="131" y="199"/>
                  </a:cubicBezTo>
                  <a:cubicBezTo>
                    <a:pt x="191" y="199"/>
                    <a:pt x="231" y="159"/>
                    <a:pt x="231" y="99"/>
                  </a:cubicBezTo>
                  <a:cubicBezTo>
                    <a:pt x="231" y="38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644" name="Google Shape;1643;p44"/>
            <p:cNvSpPr/>
            <p:nvPr/>
          </p:nvSpPr>
          <p:spPr>
            <a:xfrm>
              <a:off x="5858651" y="2447126"/>
              <a:ext cx="2291" cy="2166"/>
            </a:xfrm>
            <a:custGeom>
              <a:avLst/>
              <a:gdLst/>
              <a:ahLst/>
              <a:cxnLst/>
              <a:rect l="l" t="t" r="r" b="b"/>
              <a:pathLst>
                <a:path w="202" h="191" extrusionOk="0">
                  <a:moveTo>
                    <a:pt x="101" y="0"/>
                  </a:moveTo>
                  <a:cubicBezTo>
                    <a:pt x="41" y="0"/>
                    <a:pt x="1" y="40"/>
                    <a:pt x="1" y="100"/>
                  </a:cubicBezTo>
                  <a:cubicBezTo>
                    <a:pt x="1" y="150"/>
                    <a:pt x="41" y="190"/>
                    <a:pt x="101" y="190"/>
                  </a:cubicBezTo>
                  <a:cubicBezTo>
                    <a:pt x="151" y="190"/>
                    <a:pt x="201" y="150"/>
                    <a:pt x="201" y="100"/>
                  </a:cubicBezTo>
                  <a:cubicBezTo>
                    <a:pt x="201" y="40"/>
                    <a:pt x="151" y="0"/>
                    <a:pt x="101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645" name="Google Shape;1644;p44"/>
            <p:cNvSpPr/>
            <p:nvPr/>
          </p:nvSpPr>
          <p:spPr>
            <a:xfrm>
              <a:off x="5850473" y="2449292"/>
              <a:ext cx="2631" cy="2269"/>
            </a:xfrm>
            <a:custGeom>
              <a:avLst/>
              <a:gdLst/>
              <a:ahLst/>
              <a:cxnLst/>
              <a:rect l="l" t="t" r="r" b="b"/>
              <a:pathLst>
                <a:path w="232" h="200" extrusionOk="0">
                  <a:moveTo>
                    <a:pt x="138" y="1"/>
                  </a:moveTo>
                  <a:cubicBezTo>
                    <a:pt x="115" y="1"/>
                    <a:pt x="91" y="10"/>
                    <a:pt x="71" y="29"/>
                  </a:cubicBezTo>
                  <a:cubicBezTo>
                    <a:pt x="1" y="90"/>
                    <a:pt x="51" y="200"/>
                    <a:pt x="141" y="200"/>
                  </a:cubicBezTo>
                  <a:cubicBezTo>
                    <a:pt x="191" y="200"/>
                    <a:pt x="231" y="150"/>
                    <a:pt x="231" y="100"/>
                  </a:cubicBezTo>
                  <a:cubicBezTo>
                    <a:pt x="231" y="39"/>
                    <a:pt x="186" y="1"/>
                    <a:pt x="138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646" name="Google Shape;1645;p44"/>
            <p:cNvSpPr/>
            <p:nvPr/>
          </p:nvSpPr>
          <p:spPr>
            <a:xfrm>
              <a:off x="5843089" y="2451436"/>
              <a:ext cx="2291" cy="2280"/>
            </a:xfrm>
            <a:custGeom>
              <a:avLst/>
              <a:gdLst/>
              <a:ahLst/>
              <a:cxnLst/>
              <a:rect l="l" t="t" r="r" b="b"/>
              <a:pathLst>
                <a:path w="202" h="201" extrusionOk="0">
                  <a:moveTo>
                    <a:pt x="101" y="1"/>
                  </a:moveTo>
                  <a:cubicBezTo>
                    <a:pt x="51" y="1"/>
                    <a:pt x="1" y="51"/>
                    <a:pt x="1" y="101"/>
                  </a:cubicBezTo>
                  <a:cubicBezTo>
                    <a:pt x="1" y="151"/>
                    <a:pt x="51" y="201"/>
                    <a:pt x="101" y="201"/>
                  </a:cubicBezTo>
                  <a:cubicBezTo>
                    <a:pt x="151" y="201"/>
                    <a:pt x="201" y="151"/>
                    <a:pt x="201" y="101"/>
                  </a:cubicBezTo>
                  <a:cubicBezTo>
                    <a:pt x="201" y="51"/>
                    <a:pt x="151" y="1"/>
                    <a:pt x="101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647" name="Google Shape;1646;p44"/>
            <p:cNvSpPr/>
            <p:nvPr/>
          </p:nvSpPr>
          <p:spPr>
            <a:xfrm>
              <a:off x="5835025" y="2453614"/>
              <a:ext cx="2518" cy="2155"/>
            </a:xfrm>
            <a:custGeom>
              <a:avLst/>
              <a:gdLst/>
              <a:ahLst/>
              <a:cxnLst/>
              <a:rect l="l" t="t" r="r" b="b"/>
              <a:pathLst>
                <a:path w="222" h="190" extrusionOk="0">
                  <a:moveTo>
                    <a:pt x="128" y="0"/>
                  </a:moveTo>
                  <a:cubicBezTo>
                    <a:pt x="105" y="0"/>
                    <a:pt x="81" y="9"/>
                    <a:pt x="61" y="29"/>
                  </a:cubicBezTo>
                  <a:cubicBezTo>
                    <a:pt x="1" y="89"/>
                    <a:pt x="41" y="189"/>
                    <a:pt x="131" y="189"/>
                  </a:cubicBezTo>
                  <a:cubicBezTo>
                    <a:pt x="181" y="189"/>
                    <a:pt x="221" y="149"/>
                    <a:pt x="221" y="99"/>
                  </a:cubicBezTo>
                  <a:cubicBezTo>
                    <a:pt x="221" y="38"/>
                    <a:pt x="176" y="0"/>
                    <a:pt x="128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648" name="Google Shape;1647;p44"/>
            <p:cNvSpPr/>
            <p:nvPr/>
          </p:nvSpPr>
          <p:spPr>
            <a:xfrm>
              <a:off x="5827187" y="2455769"/>
              <a:ext cx="2518" cy="2155"/>
            </a:xfrm>
            <a:custGeom>
              <a:avLst/>
              <a:gdLst/>
              <a:ahLst/>
              <a:cxnLst/>
              <a:rect l="l" t="t" r="r" b="b"/>
              <a:pathLst>
                <a:path w="222" h="190" extrusionOk="0">
                  <a:moveTo>
                    <a:pt x="128" y="1"/>
                  </a:moveTo>
                  <a:cubicBezTo>
                    <a:pt x="105" y="1"/>
                    <a:pt x="81" y="10"/>
                    <a:pt x="61" y="29"/>
                  </a:cubicBezTo>
                  <a:cubicBezTo>
                    <a:pt x="1" y="89"/>
                    <a:pt x="51" y="190"/>
                    <a:pt x="131" y="190"/>
                  </a:cubicBezTo>
                  <a:cubicBezTo>
                    <a:pt x="181" y="190"/>
                    <a:pt x="221" y="149"/>
                    <a:pt x="221" y="99"/>
                  </a:cubicBezTo>
                  <a:cubicBezTo>
                    <a:pt x="221" y="39"/>
                    <a:pt x="176" y="1"/>
                    <a:pt x="128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649" name="Google Shape;1648;p44"/>
            <p:cNvSpPr/>
            <p:nvPr/>
          </p:nvSpPr>
          <p:spPr>
            <a:xfrm>
              <a:off x="5819474" y="2457924"/>
              <a:ext cx="2507" cy="2042"/>
            </a:xfrm>
            <a:custGeom>
              <a:avLst/>
              <a:gdLst/>
              <a:ahLst/>
              <a:cxnLst/>
              <a:rect l="l" t="t" r="r" b="b"/>
              <a:pathLst>
                <a:path w="221" h="180" extrusionOk="0">
                  <a:moveTo>
                    <a:pt x="128" y="1"/>
                  </a:moveTo>
                  <a:cubicBezTo>
                    <a:pt x="105" y="1"/>
                    <a:pt x="80" y="10"/>
                    <a:pt x="60" y="30"/>
                  </a:cubicBezTo>
                  <a:cubicBezTo>
                    <a:pt x="0" y="80"/>
                    <a:pt x="40" y="180"/>
                    <a:pt x="120" y="180"/>
                  </a:cubicBezTo>
                  <a:cubicBezTo>
                    <a:pt x="170" y="180"/>
                    <a:pt x="220" y="140"/>
                    <a:pt x="220" y="90"/>
                  </a:cubicBezTo>
                  <a:cubicBezTo>
                    <a:pt x="220" y="36"/>
                    <a:pt x="176" y="1"/>
                    <a:pt x="128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650" name="Google Shape;1649;p44"/>
            <p:cNvSpPr/>
            <p:nvPr/>
          </p:nvSpPr>
          <p:spPr>
            <a:xfrm>
              <a:off x="5812090" y="2459954"/>
              <a:ext cx="2053" cy="2178"/>
            </a:xfrm>
            <a:custGeom>
              <a:avLst/>
              <a:gdLst/>
              <a:ahLst/>
              <a:cxnLst/>
              <a:rect l="l" t="t" r="r" b="b"/>
              <a:pathLst>
                <a:path w="181" h="192" extrusionOk="0">
                  <a:moveTo>
                    <a:pt x="90" y="1"/>
                  </a:moveTo>
                  <a:cubicBezTo>
                    <a:pt x="40" y="1"/>
                    <a:pt x="0" y="51"/>
                    <a:pt x="0" y="101"/>
                  </a:cubicBezTo>
                  <a:cubicBezTo>
                    <a:pt x="0" y="151"/>
                    <a:pt x="40" y="191"/>
                    <a:pt x="90" y="191"/>
                  </a:cubicBezTo>
                  <a:cubicBezTo>
                    <a:pt x="140" y="191"/>
                    <a:pt x="180" y="141"/>
                    <a:pt x="180" y="101"/>
                  </a:cubicBezTo>
                  <a:cubicBezTo>
                    <a:pt x="180" y="51"/>
                    <a:pt x="140" y="1"/>
                    <a:pt x="90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651" name="Google Shape;1650;p44"/>
            <p:cNvSpPr/>
            <p:nvPr/>
          </p:nvSpPr>
          <p:spPr>
            <a:xfrm>
              <a:off x="5803912" y="2462086"/>
              <a:ext cx="2393" cy="2087"/>
            </a:xfrm>
            <a:custGeom>
              <a:avLst/>
              <a:gdLst/>
              <a:ahLst/>
              <a:cxnLst/>
              <a:rect l="l" t="t" r="r" b="b"/>
              <a:pathLst>
                <a:path w="211" h="184" extrusionOk="0">
                  <a:moveTo>
                    <a:pt x="112" y="1"/>
                  </a:moveTo>
                  <a:cubicBezTo>
                    <a:pt x="90" y="1"/>
                    <a:pt x="68" y="8"/>
                    <a:pt x="50" y="23"/>
                  </a:cubicBezTo>
                  <a:cubicBezTo>
                    <a:pt x="0" y="83"/>
                    <a:pt x="40" y="183"/>
                    <a:pt x="120" y="183"/>
                  </a:cubicBezTo>
                  <a:cubicBezTo>
                    <a:pt x="170" y="183"/>
                    <a:pt x="210" y="143"/>
                    <a:pt x="210" y="93"/>
                  </a:cubicBezTo>
                  <a:cubicBezTo>
                    <a:pt x="210" y="37"/>
                    <a:pt x="162" y="1"/>
                    <a:pt x="112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652" name="Google Shape;1651;p44"/>
            <p:cNvSpPr/>
            <p:nvPr/>
          </p:nvSpPr>
          <p:spPr>
            <a:xfrm>
              <a:off x="5796415" y="2464162"/>
              <a:ext cx="2053" cy="1940"/>
            </a:xfrm>
            <a:custGeom>
              <a:avLst/>
              <a:gdLst/>
              <a:ahLst/>
              <a:cxnLst/>
              <a:rect l="l" t="t" r="r" b="b"/>
              <a:pathLst>
                <a:path w="181" h="171" extrusionOk="0">
                  <a:moveTo>
                    <a:pt x="90" y="0"/>
                  </a:moveTo>
                  <a:cubicBezTo>
                    <a:pt x="40" y="0"/>
                    <a:pt x="0" y="40"/>
                    <a:pt x="0" y="90"/>
                  </a:cubicBezTo>
                  <a:cubicBezTo>
                    <a:pt x="0" y="140"/>
                    <a:pt x="40" y="171"/>
                    <a:pt x="90" y="171"/>
                  </a:cubicBezTo>
                  <a:cubicBezTo>
                    <a:pt x="140" y="171"/>
                    <a:pt x="180" y="140"/>
                    <a:pt x="180" y="90"/>
                  </a:cubicBezTo>
                  <a:cubicBezTo>
                    <a:pt x="180" y="40"/>
                    <a:pt x="140" y="0"/>
                    <a:pt x="9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653" name="Google Shape;1652;p44"/>
            <p:cNvSpPr/>
            <p:nvPr/>
          </p:nvSpPr>
          <p:spPr>
            <a:xfrm>
              <a:off x="5788350" y="2466181"/>
              <a:ext cx="2280" cy="1962"/>
            </a:xfrm>
            <a:custGeom>
              <a:avLst/>
              <a:gdLst/>
              <a:ahLst/>
              <a:cxnLst/>
              <a:rect l="l" t="t" r="r" b="b"/>
              <a:pathLst>
                <a:path w="201" h="173" extrusionOk="0">
                  <a:moveTo>
                    <a:pt x="110" y="0"/>
                  </a:moveTo>
                  <a:cubicBezTo>
                    <a:pt x="89" y="0"/>
                    <a:pt x="68" y="7"/>
                    <a:pt x="50" y="23"/>
                  </a:cubicBezTo>
                  <a:cubicBezTo>
                    <a:pt x="0" y="83"/>
                    <a:pt x="40" y="173"/>
                    <a:pt x="110" y="173"/>
                  </a:cubicBezTo>
                  <a:cubicBezTo>
                    <a:pt x="160" y="173"/>
                    <a:pt x="200" y="133"/>
                    <a:pt x="200" y="93"/>
                  </a:cubicBezTo>
                  <a:cubicBezTo>
                    <a:pt x="200" y="37"/>
                    <a:pt x="157" y="0"/>
                    <a:pt x="11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654" name="Google Shape;1653;p44"/>
            <p:cNvSpPr/>
            <p:nvPr/>
          </p:nvSpPr>
          <p:spPr>
            <a:xfrm>
              <a:off x="5780513" y="2468223"/>
              <a:ext cx="2280" cy="1974"/>
            </a:xfrm>
            <a:custGeom>
              <a:avLst/>
              <a:gdLst/>
              <a:ahLst/>
              <a:cxnLst/>
              <a:rect l="l" t="t" r="r" b="b"/>
              <a:pathLst>
                <a:path w="201" h="174" extrusionOk="0">
                  <a:moveTo>
                    <a:pt x="111" y="0"/>
                  </a:moveTo>
                  <a:cubicBezTo>
                    <a:pt x="90" y="0"/>
                    <a:pt x="69" y="7"/>
                    <a:pt x="50" y="23"/>
                  </a:cubicBezTo>
                  <a:cubicBezTo>
                    <a:pt x="0" y="83"/>
                    <a:pt x="40" y="173"/>
                    <a:pt x="120" y="173"/>
                  </a:cubicBezTo>
                  <a:cubicBezTo>
                    <a:pt x="160" y="173"/>
                    <a:pt x="201" y="133"/>
                    <a:pt x="201" y="83"/>
                  </a:cubicBezTo>
                  <a:cubicBezTo>
                    <a:pt x="201" y="35"/>
                    <a:pt x="158" y="0"/>
                    <a:pt x="111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655" name="Google Shape;1654;p44"/>
            <p:cNvSpPr/>
            <p:nvPr/>
          </p:nvSpPr>
          <p:spPr>
            <a:xfrm>
              <a:off x="5772675" y="2470196"/>
              <a:ext cx="2280" cy="1928"/>
            </a:xfrm>
            <a:custGeom>
              <a:avLst/>
              <a:gdLst/>
              <a:ahLst/>
              <a:cxnLst/>
              <a:rect l="l" t="t" r="r" b="b"/>
              <a:pathLst>
                <a:path w="201" h="170" extrusionOk="0">
                  <a:moveTo>
                    <a:pt x="119" y="0"/>
                  </a:moveTo>
                  <a:cubicBezTo>
                    <a:pt x="98" y="0"/>
                    <a:pt x="77" y="9"/>
                    <a:pt x="60" y="29"/>
                  </a:cubicBezTo>
                  <a:cubicBezTo>
                    <a:pt x="0" y="79"/>
                    <a:pt x="40" y="169"/>
                    <a:pt x="120" y="169"/>
                  </a:cubicBezTo>
                  <a:cubicBezTo>
                    <a:pt x="160" y="169"/>
                    <a:pt x="201" y="129"/>
                    <a:pt x="201" y="89"/>
                  </a:cubicBezTo>
                  <a:cubicBezTo>
                    <a:pt x="201" y="36"/>
                    <a:pt x="160" y="0"/>
                    <a:pt x="119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656" name="Google Shape;1655;p44"/>
            <p:cNvSpPr/>
            <p:nvPr/>
          </p:nvSpPr>
          <p:spPr>
            <a:xfrm>
              <a:off x="5764951" y="2472227"/>
              <a:ext cx="2507" cy="1826"/>
            </a:xfrm>
            <a:custGeom>
              <a:avLst/>
              <a:gdLst/>
              <a:ahLst/>
              <a:cxnLst/>
              <a:rect l="l" t="t" r="r" b="b"/>
              <a:pathLst>
                <a:path w="221" h="161" extrusionOk="0">
                  <a:moveTo>
                    <a:pt x="110" y="0"/>
                  </a:moveTo>
                  <a:cubicBezTo>
                    <a:pt x="0" y="0"/>
                    <a:pt x="0" y="160"/>
                    <a:pt x="110" y="160"/>
                  </a:cubicBezTo>
                  <a:cubicBezTo>
                    <a:pt x="221" y="160"/>
                    <a:pt x="221" y="0"/>
                    <a:pt x="11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657" name="Google Shape;1656;p44"/>
            <p:cNvSpPr/>
            <p:nvPr/>
          </p:nvSpPr>
          <p:spPr>
            <a:xfrm>
              <a:off x="5757453" y="2474155"/>
              <a:ext cx="1826" cy="1826"/>
            </a:xfrm>
            <a:custGeom>
              <a:avLst/>
              <a:gdLst/>
              <a:ahLst/>
              <a:cxnLst/>
              <a:rect l="l" t="t" r="r" b="b"/>
              <a:pathLst>
                <a:path w="161" h="161" extrusionOk="0">
                  <a:moveTo>
                    <a:pt x="81" y="1"/>
                  </a:moveTo>
                  <a:cubicBezTo>
                    <a:pt x="30" y="1"/>
                    <a:pt x="0" y="41"/>
                    <a:pt x="0" y="81"/>
                  </a:cubicBezTo>
                  <a:cubicBezTo>
                    <a:pt x="0" y="121"/>
                    <a:pt x="30" y="161"/>
                    <a:pt x="81" y="161"/>
                  </a:cubicBezTo>
                  <a:cubicBezTo>
                    <a:pt x="121" y="161"/>
                    <a:pt x="161" y="121"/>
                    <a:pt x="161" y="81"/>
                  </a:cubicBezTo>
                  <a:cubicBezTo>
                    <a:pt x="161" y="41"/>
                    <a:pt x="121" y="1"/>
                    <a:pt x="81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658" name="Google Shape;1657;p44"/>
            <p:cNvSpPr/>
            <p:nvPr/>
          </p:nvSpPr>
          <p:spPr>
            <a:xfrm>
              <a:off x="5749400" y="2476628"/>
              <a:ext cx="2042" cy="1395"/>
            </a:xfrm>
            <a:custGeom>
              <a:avLst/>
              <a:gdLst/>
              <a:ahLst/>
              <a:cxnLst/>
              <a:rect l="l" t="t" r="r" b="b"/>
              <a:pathLst>
                <a:path w="180" h="123" extrusionOk="0">
                  <a:moveTo>
                    <a:pt x="152" y="0"/>
                  </a:moveTo>
                  <a:cubicBezTo>
                    <a:pt x="99" y="0"/>
                    <a:pt x="0" y="123"/>
                    <a:pt x="100" y="123"/>
                  </a:cubicBezTo>
                  <a:cubicBezTo>
                    <a:pt x="140" y="123"/>
                    <a:pt x="180" y="83"/>
                    <a:pt x="180" y="43"/>
                  </a:cubicBezTo>
                  <a:cubicBezTo>
                    <a:pt x="180" y="12"/>
                    <a:pt x="168" y="0"/>
                    <a:pt x="152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659" name="Google Shape;1658;p44"/>
            <p:cNvSpPr/>
            <p:nvPr/>
          </p:nvSpPr>
          <p:spPr>
            <a:xfrm>
              <a:off x="5741619" y="2478442"/>
              <a:ext cx="1872" cy="1293"/>
            </a:xfrm>
            <a:custGeom>
              <a:avLst/>
              <a:gdLst/>
              <a:ahLst/>
              <a:cxnLst/>
              <a:rect l="l" t="t" r="r" b="b"/>
              <a:pathLst>
                <a:path w="165" h="114" extrusionOk="0">
                  <a:moveTo>
                    <a:pt x="138" y="0"/>
                  </a:moveTo>
                  <a:cubicBezTo>
                    <a:pt x="90" y="0"/>
                    <a:pt x="1" y="114"/>
                    <a:pt x="86" y="114"/>
                  </a:cubicBezTo>
                  <a:cubicBezTo>
                    <a:pt x="89" y="114"/>
                    <a:pt x="92" y="113"/>
                    <a:pt x="95" y="113"/>
                  </a:cubicBezTo>
                  <a:cubicBezTo>
                    <a:pt x="135" y="113"/>
                    <a:pt x="165" y="83"/>
                    <a:pt x="165" y="43"/>
                  </a:cubicBezTo>
                  <a:cubicBezTo>
                    <a:pt x="165" y="12"/>
                    <a:pt x="153" y="0"/>
                    <a:pt x="138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660" name="Google Shape;1659;p44"/>
            <p:cNvSpPr/>
            <p:nvPr/>
          </p:nvSpPr>
          <p:spPr>
            <a:xfrm>
              <a:off x="5733940" y="2479837"/>
              <a:ext cx="1713" cy="1826"/>
            </a:xfrm>
            <a:custGeom>
              <a:avLst/>
              <a:gdLst/>
              <a:ahLst/>
              <a:cxnLst/>
              <a:rect l="l" t="t" r="r" b="b"/>
              <a:pathLst>
                <a:path w="151" h="161" extrusionOk="0">
                  <a:moveTo>
                    <a:pt x="71" y="0"/>
                  </a:moveTo>
                  <a:cubicBezTo>
                    <a:pt x="31" y="0"/>
                    <a:pt x="0" y="40"/>
                    <a:pt x="0" y="80"/>
                  </a:cubicBezTo>
                  <a:cubicBezTo>
                    <a:pt x="0" y="120"/>
                    <a:pt x="31" y="160"/>
                    <a:pt x="71" y="160"/>
                  </a:cubicBezTo>
                  <a:cubicBezTo>
                    <a:pt x="121" y="160"/>
                    <a:pt x="151" y="120"/>
                    <a:pt x="151" y="80"/>
                  </a:cubicBezTo>
                  <a:cubicBezTo>
                    <a:pt x="151" y="40"/>
                    <a:pt x="121" y="0"/>
                    <a:pt x="71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661" name="Google Shape;1660;p44"/>
            <p:cNvSpPr/>
            <p:nvPr/>
          </p:nvSpPr>
          <p:spPr>
            <a:xfrm>
              <a:off x="5725853" y="2482129"/>
              <a:ext cx="1962" cy="1350"/>
            </a:xfrm>
            <a:custGeom>
              <a:avLst/>
              <a:gdLst/>
              <a:ahLst/>
              <a:cxnLst/>
              <a:rect l="l" t="t" r="r" b="b"/>
              <a:pathLst>
                <a:path w="173" h="119" extrusionOk="0">
                  <a:moveTo>
                    <a:pt x="143" y="0"/>
                  </a:moveTo>
                  <a:cubicBezTo>
                    <a:pt x="91" y="0"/>
                    <a:pt x="0" y="119"/>
                    <a:pt x="93" y="119"/>
                  </a:cubicBezTo>
                  <a:cubicBezTo>
                    <a:pt x="133" y="119"/>
                    <a:pt x="173" y="79"/>
                    <a:pt x="173" y="39"/>
                  </a:cubicBezTo>
                  <a:cubicBezTo>
                    <a:pt x="170" y="11"/>
                    <a:pt x="159" y="0"/>
                    <a:pt x="143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662" name="Google Shape;1661;p44"/>
            <p:cNvSpPr/>
            <p:nvPr/>
          </p:nvSpPr>
          <p:spPr>
            <a:xfrm>
              <a:off x="5718265" y="2483580"/>
              <a:ext cx="1599" cy="1713"/>
            </a:xfrm>
            <a:custGeom>
              <a:avLst/>
              <a:gdLst/>
              <a:ahLst/>
              <a:cxnLst/>
              <a:rect l="l" t="t" r="r" b="b"/>
              <a:pathLst>
                <a:path w="141" h="151" extrusionOk="0">
                  <a:moveTo>
                    <a:pt x="71" y="1"/>
                  </a:moveTo>
                  <a:cubicBezTo>
                    <a:pt x="31" y="1"/>
                    <a:pt x="1" y="31"/>
                    <a:pt x="1" y="71"/>
                  </a:cubicBezTo>
                  <a:cubicBezTo>
                    <a:pt x="1" y="111"/>
                    <a:pt x="31" y="151"/>
                    <a:pt x="71" y="151"/>
                  </a:cubicBezTo>
                  <a:cubicBezTo>
                    <a:pt x="111" y="151"/>
                    <a:pt x="141" y="111"/>
                    <a:pt x="141" y="71"/>
                  </a:cubicBezTo>
                  <a:cubicBezTo>
                    <a:pt x="141" y="31"/>
                    <a:pt x="111" y="1"/>
                    <a:pt x="71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663" name="Google Shape;1662;p44"/>
            <p:cNvSpPr/>
            <p:nvPr/>
          </p:nvSpPr>
          <p:spPr>
            <a:xfrm>
              <a:off x="5710314" y="2485395"/>
              <a:ext cx="1713" cy="1724"/>
            </a:xfrm>
            <a:custGeom>
              <a:avLst/>
              <a:gdLst/>
              <a:ahLst/>
              <a:cxnLst/>
              <a:rect l="l" t="t" r="r" b="b"/>
              <a:pathLst>
                <a:path w="151" h="152" extrusionOk="0">
                  <a:moveTo>
                    <a:pt x="81" y="1"/>
                  </a:moveTo>
                  <a:cubicBezTo>
                    <a:pt x="41" y="1"/>
                    <a:pt x="1" y="31"/>
                    <a:pt x="1" y="71"/>
                  </a:cubicBezTo>
                  <a:cubicBezTo>
                    <a:pt x="1" y="111"/>
                    <a:pt x="41" y="151"/>
                    <a:pt x="81" y="151"/>
                  </a:cubicBezTo>
                  <a:cubicBezTo>
                    <a:pt x="121" y="151"/>
                    <a:pt x="151" y="111"/>
                    <a:pt x="151" y="71"/>
                  </a:cubicBezTo>
                  <a:cubicBezTo>
                    <a:pt x="151" y="31"/>
                    <a:pt x="121" y="1"/>
                    <a:pt x="81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664" name="Google Shape;1663;p44"/>
            <p:cNvSpPr/>
            <p:nvPr/>
          </p:nvSpPr>
          <p:spPr>
            <a:xfrm>
              <a:off x="5702476" y="2487221"/>
              <a:ext cx="1599" cy="1599"/>
            </a:xfrm>
            <a:custGeom>
              <a:avLst/>
              <a:gdLst/>
              <a:ahLst/>
              <a:cxnLst/>
              <a:rect l="l" t="t" r="r" b="b"/>
              <a:pathLst>
                <a:path w="141" h="141" extrusionOk="0">
                  <a:moveTo>
                    <a:pt x="71" y="0"/>
                  </a:moveTo>
                  <a:cubicBezTo>
                    <a:pt x="31" y="0"/>
                    <a:pt x="1" y="30"/>
                    <a:pt x="1" y="70"/>
                  </a:cubicBezTo>
                  <a:cubicBezTo>
                    <a:pt x="1" y="110"/>
                    <a:pt x="31" y="140"/>
                    <a:pt x="71" y="140"/>
                  </a:cubicBezTo>
                  <a:cubicBezTo>
                    <a:pt x="111" y="140"/>
                    <a:pt x="141" y="110"/>
                    <a:pt x="141" y="70"/>
                  </a:cubicBezTo>
                  <a:cubicBezTo>
                    <a:pt x="141" y="30"/>
                    <a:pt x="111" y="0"/>
                    <a:pt x="71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665" name="Google Shape;1664;p44"/>
            <p:cNvSpPr/>
            <p:nvPr/>
          </p:nvSpPr>
          <p:spPr>
            <a:xfrm>
              <a:off x="5694480" y="2489308"/>
              <a:ext cx="1758" cy="1214"/>
            </a:xfrm>
            <a:custGeom>
              <a:avLst/>
              <a:gdLst/>
              <a:ahLst/>
              <a:cxnLst/>
              <a:rect l="l" t="t" r="r" b="b"/>
              <a:pathLst>
                <a:path w="155" h="107" extrusionOk="0">
                  <a:moveTo>
                    <a:pt x="131" y="1"/>
                  </a:moveTo>
                  <a:cubicBezTo>
                    <a:pt x="86" y="1"/>
                    <a:pt x="0" y="107"/>
                    <a:pt x="85" y="107"/>
                  </a:cubicBezTo>
                  <a:cubicBezTo>
                    <a:pt x="125" y="107"/>
                    <a:pt x="155" y="76"/>
                    <a:pt x="155" y="36"/>
                  </a:cubicBezTo>
                  <a:cubicBezTo>
                    <a:pt x="155" y="11"/>
                    <a:pt x="145" y="1"/>
                    <a:pt x="131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666" name="Google Shape;1665;p44"/>
            <p:cNvSpPr/>
            <p:nvPr/>
          </p:nvSpPr>
          <p:spPr>
            <a:xfrm>
              <a:off x="5686801" y="2490851"/>
              <a:ext cx="1486" cy="1486"/>
            </a:xfrm>
            <a:custGeom>
              <a:avLst/>
              <a:gdLst/>
              <a:ahLst/>
              <a:cxnLst/>
              <a:rect l="l" t="t" r="r" b="b"/>
              <a:pathLst>
                <a:path w="131" h="131" extrusionOk="0">
                  <a:moveTo>
                    <a:pt x="66" y="1"/>
                  </a:moveTo>
                  <a:cubicBezTo>
                    <a:pt x="36" y="1"/>
                    <a:pt x="6" y="21"/>
                    <a:pt x="1" y="61"/>
                  </a:cubicBezTo>
                  <a:cubicBezTo>
                    <a:pt x="1" y="91"/>
                    <a:pt x="31" y="121"/>
                    <a:pt x="61" y="131"/>
                  </a:cubicBezTo>
                  <a:cubicBezTo>
                    <a:pt x="101" y="131"/>
                    <a:pt x="131" y="91"/>
                    <a:pt x="131" y="61"/>
                  </a:cubicBezTo>
                  <a:cubicBezTo>
                    <a:pt x="126" y="21"/>
                    <a:pt x="96" y="1"/>
                    <a:pt x="66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667" name="Google Shape;1666;p44"/>
            <p:cNvSpPr/>
            <p:nvPr/>
          </p:nvSpPr>
          <p:spPr>
            <a:xfrm>
              <a:off x="5678850" y="2492439"/>
              <a:ext cx="1599" cy="1486"/>
            </a:xfrm>
            <a:custGeom>
              <a:avLst/>
              <a:gdLst/>
              <a:ahLst/>
              <a:cxnLst/>
              <a:rect l="l" t="t" r="r" b="b"/>
              <a:pathLst>
                <a:path w="141" h="131" extrusionOk="0">
                  <a:moveTo>
                    <a:pt x="71" y="1"/>
                  </a:moveTo>
                  <a:cubicBezTo>
                    <a:pt x="31" y="1"/>
                    <a:pt x="1" y="31"/>
                    <a:pt x="1" y="71"/>
                  </a:cubicBezTo>
                  <a:cubicBezTo>
                    <a:pt x="1" y="101"/>
                    <a:pt x="31" y="131"/>
                    <a:pt x="71" y="131"/>
                  </a:cubicBezTo>
                  <a:cubicBezTo>
                    <a:pt x="111" y="131"/>
                    <a:pt x="141" y="101"/>
                    <a:pt x="141" y="71"/>
                  </a:cubicBezTo>
                  <a:cubicBezTo>
                    <a:pt x="141" y="31"/>
                    <a:pt x="111" y="1"/>
                    <a:pt x="71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668" name="Google Shape;1667;p44"/>
            <p:cNvSpPr/>
            <p:nvPr/>
          </p:nvSpPr>
          <p:spPr>
            <a:xfrm>
              <a:off x="5671012" y="2494140"/>
              <a:ext cx="1486" cy="1497"/>
            </a:xfrm>
            <a:custGeom>
              <a:avLst/>
              <a:gdLst/>
              <a:ahLst/>
              <a:cxnLst/>
              <a:rect l="l" t="t" r="r" b="b"/>
              <a:pathLst>
                <a:path w="131" h="132" extrusionOk="0">
                  <a:moveTo>
                    <a:pt x="71" y="1"/>
                  </a:moveTo>
                  <a:cubicBezTo>
                    <a:pt x="31" y="1"/>
                    <a:pt x="1" y="31"/>
                    <a:pt x="1" y="61"/>
                  </a:cubicBezTo>
                  <a:cubicBezTo>
                    <a:pt x="1" y="101"/>
                    <a:pt x="31" y="131"/>
                    <a:pt x="71" y="131"/>
                  </a:cubicBezTo>
                  <a:cubicBezTo>
                    <a:pt x="101" y="131"/>
                    <a:pt x="131" y="101"/>
                    <a:pt x="131" y="61"/>
                  </a:cubicBezTo>
                  <a:cubicBezTo>
                    <a:pt x="131" y="31"/>
                    <a:pt x="101" y="1"/>
                    <a:pt x="71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669" name="Google Shape;1668;p44"/>
            <p:cNvSpPr/>
            <p:nvPr/>
          </p:nvSpPr>
          <p:spPr>
            <a:xfrm>
              <a:off x="5662948" y="2495853"/>
              <a:ext cx="1713" cy="1486"/>
            </a:xfrm>
            <a:custGeom>
              <a:avLst/>
              <a:gdLst/>
              <a:ahLst/>
              <a:cxnLst/>
              <a:rect l="l" t="t" r="r" b="b"/>
              <a:pathLst>
                <a:path w="151" h="131" extrusionOk="0">
                  <a:moveTo>
                    <a:pt x="76" y="0"/>
                  </a:moveTo>
                  <a:cubicBezTo>
                    <a:pt x="38" y="0"/>
                    <a:pt x="1" y="20"/>
                    <a:pt x="11" y="60"/>
                  </a:cubicBezTo>
                  <a:cubicBezTo>
                    <a:pt x="11" y="100"/>
                    <a:pt x="41" y="130"/>
                    <a:pt x="81" y="130"/>
                  </a:cubicBezTo>
                  <a:cubicBezTo>
                    <a:pt x="111" y="120"/>
                    <a:pt x="141" y="90"/>
                    <a:pt x="141" y="60"/>
                  </a:cubicBezTo>
                  <a:cubicBezTo>
                    <a:pt x="151" y="20"/>
                    <a:pt x="113" y="0"/>
                    <a:pt x="76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670" name="Google Shape;1669;p44"/>
            <p:cNvSpPr/>
            <p:nvPr/>
          </p:nvSpPr>
          <p:spPr>
            <a:xfrm>
              <a:off x="5655224" y="2497611"/>
              <a:ext cx="1372" cy="1316"/>
            </a:xfrm>
            <a:custGeom>
              <a:avLst/>
              <a:gdLst/>
              <a:ahLst/>
              <a:cxnLst/>
              <a:rect l="l" t="t" r="r" b="b"/>
              <a:pathLst>
                <a:path w="121" h="116" extrusionOk="0">
                  <a:moveTo>
                    <a:pt x="61" y="0"/>
                  </a:moveTo>
                  <a:cubicBezTo>
                    <a:pt x="33" y="0"/>
                    <a:pt x="6" y="15"/>
                    <a:pt x="1" y="45"/>
                  </a:cubicBezTo>
                  <a:cubicBezTo>
                    <a:pt x="1" y="86"/>
                    <a:pt x="21" y="116"/>
                    <a:pt x="61" y="116"/>
                  </a:cubicBezTo>
                  <a:cubicBezTo>
                    <a:pt x="91" y="116"/>
                    <a:pt x="121" y="86"/>
                    <a:pt x="121" y="45"/>
                  </a:cubicBezTo>
                  <a:cubicBezTo>
                    <a:pt x="116" y="15"/>
                    <a:pt x="88" y="0"/>
                    <a:pt x="61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671" name="Google Shape;1670;p44"/>
            <p:cNvSpPr/>
            <p:nvPr/>
          </p:nvSpPr>
          <p:spPr>
            <a:xfrm>
              <a:off x="5647204" y="2499449"/>
              <a:ext cx="1554" cy="1066"/>
            </a:xfrm>
            <a:custGeom>
              <a:avLst/>
              <a:gdLst/>
              <a:ahLst/>
              <a:cxnLst/>
              <a:rect l="l" t="t" r="r" b="b"/>
              <a:pathLst>
                <a:path w="137" h="94" extrusionOk="0">
                  <a:moveTo>
                    <a:pt x="115" y="1"/>
                  </a:moveTo>
                  <a:cubicBezTo>
                    <a:pt x="75" y="1"/>
                    <a:pt x="1" y="94"/>
                    <a:pt x="77" y="94"/>
                  </a:cubicBezTo>
                  <a:cubicBezTo>
                    <a:pt x="107" y="94"/>
                    <a:pt x="137" y="64"/>
                    <a:pt x="137" y="34"/>
                  </a:cubicBezTo>
                  <a:cubicBezTo>
                    <a:pt x="137" y="10"/>
                    <a:pt x="128" y="1"/>
                    <a:pt x="115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672" name="Google Shape;1671;p44"/>
            <p:cNvSpPr/>
            <p:nvPr/>
          </p:nvSpPr>
          <p:spPr>
            <a:xfrm>
              <a:off x="5639435" y="2500730"/>
              <a:ext cx="1372" cy="1372"/>
            </a:xfrm>
            <a:custGeom>
              <a:avLst/>
              <a:gdLst/>
              <a:ahLst/>
              <a:cxnLst/>
              <a:rect l="l" t="t" r="r" b="b"/>
              <a:pathLst>
                <a:path w="121" h="121" extrusionOk="0">
                  <a:moveTo>
                    <a:pt x="61" y="1"/>
                  </a:moveTo>
                  <a:cubicBezTo>
                    <a:pt x="31" y="1"/>
                    <a:pt x="1" y="21"/>
                    <a:pt x="1" y="61"/>
                  </a:cubicBezTo>
                  <a:cubicBezTo>
                    <a:pt x="1" y="91"/>
                    <a:pt x="31" y="121"/>
                    <a:pt x="61" y="121"/>
                  </a:cubicBezTo>
                  <a:cubicBezTo>
                    <a:pt x="91" y="121"/>
                    <a:pt x="121" y="91"/>
                    <a:pt x="121" y="61"/>
                  </a:cubicBezTo>
                  <a:cubicBezTo>
                    <a:pt x="121" y="21"/>
                    <a:pt x="91" y="1"/>
                    <a:pt x="61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673" name="Google Shape;1672;p44"/>
            <p:cNvSpPr/>
            <p:nvPr/>
          </p:nvSpPr>
          <p:spPr>
            <a:xfrm>
              <a:off x="5631393" y="2502522"/>
              <a:ext cx="1475" cy="1066"/>
            </a:xfrm>
            <a:custGeom>
              <a:avLst/>
              <a:gdLst/>
              <a:ahLst/>
              <a:cxnLst/>
              <a:rect l="l" t="t" r="r" b="b"/>
              <a:pathLst>
                <a:path w="130" h="94" extrusionOk="0">
                  <a:moveTo>
                    <a:pt x="109" y="0"/>
                  </a:moveTo>
                  <a:cubicBezTo>
                    <a:pt x="71" y="0"/>
                    <a:pt x="0" y="93"/>
                    <a:pt x="69" y="93"/>
                  </a:cubicBezTo>
                  <a:cubicBezTo>
                    <a:pt x="99" y="93"/>
                    <a:pt x="129" y="63"/>
                    <a:pt x="129" y="33"/>
                  </a:cubicBezTo>
                  <a:cubicBezTo>
                    <a:pt x="129" y="9"/>
                    <a:pt x="120" y="0"/>
                    <a:pt x="109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674" name="Google Shape;1673;p44"/>
            <p:cNvSpPr/>
            <p:nvPr/>
          </p:nvSpPr>
          <p:spPr>
            <a:xfrm>
              <a:off x="5623646" y="2503804"/>
              <a:ext cx="1270" cy="1259"/>
            </a:xfrm>
            <a:custGeom>
              <a:avLst/>
              <a:gdLst/>
              <a:ahLst/>
              <a:cxnLst/>
              <a:rect l="l" t="t" r="r" b="b"/>
              <a:pathLst>
                <a:path w="112" h="111" extrusionOk="0">
                  <a:moveTo>
                    <a:pt x="51" y="0"/>
                  </a:moveTo>
                  <a:cubicBezTo>
                    <a:pt x="21" y="0"/>
                    <a:pt x="1" y="20"/>
                    <a:pt x="1" y="60"/>
                  </a:cubicBezTo>
                  <a:cubicBezTo>
                    <a:pt x="1" y="90"/>
                    <a:pt x="21" y="110"/>
                    <a:pt x="51" y="110"/>
                  </a:cubicBezTo>
                  <a:cubicBezTo>
                    <a:pt x="91" y="110"/>
                    <a:pt x="111" y="90"/>
                    <a:pt x="111" y="60"/>
                  </a:cubicBezTo>
                  <a:cubicBezTo>
                    <a:pt x="111" y="20"/>
                    <a:pt x="91" y="0"/>
                    <a:pt x="51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675" name="Google Shape;1674;p44"/>
            <p:cNvSpPr/>
            <p:nvPr/>
          </p:nvSpPr>
          <p:spPr>
            <a:xfrm>
              <a:off x="5615695" y="2505279"/>
              <a:ext cx="1270" cy="1259"/>
            </a:xfrm>
            <a:custGeom>
              <a:avLst/>
              <a:gdLst/>
              <a:ahLst/>
              <a:cxnLst/>
              <a:rect l="l" t="t" r="r" b="b"/>
              <a:pathLst>
                <a:path w="112" h="111" extrusionOk="0">
                  <a:moveTo>
                    <a:pt x="56" y="0"/>
                  </a:moveTo>
                  <a:cubicBezTo>
                    <a:pt x="28" y="0"/>
                    <a:pt x="1" y="20"/>
                    <a:pt x="1" y="60"/>
                  </a:cubicBezTo>
                  <a:cubicBezTo>
                    <a:pt x="1" y="90"/>
                    <a:pt x="21" y="110"/>
                    <a:pt x="61" y="110"/>
                  </a:cubicBezTo>
                  <a:cubicBezTo>
                    <a:pt x="91" y="110"/>
                    <a:pt x="111" y="90"/>
                    <a:pt x="111" y="60"/>
                  </a:cubicBezTo>
                  <a:cubicBezTo>
                    <a:pt x="111" y="20"/>
                    <a:pt x="84" y="0"/>
                    <a:pt x="56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676" name="Google Shape;1675;p44"/>
            <p:cNvSpPr/>
            <p:nvPr/>
          </p:nvSpPr>
          <p:spPr>
            <a:xfrm>
              <a:off x="5607653" y="2507093"/>
              <a:ext cx="1361" cy="919"/>
            </a:xfrm>
            <a:custGeom>
              <a:avLst/>
              <a:gdLst/>
              <a:ahLst/>
              <a:cxnLst/>
              <a:rect l="l" t="t" r="r" b="b"/>
              <a:pathLst>
                <a:path w="120" h="81" extrusionOk="0">
                  <a:moveTo>
                    <a:pt x="100" y="0"/>
                  </a:moveTo>
                  <a:cubicBezTo>
                    <a:pt x="64" y="0"/>
                    <a:pt x="1" y="81"/>
                    <a:pt x="69" y="81"/>
                  </a:cubicBezTo>
                  <a:cubicBezTo>
                    <a:pt x="99" y="81"/>
                    <a:pt x="119" y="61"/>
                    <a:pt x="119" y="31"/>
                  </a:cubicBezTo>
                  <a:cubicBezTo>
                    <a:pt x="119" y="9"/>
                    <a:pt x="111" y="0"/>
                    <a:pt x="10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677" name="Google Shape;1676;p44"/>
            <p:cNvSpPr/>
            <p:nvPr/>
          </p:nvSpPr>
          <p:spPr>
            <a:xfrm>
              <a:off x="5599566" y="2508228"/>
              <a:ext cx="1724" cy="1259"/>
            </a:xfrm>
            <a:custGeom>
              <a:avLst/>
              <a:gdLst/>
              <a:ahLst/>
              <a:cxnLst/>
              <a:rect l="l" t="t" r="r" b="b"/>
              <a:pathLst>
                <a:path w="152" h="111" extrusionOk="0">
                  <a:moveTo>
                    <a:pt x="81" y="1"/>
                  </a:moveTo>
                  <a:cubicBezTo>
                    <a:pt x="1" y="1"/>
                    <a:pt x="1" y="111"/>
                    <a:pt x="81" y="111"/>
                  </a:cubicBezTo>
                  <a:cubicBezTo>
                    <a:pt x="151" y="111"/>
                    <a:pt x="151" y="1"/>
                    <a:pt x="81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678" name="Google Shape;1677;p44"/>
            <p:cNvSpPr/>
            <p:nvPr/>
          </p:nvSpPr>
          <p:spPr>
            <a:xfrm>
              <a:off x="5591751" y="2509974"/>
              <a:ext cx="1361" cy="885"/>
            </a:xfrm>
            <a:custGeom>
              <a:avLst/>
              <a:gdLst/>
              <a:ahLst/>
              <a:cxnLst/>
              <a:rect l="l" t="t" r="r" b="b"/>
              <a:pathLst>
                <a:path w="120" h="78" extrusionOk="0">
                  <a:moveTo>
                    <a:pt x="101" y="1"/>
                  </a:moveTo>
                  <a:cubicBezTo>
                    <a:pt x="66" y="1"/>
                    <a:pt x="0" y="77"/>
                    <a:pt x="69" y="77"/>
                  </a:cubicBezTo>
                  <a:cubicBezTo>
                    <a:pt x="99" y="77"/>
                    <a:pt x="119" y="57"/>
                    <a:pt x="119" y="27"/>
                  </a:cubicBezTo>
                  <a:cubicBezTo>
                    <a:pt x="119" y="8"/>
                    <a:pt x="111" y="1"/>
                    <a:pt x="101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679" name="Google Shape;1678;p44"/>
            <p:cNvSpPr/>
            <p:nvPr/>
          </p:nvSpPr>
          <p:spPr>
            <a:xfrm>
              <a:off x="5583891" y="2511075"/>
              <a:ext cx="1270" cy="1146"/>
            </a:xfrm>
            <a:custGeom>
              <a:avLst/>
              <a:gdLst/>
              <a:ahLst/>
              <a:cxnLst/>
              <a:rect l="l" t="t" r="r" b="b"/>
              <a:pathLst>
                <a:path w="112" h="101" extrusionOk="0">
                  <a:moveTo>
                    <a:pt x="61" y="0"/>
                  </a:moveTo>
                  <a:cubicBezTo>
                    <a:pt x="31" y="0"/>
                    <a:pt x="1" y="20"/>
                    <a:pt x="1" y="50"/>
                  </a:cubicBezTo>
                  <a:cubicBezTo>
                    <a:pt x="1" y="80"/>
                    <a:pt x="31" y="100"/>
                    <a:pt x="61" y="100"/>
                  </a:cubicBezTo>
                  <a:cubicBezTo>
                    <a:pt x="81" y="100"/>
                    <a:pt x="111" y="80"/>
                    <a:pt x="111" y="50"/>
                  </a:cubicBezTo>
                  <a:cubicBezTo>
                    <a:pt x="111" y="20"/>
                    <a:pt x="81" y="0"/>
                    <a:pt x="61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680" name="Google Shape;1679;p44"/>
            <p:cNvSpPr/>
            <p:nvPr/>
          </p:nvSpPr>
          <p:spPr>
            <a:xfrm>
              <a:off x="5575928" y="2512708"/>
              <a:ext cx="1282" cy="873"/>
            </a:xfrm>
            <a:custGeom>
              <a:avLst/>
              <a:gdLst/>
              <a:ahLst/>
              <a:cxnLst/>
              <a:rect l="l" t="t" r="r" b="b"/>
              <a:pathLst>
                <a:path w="113" h="77" extrusionOk="0">
                  <a:moveTo>
                    <a:pt x="95" y="0"/>
                  </a:moveTo>
                  <a:cubicBezTo>
                    <a:pt x="63" y="0"/>
                    <a:pt x="1" y="76"/>
                    <a:pt x="62" y="76"/>
                  </a:cubicBezTo>
                  <a:cubicBezTo>
                    <a:pt x="82" y="76"/>
                    <a:pt x="112" y="56"/>
                    <a:pt x="112" y="26"/>
                  </a:cubicBezTo>
                  <a:cubicBezTo>
                    <a:pt x="112" y="7"/>
                    <a:pt x="105" y="0"/>
                    <a:pt x="95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681" name="Google Shape;1680;p44"/>
            <p:cNvSpPr/>
            <p:nvPr/>
          </p:nvSpPr>
          <p:spPr>
            <a:xfrm>
              <a:off x="5567988" y="2514058"/>
              <a:ext cx="1180" cy="885"/>
            </a:xfrm>
            <a:custGeom>
              <a:avLst/>
              <a:gdLst/>
              <a:ahLst/>
              <a:cxnLst/>
              <a:rect l="l" t="t" r="r" b="b"/>
              <a:pathLst>
                <a:path w="104" h="78" extrusionOk="0">
                  <a:moveTo>
                    <a:pt x="88" y="0"/>
                  </a:moveTo>
                  <a:cubicBezTo>
                    <a:pt x="60" y="0"/>
                    <a:pt x="1" y="70"/>
                    <a:pt x="61" y="78"/>
                  </a:cubicBezTo>
                  <a:cubicBezTo>
                    <a:pt x="81" y="78"/>
                    <a:pt x="101" y="47"/>
                    <a:pt x="101" y="27"/>
                  </a:cubicBezTo>
                  <a:cubicBezTo>
                    <a:pt x="104" y="8"/>
                    <a:pt x="98" y="0"/>
                    <a:pt x="88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682" name="Google Shape;1681;p44"/>
            <p:cNvSpPr/>
            <p:nvPr/>
          </p:nvSpPr>
          <p:spPr>
            <a:xfrm>
              <a:off x="5560071" y="2515147"/>
              <a:ext cx="1236" cy="1055"/>
            </a:xfrm>
            <a:custGeom>
              <a:avLst/>
              <a:gdLst/>
              <a:ahLst/>
              <a:cxnLst/>
              <a:rect l="l" t="t" r="r" b="b"/>
              <a:pathLst>
                <a:path w="109" h="93" extrusionOk="0">
                  <a:moveTo>
                    <a:pt x="42" y="1"/>
                  </a:moveTo>
                  <a:cubicBezTo>
                    <a:pt x="0" y="1"/>
                    <a:pt x="0" y="92"/>
                    <a:pt x="42" y="92"/>
                  </a:cubicBezTo>
                  <a:cubicBezTo>
                    <a:pt x="44" y="92"/>
                    <a:pt x="46" y="92"/>
                    <a:pt x="48" y="92"/>
                  </a:cubicBezTo>
                  <a:cubicBezTo>
                    <a:pt x="108" y="82"/>
                    <a:pt x="108" y="2"/>
                    <a:pt x="48" y="2"/>
                  </a:cubicBezTo>
                  <a:cubicBezTo>
                    <a:pt x="46" y="1"/>
                    <a:pt x="44" y="1"/>
                    <a:pt x="42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683" name="Google Shape;1682;p44"/>
            <p:cNvSpPr/>
            <p:nvPr/>
          </p:nvSpPr>
          <p:spPr>
            <a:xfrm>
              <a:off x="5552211" y="2516406"/>
              <a:ext cx="1032" cy="1032"/>
            </a:xfrm>
            <a:custGeom>
              <a:avLst/>
              <a:gdLst/>
              <a:ahLst/>
              <a:cxnLst/>
              <a:rect l="l" t="t" r="r" b="b"/>
              <a:pathLst>
                <a:path w="91" h="91" extrusionOk="0">
                  <a:moveTo>
                    <a:pt x="40" y="1"/>
                  </a:moveTo>
                  <a:cubicBezTo>
                    <a:pt x="20" y="1"/>
                    <a:pt x="0" y="21"/>
                    <a:pt x="0" y="51"/>
                  </a:cubicBezTo>
                  <a:cubicBezTo>
                    <a:pt x="0" y="71"/>
                    <a:pt x="20" y="91"/>
                    <a:pt x="40" y="91"/>
                  </a:cubicBezTo>
                  <a:cubicBezTo>
                    <a:pt x="70" y="91"/>
                    <a:pt x="90" y="71"/>
                    <a:pt x="90" y="51"/>
                  </a:cubicBezTo>
                  <a:cubicBezTo>
                    <a:pt x="90" y="21"/>
                    <a:pt x="70" y="1"/>
                    <a:pt x="40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684" name="Google Shape;1683;p44"/>
            <p:cNvSpPr/>
            <p:nvPr/>
          </p:nvSpPr>
          <p:spPr>
            <a:xfrm>
              <a:off x="5544146" y="2517653"/>
              <a:ext cx="1123" cy="1044"/>
            </a:xfrm>
            <a:custGeom>
              <a:avLst/>
              <a:gdLst/>
              <a:ahLst/>
              <a:cxnLst/>
              <a:rect l="l" t="t" r="r" b="b"/>
              <a:pathLst>
                <a:path w="99" h="92" extrusionOk="0">
                  <a:moveTo>
                    <a:pt x="56" y="0"/>
                  </a:moveTo>
                  <a:cubicBezTo>
                    <a:pt x="54" y="0"/>
                    <a:pt x="52" y="0"/>
                    <a:pt x="50" y="1"/>
                  </a:cubicBezTo>
                  <a:cubicBezTo>
                    <a:pt x="0" y="11"/>
                    <a:pt x="0" y="81"/>
                    <a:pt x="50" y="91"/>
                  </a:cubicBezTo>
                  <a:cubicBezTo>
                    <a:pt x="52" y="91"/>
                    <a:pt x="54" y="92"/>
                    <a:pt x="56" y="92"/>
                  </a:cubicBezTo>
                  <a:cubicBezTo>
                    <a:pt x="98" y="92"/>
                    <a:pt x="98" y="0"/>
                    <a:pt x="56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685" name="Google Shape;1684;p44"/>
            <p:cNvSpPr/>
            <p:nvPr/>
          </p:nvSpPr>
          <p:spPr>
            <a:xfrm>
              <a:off x="5536195" y="2518912"/>
              <a:ext cx="1032" cy="919"/>
            </a:xfrm>
            <a:custGeom>
              <a:avLst/>
              <a:gdLst/>
              <a:ahLst/>
              <a:cxnLst/>
              <a:rect l="l" t="t" r="r" b="b"/>
              <a:pathLst>
                <a:path w="91" h="81" extrusionOk="0">
                  <a:moveTo>
                    <a:pt x="50" y="0"/>
                  </a:moveTo>
                  <a:cubicBezTo>
                    <a:pt x="20" y="0"/>
                    <a:pt x="0" y="20"/>
                    <a:pt x="0" y="40"/>
                  </a:cubicBezTo>
                  <a:cubicBezTo>
                    <a:pt x="0" y="60"/>
                    <a:pt x="20" y="80"/>
                    <a:pt x="50" y="80"/>
                  </a:cubicBezTo>
                  <a:cubicBezTo>
                    <a:pt x="70" y="80"/>
                    <a:pt x="90" y="60"/>
                    <a:pt x="90" y="40"/>
                  </a:cubicBezTo>
                  <a:cubicBezTo>
                    <a:pt x="90" y="20"/>
                    <a:pt x="70" y="0"/>
                    <a:pt x="5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686" name="Google Shape;1685;p44"/>
            <p:cNvSpPr/>
            <p:nvPr/>
          </p:nvSpPr>
          <p:spPr>
            <a:xfrm>
              <a:off x="5528244" y="2520047"/>
              <a:ext cx="1032" cy="1032"/>
            </a:xfrm>
            <a:custGeom>
              <a:avLst/>
              <a:gdLst/>
              <a:ahLst/>
              <a:cxnLst/>
              <a:rect l="l" t="t" r="r" b="b"/>
              <a:pathLst>
                <a:path w="91" h="91" extrusionOk="0">
                  <a:moveTo>
                    <a:pt x="40" y="0"/>
                  </a:moveTo>
                  <a:cubicBezTo>
                    <a:pt x="2" y="0"/>
                    <a:pt x="0" y="91"/>
                    <a:pt x="35" y="91"/>
                  </a:cubicBezTo>
                  <a:cubicBezTo>
                    <a:pt x="36" y="91"/>
                    <a:pt x="38" y="91"/>
                    <a:pt x="40" y="90"/>
                  </a:cubicBezTo>
                  <a:cubicBezTo>
                    <a:pt x="90" y="80"/>
                    <a:pt x="90" y="10"/>
                    <a:pt x="4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687" name="Google Shape;1686;p44"/>
            <p:cNvSpPr/>
            <p:nvPr/>
          </p:nvSpPr>
          <p:spPr>
            <a:xfrm>
              <a:off x="5520134" y="2521487"/>
              <a:ext cx="1078" cy="726"/>
            </a:xfrm>
            <a:custGeom>
              <a:avLst/>
              <a:gdLst/>
              <a:ahLst/>
              <a:cxnLst/>
              <a:rect l="l" t="t" r="r" b="b"/>
              <a:pathLst>
                <a:path w="95" h="64" extrusionOk="0">
                  <a:moveTo>
                    <a:pt x="79" y="0"/>
                  </a:moveTo>
                  <a:cubicBezTo>
                    <a:pt x="52" y="0"/>
                    <a:pt x="1" y="63"/>
                    <a:pt x="54" y="63"/>
                  </a:cubicBezTo>
                  <a:cubicBezTo>
                    <a:pt x="74" y="63"/>
                    <a:pt x="94" y="43"/>
                    <a:pt x="94" y="23"/>
                  </a:cubicBezTo>
                  <a:cubicBezTo>
                    <a:pt x="94" y="6"/>
                    <a:pt x="88" y="0"/>
                    <a:pt x="79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688" name="Google Shape;1687;p44"/>
            <p:cNvSpPr/>
            <p:nvPr/>
          </p:nvSpPr>
          <p:spPr>
            <a:xfrm>
              <a:off x="5512115" y="2522429"/>
              <a:ext cx="1259" cy="805"/>
            </a:xfrm>
            <a:custGeom>
              <a:avLst/>
              <a:gdLst/>
              <a:ahLst/>
              <a:cxnLst/>
              <a:rect l="l" t="t" r="r" b="b"/>
              <a:pathLst>
                <a:path w="111" h="71" extrusionOk="0">
                  <a:moveTo>
                    <a:pt x="60" y="0"/>
                  </a:moveTo>
                  <a:cubicBezTo>
                    <a:pt x="0" y="0"/>
                    <a:pt x="0" y="71"/>
                    <a:pt x="60" y="71"/>
                  </a:cubicBezTo>
                  <a:cubicBezTo>
                    <a:pt x="110" y="71"/>
                    <a:pt x="110" y="0"/>
                    <a:pt x="6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689" name="Google Shape;1688;p44"/>
            <p:cNvSpPr/>
            <p:nvPr/>
          </p:nvSpPr>
          <p:spPr>
            <a:xfrm>
              <a:off x="5504278" y="2523449"/>
              <a:ext cx="919" cy="919"/>
            </a:xfrm>
            <a:custGeom>
              <a:avLst/>
              <a:gdLst/>
              <a:ahLst/>
              <a:cxnLst/>
              <a:rect l="l" t="t" r="r" b="b"/>
              <a:pathLst>
                <a:path w="81" h="81" extrusionOk="0">
                  <a:moveTo>
                    <a:pt x="40" y="1"/>
                  </a:moveTo>
                  <a:cubicBezTo>
                    <a:pt x="20" y="1"/>
                    <a:pt x="0" y="21"/>
                    <a:pt x="0" y="41"/>
                  </a:cubicBezTo>
                  <a:cubicBezTo>
                    <a:pt x="0" y="61"/>
                    <a:pt x="20" y="81"/>
                    <a:pt x="40" y="81"/>
                  </a:cubicBezTo>
                  <a:cubicBezTo>
                    <a:pt x="60" y="81"/>
                    <a:pt x="80" y="61"/>
                    <a:pt x="80" y="41"/>
                  </a:cubicBezTo>
                  <a:cubicBezTo>
                    <a:pt x="80" y="21"/>
                    <a:pt x="60" y="1"/>
                    <a:pt x="40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690" name="Google Shape;1689;p44"/>
            <p:cNvSpPr/>
            <p:nvPr/>
          </p:nvSpPr>
          <p:spPr>
            <a:xfrm>
              <a:off x="5496326" y="2524584"/>
              <a:ext cx="805" cy="805"/>
            </a:xfrm>
            <a:custGeom>
              <a:avLst/>
              <a:gdLst/>
              <a:ahLst/>
              <a:cxnLst/>
              <a:rect l="l" t="t" r="r" b="b"/>
              <a:pathLst>
                <a:path w="71" h="71" extrusionOk="0">
                  <a:moveTo>
                    <a:pt x="40" y="1"/>
                  </a:moveTo>
                  <a:cubicBezTo>
                    <a:pt x="20" y="1"/>
                    <a:pt x="0" y="11"/>
                    <a:pt x="0" y="31"/>
                  </a:cubicBezTo>
                  <a:cubicBezTo>
                    <a:pt x="0" y="51"/>
                    <a:pt x="20" y="71"/>
                    <a:pt x="40" y="71"/>
                  </a:cubicBezTo>
                  <a:cubicBezTo>
                    <a:pt x="60" y="71"/>
                    <a:pt x="70" y="51"/>
                    <a:pt x="70" y="31"/>
                  </a:cubicBezTo>
                  <a:cubicBezTo>
                    <a:pt x="70" y="11"/>
                    <a:pt x="60" y="1"/>
                    <a:pt x="40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691" name="Google Shape;1690;p44"/>
            <p:cNvSpPr/>
            <p:nvPr/>
          </p:nvSpPr>
          <p:spPr>
            <a:xfrm>
              <a:off x="5488273" y="2525775"/>
              <a:ext cx="907" cy="635"/>
            </a:xfrm>
            <a:custGeom>
              <a:avLst/>
              <a:gdLst/>
              <a:ahLst/>
              <a:cxnLst/>
              <a:rect l="l" t="t" r="r" b="b"/>
              <a:pathLst>
                <a:path w="80" h="56" extrusionOk="0">
                  <a:moveTo>
                    <a:pt x="69" y="1"/>
                  </a:moveTo>
                  <a:cubicBezTo>
                    <a:pt x="47" y="1"/>
                    <a:pt x="0" y="56"/>
                    <a:pt x="39" y="56"/>
                  </a:cubicBezTo>
                  <a:cubicBezTo>
                    <a:pt x="59" y="56"/>
                    <a:pt x="79" y="36"/>
                    <a:pt x="79" y="16"/>
                  </a:cubicBezTo>
                  <a:cubicBezTo>
                    <a:pt x="79" y="5"/>
                    <a:pt x="75" y="1"/>
                    <a:pt x="69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692" name="Google Shape;1691;p44"/>
            <p:cNvSpPr/>
            <p:nvPr/>
          </p:nvSpPr>
          <p:spPr>
            <a:xfrm>
              <a:off x="5480231" y="2526795"/>
              <a:ext cx="885" cy="647"/>
            </a:xfrm>
            <a:custGeom>
              <a:avLst/>
              <a:gdLst/>
              <a:ahLst/>
              <a:cxnLst/>
              <a:rect l="l" t="t" r="r" b="b"/>
              <a:pathLst>
                <a:path w="78" h="57" extrusionOk="0">
                  <a:moveTo>
                    <a:pt x="67" y="1"/>
                  </a:moveTo>
                  <a:cubicBezTo>
                    <a:pt x="45" y="1"/>
                    <a:pt x="0" y="56"/>
                    <a:pt x="47" y="56"/>
                  </a:cubicBezTo>
                  <a:cubicBezTo>
                    <a:pt x="57" y="56"/>
                    <a:pt x="77" y="36"/>
                    <a:pt x="77" y="16"/>
                  </a:cubicBezTo>
                  <a:cubicBezTo>
                    <a:pt x="77" y="5"/>
                    <a:pt x="73" y="1"/>
                    <a:pt x="67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693" name="Google Shape;1692;p44"/>
            <p:cNvSpPr/>
            <p:nvPr/>
          </p:nvSpPr>
          <p:spPr>
            <a:xfrm>
              <a:off x="5472360" y="2527544"/>
              <a:ext cx="805" cy="805"/>
            </a:xfrm>
            <a:custGeom>
              <a:avLst/>
              <a:gdLst/>
              <a:ahLst/>
              <a:cxnLst/>
              <a:rect l="l" t="t" r="r" b="b"/>
              <a:pathLst>
                <a:path w="71" h="71" extrusionOk="0">
                  <a:moveTo>
                    <a:pt x="40" y="0"/>
                  </a:moveTo>
                  <a:cubicBezTo>
                    <a:pt x="0" y="10"/>
                    <a:pt x="0" y="60"/>
                    <a:pt x="40" y="70"/>
                  </a:cubicBezTo>
                  <a:cubicBezTo>
                    <a:pt x="70" y="70"/>
                    <a:pt x="70" y="0"/>
                    <a:pt x="4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694" name="Google Shape;1693;p44"/>
            <p:cNvSpPr/>
            <p:nvPr/>
          </p:nvSpPr>
          <p:spPr>
            <a:xfrm>
              <a:off x="5464205" y="2528712"/>
              <a:ext cx="896" cy="544"/>
            </a:xfrm>
            <a:custGeom>
              <a:avLst/>
              <a:gdLst/>
              <a:ahLst/>
              <a:cxnLst/>
              <a:rect l="l" t="t" r="r" b="b"/>
              <a:pathLst>
                <a:path w="79" h="48" extrusionOk="0">
                  <a:moveTo>
                    <a:pt x="66" y="1"/>
                  </a:moveTo>
                  <a:cubicBezTo>
                    <a:pt x="43" y="1"/>
                    <a:pt x="0" y="47"/>
                    <a:pt x="38" y="47"/>
                  </a:cubicBezTo>
                  <a:cubicBezTo>
                    <a:pt x="58" y="47"/>
                    <a:pt x="78" y="27"/>
                    <a:pt x="78" y="17"/>
                  </a:cubicBezTo>
                  <a:cubicBezTo>
                    <a:pt x="78" y="5"/>
                    <a:pt x="73" y="1"/>
                    <a:pt x="66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695" name="Google Shape;1694;p44"/>
            <p:cNvSpPr/>
            <p:nvPr/>
          </p:nvSpPr>
          <p:spPr>
            <a:xfrm>
              <a:off x="5456231" y="2529472"/>
              <a:ext cx="919" cy="578"/>
            </a:xfrm>
            <a:custGeom>
              <a:avLst/>
              <a:gdLst/>
              <a:ahLst/>
              <a:cxnLst/>
              <a:rect l="l" t="t" r="r" b="b"/>
              <a:pathLst>
                <a:path w="81" h="51" extrusionOk="0">
                  <a:moveTo>
                    <a:pt x="40" y="0"/>
                  </a:moveTo>
                  <a:cubicBezTo>
                    <a:pt x="0" y="0"/>
                    <a:pt x="0" y="50"/>
                    <a:pt x="40" y="50"/>
                  </a:cubicBezTo>
                  <a:cubicBezTo>
                    <a:pt x="80" y="50"/>
                    <a:pt x="80" y="0"/>
                    <a:pt x="4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696" name="Google Shape;1695;p44"/>
            <p:cNvSpPr/>
            <p:nvPr/>
          </p:nvSpPr>
          <p:spPr>
            <a:xfrm>
              <a:off x="5448280" y="2530266"/>
              <a:ext cx="692" cy="692"/>
            </a:xfrm>
            <a:custGeom>
              <a:avLst/>
              <a:gdLst/>
              <a:ahLst/>
              <a:cxnLst/>
              <a:rect l="l" t="t" r="r" b="b"/>
              <a:pathLst>
                <a:path w="61" h="61" extrusionOk="0">
                  <a:moveTo>
                    <a:pt x="30" y="0"/>
                  </a:moveTo>
                  <a:cubicBezTo>
                    <a:pt x="20" y="0"/>
                    <a:pt x="0" y="10"/>
                    <a:pt x="0" y="30"/>
                  </a:cubicBezTo>
                  <a:cubicBezTo>
                    <a:pt x="0" y="50"/>
                    <a:pt x="20" y="60"/>
                    <a:pt x="30" y="60"/>
                  </a:cubicBezTo>
                  <a:cubicBezTo>
                    <a:pt x="50" y="60"/>
                    <a:pt x="60" y="50"/>
                    <a:pt x="60" y="30"/>
                  </a:cubicBezTo>
                  <a:cubicBezTo>
                    <a:pt x="60" y="10"/>
                    <a:pt x="50" y="0"/>
                    <a:pt x="3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697" name="Google Shape;1696;p44"/>
            <p:cNvSpPr/>
            <p:nvPr/>
          </p:nvSpPr>
          <p:spPr>
            <a:xfrm>
              <a:off x="5440329" y="2531151"/>
              <a:ext cx="578" cy="601"/>
            </a:xfrm>
            <a:custGeom>
              <a:avLst/>
              <a:gdLst/>
              <a:ahLst/>
              <a:cxnLst/>
              <a:rect l="l" t="t" r="r" b="b"/>
              <a:pathLst>
                <a:path w="51" h="53" extrusionOk="0">
                  <a:moveTo>
                    <a:pt x="25" y="0"/>
                  </a:moveTo>
                  <a:cubicBezTo>
                    <a:pt x="13" y="0"/>
                    <a:pt x="0" y="8"/>
                    <a:pt x="0" y="23"/>
                  </a:cubicBezTo>
                  <a:cubicBezTo>
                    <a:pt x="0" y="43"/>
                    <a:pt x="10" y="53"/>
                    <a:pt x="20" y="53"/>
                  </a:cubicBezTo>
                  <a:cubicBezTo>
                    <a:pt x="40" y="53"/>
                    <a:pt x="50" y="43"/>
                    <a:pt x="50" y="23"/>
                  </a:cubicBezTo>
                  <a:cubicBezTo>
                    <a:pt x="50" y="8"/>
                    <a:pt x="38" y="0"/>
                    <a:pt x="25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698" name="Google Shape;1697;p44"/>
            <p:cNvSpPr/>
            <p:nvPr/>
          </p:nvSpPr>
          <p:spPr>
            <a:xfrm>
              <a:off x="5432264" y="2531945"/>
              <a:ext cx="578" cy="601"/>
            </a:xfrm>
            <a:custGeom>
              <a:avLst/>
              <a:gdLst/>
              <a:ahLst/>
              <a:cxnLst/>
              <a:rect l="l" t="t" r="r" b="b"/>
              <a:pathLst>
                <a:path w="51" h="53" extrusionOk="0">
                  <a:moveTo>
                    <a:pt x="25" y="0"/>
                  </a:moveTo>
                  <a:cubicBezTo>
                    <a:pt x="13" y="0"/>
                    <a:pt x="0" y="8"/>
                    <a:pt x="0" y="23"/>
                  </a:cubicBezTo>
                  <a:cubicBezTo>
                    <a:pt x="0" y="33"/>
                    <a:pt x="10" y="53"/>
                    <a:pt x="30" y="53"/>
                  </a:cubicBezTo>
                  <a:cubicBezTo>
                    <a:pt x="40" y="53"/>
                    <a:pt x="50" y="33"/>
                    <a:pt x="50" y="23"/>
                  </a:cubicBezTo>
                  <a:cubicBezTo>
                    <a:pt x="50" y="8"/>
                    <a:pt x="38" y="0"/>
                    <a:pt x="25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699" name="Google Shape;1698;p44"/>
            <p:cNvSpPr/>
            <p:nvPr/>
          </p:nvSpPr>
          <p:spPr>
            <a:xfrm>
              <a:off x="5424200" y="2532648"/>
              <a:ext cx="578" cy="578"/>
            </a:xfrm>
            <a:custGeom>
              <a:avLst/>
              <a:gdLst/>
              <a:ahLst/>
              <a:cxnLst/>
              <a:rect l="l" t="t" r="r" b="b"/>
              <a:pathLst>
                <a:path w="51" h="51" extrusionOk="0">
                  <a:moveTo>
                    <a:pt x="30" y="1"/>
                  </a:moveTo>
                  <a:cubicBezTo>
                    <a:pt x="10" y="1"/>
                    <a:pt x="0" y="11"/>
                    <a:pt x="0" y="31"/>
                  </a:cubicBezTo>
                  <a:cubicBezTo>
                    <a:pt x="0" y="41"/>
                    <a:pt x="10" y="51"/>
                    <a:pt x="30" y="51"/>
                  </a:cubicBezTo>
                  <a:cubicBezTo>
                    <a:pt x="40" y="51"/>
                    <a:pt x="50" y="41"/>
                    <a:pt x="50" y="31"/>
                  </a:cubicBezTo>
                  <a:cubicBezTo>
                    <a:pt x="50" y="11"/>
                    <a:pt x="40" y="1"/>
                    <a:pt x="30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700" name="Google Shape;1699;p44"/>
            <p:cNvSpPr/>
            <p:nvPr/>
          </p:nvSpPr>
          <p:spPr>
            <a:xfrm>
              <a:off x="5416135" y="2533522"/>
              <a:ext cx="578" cy="386"/>
            </a:xfrm>
            <a:custGeom>
              <a:avLst/>
              <a:gdLst/>
              <a:ahLst/>
              <a:cxnLst/>
              <a:rect l="l" t="t" r="r" b="b"/>
              <a:pathLst>
                <a:path w="51" h="34" extrusionOk="0">
                  <a:moveTo>
                    <a:pt x="42" y="0"/>
                  </a:moveTo>
                  <a:cubicBezTo>
                    <a:pt x="27" y="0"/>
                    <a:pt x="0" y="34"/>
                    <a:pt x="30" y="34"/>
                  </a:cubicBezTo>
                  <a:cubicBezTo>
                    <a:pt x="40" y="34"/>
                    <a:pt x="50" y="24"/>
                    <a:pt x="50" y="14"/>
                  </a:cubicBezTo>
                  <a:cubicBezTo>
                    <a:pt x="50" y="4"/>
                    <a:pt x="47" y="0"/>
                    <a:pt x="42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701" name="Google Shape;1700;p44"/>
            <p:cNvSpPr/>
            <p:nvPr/>
          </p:nvSpPr>
          <p:spPr>
            <a:xfrm>
              <a:off x="5408184" y="2534123"/>
              <a:ext cx="465" cy="465"/>
            </a:xfrm>
            <a:custGeom>
              <a:avLst/>
              <a:gdLst/>
              <a:ahLst/>
              <a:cxnLst/>
              <a:rect l="l" t="t" r="r" b="b"/>
              <a:pathLst>
                <a:path w="41" h="41" extrusionOk="0">
                  <a:moveTo>
                    <a:pt x="20" y="1"/>
                  </a:moveTo>
                  <a:cubicBezTo>
                    <a:pt x="10" y="1"/>
                    <a:pt x="0" y="11"/>
                    <a:pt x="0" y="21"/>
                  </a:cubicBezTo>
                  <a:cubicBezTo>
                    <a:pt x="0" y="31"/>
                    <a:pt x="10" y="41"/>
                    <a:pt x="20" y="41"/>
                  </a:cubicBezTo>
                  <a:cubicBezTo>
                    <a:pt x="30" y="41"/>
                    <a:pt x="40" y="31"/>
                    <a:pt x="40" y="21"/>
                  </a:cubicBezTo>
                  <a:cubicBezTo>
                    <a:pt x="40" y="11"/>
                    <a:pt x="30" y="1"/>
                    <a:pt x="20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702" name="Google Shape;1701;p44"/>
            <p:cNvSpPr/>
            <p:nvPr/>
          </p:nvSpPr>
          <p:spPr>
            <a:xfrm>
              <a:off x="5400119" y="2534690"/>
              <a:ext cx="465" cy="465"/>
            </a:xfrm>
            <a:custGeom>
              <a:avLst/>
              <a:gdLst/>
              <a:ahLst/>
              <a:cxnLst/>
              <a:rect l="l" t="t" r="r" b="b"/>
              <a:pathLst>
                <a:path w="41" h="41" extrusionOk="0">
                  <a:moveTo>
                    <a:pt x="20" y="1"/>
                  </a:moveTo>
                  <a:lnTo>
                    <a:pt x="0" y="21"/>
                  </a:lnTo>
                  <a:lnTo>
                    <a:pt x="20" y="41"/>
                  </a:lnTo>
                  <a:lnTo>
                    <a:pt x="40" y="21"/>
                  </a:lnTo>
                  <a:lnTo>
                    <a:pt x="20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703" name="Google Shape;1702;p44"/>
            <p:cNvSpPr/>
            <p:nvPr/>
          </p:nvSpPr>
          <p:spPr>
            <a:xfrm>
              <a:off x="5392168" y="2535382"/>
              <a:ext cx="352" cy="352"/>
            </a:xfrm>
            <a:custGeom>
              <a:avLst/>
              <a:gdLst/>
              <a:ahLst/>
              <a:cxnLst/>
              <a:rect l="l" t="t" r="r" b="b"/>
              <a:pathLst>
                <a:path w="31" h="31" extrusionOk="0">
                  <a:moveTo>
                    <a:pt x="20" y="0"/>
                  </a:moveTo>
                  <a:lnTo>
                    <a:pt x="0" y="20"/>
                  </a:lnTo>
                  <a:lnTo>
                    <a:pt x="20" y="30"/>
                  </a:lnTo>
                  <a:lnTo>
                    <a:pt x="30" y="20"/>
                  </a:lnTo>
                  <a:lnTo>
                    <a:pt x="2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704" name="Google Shape;1703;p44"/>
            <p:cNvSpPr/>
            <p:nvPr/>
          </p:nvSpPr>
          <p:spPr>
            <a:xfrm>
              <a:off x="5384104" y="2535835"/>
              <a:ext cx="465" cy="352"/>
            </a:xfrm>
            <a:custGeom>
              <a:avLst/>
              <a:gdLst/>
              <a:ahLst/>
              <a:cxnLst/>
              <a:rect l="l" t="t" r="r" b="b"/>
              <a:pathLst>
                <a:path w="41" h="31" extrusionOk="0">
                  <a:moveTo>
                    <a:pt x="20" y="0"/>
                  </a:moveTo>
                  <a:lnTo>
                    <a:pt x="0" y="20"/>
                  </a:lnTo>
                  <a:lnTo>
                    <a:pt x="20" y="30"/>
                  </a:lnTo>
                  <a:lnTo>
                    <a:pt x="40" y="20"/>
                  </a:lnTo>
                  <a:lnTo>
                    <a:pt x="2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705" name="Google Shape;1704;p44"/>
            <p:cNvSpPr/>
            <p:nvPr/>
          </p:nvSpPr>
          <p:spPr>
            <a:xfrm>
              <a:off x="5376039" y="2536516"/>
              <a:ext cx="352" cy="352"/>
            </a:xfrm>
            <a:custGeom>
              <a:avLst/>
              <a:gdLst/>
              <a:ahLst/>
              <a:cxnLst/>
              <a:rect l="l" t="t" r="r" b="b"/>
              <a:pathLst>
                <a:path w="31" h="31" extrusionOk="0">
                  <a:moveTo>
                    <a:pt x="10" y="0"/>
                  </a:moveTo>
                  <a:lnTo>
                    <a:pt x="0" y="10"/>
                  </a:lnTo>
                  <a:lnTo>
                    <a:pt x="10" y="30"/>
                  </a:lnTo>
                  <a:lnTo>
                    <a:pt x="30" y="10"/>
                  </a:lnTo>
                  <a:lnTo>
                    <a:pt x="1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706" name="Google Shape;1705;p44"/>
            <p:cNvSpPr/>
            <p:nvPr/>
          </p:nvSpPr>
          <p:spPr>
            <a:xfrm>
              <a:off x="5367975" y="2536970"/>
              <a:ext cx="352" cy="352"/>
            </a:xfrm>
            <a:custGeom>
              <a:avLst/>
              <a:gdLst/>
              <a:ahLst/>
              <a:cxnLst/>
              <a:rect l="l" t="t" r="r" b="b"/>
              <a:pathLst>
                <a:path w="31" h="31" extrusionOk="0">
                  <a:moveTo>
                    <a:pt x="10" y="0"/>
                  </a:moveTo>
                  <a:lnTo>
                    <a:pt x="0" y="20"/>
                  </a:lnTo>
                  <a:lnTo>
                    <a:pt x="10" y="30"/>
                  </a:lnTo>
                  <a:lnTo>
                    <a:pt x="30" y="20"/>
                  </a:lnTo>
                  <a:lnTo>
                    <a:pt x="1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707" name="Google Shape;1706;p44"/>
            <p:cNvSpPr/>
            <p:nvPr/>
          </p:nvSpPr>
          <p:spPr>
            <a:xfrm>
              <a:off x="7391363" y="1463039"/>
              <a:ext cx="326222" cy="110771"/>
            </a:xfrm>
            <a:custGeom>
              <a:avLst/>
              <a:gdLst/>
              <a:ahLst/>
              <a:cxnLst/>
              <a:rect l="l" t="t" r="r" b="b"/>
              <a:pathLst>
                <a:path w="28761" h="9766" extrusionOk="0">
                  <a:moveTo>
                    <a:pt x="4907" y="0"/>
                  </a:moveTo>
                  <a:lnTo>
                    <a:pt x="0" y="2584"/>
                  </a:lnTo>
                  <a:lnTo>
                    <a:pt x="18566" y="9734"/>
                  </a:lnTo>
                  <a:cubicBezTo>
                    <a:pt x="18624" y="9755"/>
                    <a:pt x="18685" y="9765"/>
                    <a:pt x="18744" y="9765"/>
                  </a:cubicBezTo>
                  <a:cubicBezTo>
                    <a:pt x="18828" y="9765"/>
                    <a:pt x="18911" y="9745"/>
                    <a:pt x="18987" y="9704"/>
                  </a:cubicBezTo>
                  <a:lnTo>
                    <a:pt x="28340" y="4797"/>
                  </a:lnTo>
                  <a:cubicBezTo>
                    <a:pt x="28760" y="4577"/>
                    <a:pt x="28690" y="3966"/>
                    <a:pt x="28240" y="3846"/>
                  </a:cubicBezTo>
                  <a:cubicBezTo>
                    <a:pt x="24594" y="2854"/>
                    <a:pt x="13629" y="60"/>
                    <a:pt x="4907" y="0"/>
                  </a:cubicBezTo>
                  <a:close/>
                </a:path>
              </a:pathLst>
            </a:custGeom>
            <a:solidFill>
              <a:srgbClr val="42619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708" name="Google Shape;1707;p44"/>
            <p:cNvSpPr/>
            <p:nvPr/>
          </p:nvSpPr>
          <p:spPr>
            <a:xfrm>
              <a:off x="7391363" y="1476094"/>
              <a:ext cx="255456" cy="97716"/>
            </a:xfrm>
            <a:custGeom>
              <a:avLst/>
              <a:gdLst/>
              <a:ahLst/>
              <a:cxnLst/>
              <a:rect l="l" t="t" r="r" b="b"/>
              <a:pathLst>
                <a:path w="22522" h="8615" extrusionOk="0">
                  <a:moveTo>
                    <a:pt x="2714" y="1"/>
                  </a:moveTo>
                  <a:lnTo>
                    <a:pt x="0" y="1433"/>
                  </a:lnTo>
                  <a:lnTo>
                    <a:pt x="18566" y="8583"/>
                  </a:lnTo>
                  <a:cubicBezTo>
                    <a:pt x="18624" y="8604"/>
                    <a:pt x="18685" y="8614"/>
                    <a:pt x="18744" y="8614"/>
                  </a:cubicBezTo>
                  <a:cubicBezTo>
                    <a:pt x="18828" y="8614"/>
                    <a:pt x="18911" y="8594"/>
                    <a:pt x="18987" y="8553"/>
                  </a:cubicBezTo>
                  <a:lnTo>
                    <a:pt x="22522" y="6700"/>
                  </a:lnTo>
                  <a:lnTo>
                    <a:pt x="2714" y="1"/>
                  </a:lnTo>
                  <a:close/>
                </a:path>
              </a:pathLst>
            </a:custGeom>
            <a:solidFill>
              <a:srgbClr val="26499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709" name="Google Shape;1708;p44"/>
            <p:cNvSpPr/>
            <p:nvPr/>
          </p:nvSpPr>
          <p:spPr>
            <a:xfrm>
              <a:off x="7188616" y="1403956"/>
              <a:ext cx="829171" cy="376900"/>
            </a:xfrm>
            <a:custGeom>
              <a:avLst/>
              <a:gdLst/>
              <a:ahLst/>
              <a:cxnLst/>
              <a:rect l="l" t="t" r="r" b="b"/>
              <a:pathLst>
                <a:path w="73103" h="33229" extrusionOk="0">
                  <a:moveTo>
                    <a:pt x="62400" y="1"/>
                  </a:moveTo>
                  <a:cubicBezTo>
                    <a:pt x="60952" y="1"/>
                    <a:pt x="59524" y="349"/>
                    <a:pt x="58232" y="1023"/>
                  </a:cubicBezTo>
                  <a:lnTo>
                    <a:pt x="14460" y="24035"/>
                  </a:lnTo>
                  <a:lnTo>
                    <a:pt x="3595" y="20661"/>
                  </a:lnTo>
                  <a:lnTo>
                    <a:pt x="0" y="22714"/>
                  </a:lnTo>
                  <a:lnTo>
                    <a:pt x="501" y="23685"/>
                  </a:lnTo>
                  <a:cubicBezTo>
                    <a:pt x="3701" y="29758"/>
                    <a:pt x="9902" y="33229"/>
                    <a:pt x="16321" y="33229"/>
                  </a:cubicBezTo>
                  <a:cubicBezTo>
                    <a:pt x="19121" y="33229"/>
                    <a:pt x="21962" y="32568"/>
                    <a:pt x="24614" y="31175"/>
                  </a:cubicBezTo>
                  <a:lnTo>
                    <a:pt x="70148" y="7242"/>
                  </a:lnTo>
                  <a:lnTo>
                    <a:pt x="70148" y="7252"/>
                  </a:lnTo>
                  <a:cubicBezTo>
                    <a:pt x="73102" y="5700"/>
                    <a:pt x="72321" y="1274"/>
                    <a:pt x="69017" y="823"/>
                  </a:cubicBezTo>
                  <a:lnTo>
                    <a:pt x="68476" y="743"/>
                  </a:lnTo>
                  <a:lnTo>
                    <a:pt x="64791" y="242"/>
                  </a:lnTo>
                  <a:lnTo>
                    <a:pt x="63609" y="82"/>
                  </a:lnTo>
                  <a:cubicBezTo>
                    <a:pt x="63206" y="28"/>
                    <a:pt x="62802" y="1"/>
                    <a:pt x="62400" y="1"/>
                  </a:cubicBezTo>
                  <a:close/>
                </a:path>
              </a:pathLst>
            </a:custGeom>
            <a:solidFill>
              <a:srgbClr val="F4996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710" name="Google Shape;1709;p44"/>
            <p:cNvSpPr/>
            <p:nvPr/>
          </p:nvSpPr>
          <p:spPr>
            <a:xfrm>
              <a:off x="7364890" y="1444517"/>
              <a:ext cx="642904" cy="336396"/>
            </a:xfrm>
            <a:custGeom>
              <a:avLst/>
              <a:gdLst/>
              <a:ahLst/>
              <a:cxnLst/>
              <a:rect l="l" t="t" r="r" b="b"/>
              <a:pathLst>
                <a:path w="56681" h="29658" extrusionOk="0">
                  <a:moveTo>
                    <a:pt x="56380" y="1"/>
                  </a:moveTo>
                  <a:lnTo>
                    <a:pt x="1" y="29642"/>
                  </a:lnTo>
                  <a:cubicBezTo>
                    <a:pt x="248" y="29652"/>
                    <a:pt x="495" y="29658"/>
                    <a:pt x="741" y="29658"/>
                  </a:cubicBezTo>
                  <a:cubicBezTo>
                    <a:pt x="3635" y="29658"/>
                    <a:pt x="6499" y="28956"/>
                    <a:pt x="9073" y="27599"/>
                  </a:cubicBezTo>
                  <a:lnTo>
                    <a:pt x="54607" y="3666"/>
                  </a:lnTo>
                  <a:cubicBezTo>
                    <a:pt x="55949" y="2985"/>
                    <a:pt x="56680" y="1483"/>
                    <a:pt x="56380" y="1"/>
                  </a:cubicBezTo>
                  <a:close/>
                </a:path>
              </a:pathLst>
            </a:custGeom>
            <a:solidFill>
              <a:srgbClr val="42619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711" name="Google Shape;1710;p44"/>
            <p:cNvSpPr/>
            <p:nvPr/>
          </p:nvSpPr>
          <p:spPr>
            <a:xfrm>
              <a:off x="7514146" y="1581568"/>
              <a:ext cx="218457" cy="356824"/>
            </a:xfrm>
            <a:custGeom>
              <a:avLst/>
              <a:gdLst/>
              <a:ahLst/>
              <a:cxnLst/>
              <a:rect l="l" t="t" r="r" b="b"/>
              <a:pathLst>
                <a:path w="19260" h="31459" extrusionOk="0">
                  <a:moveTo>
                    <a:pt x="18475" y="0"/>
                  </a:moveTo>
                  <a:cubicBezTo>
                    <a:pt x="18376" y="0"/>
                    <a:pt x="18275" y="23"/>
                    <a:pt x="18176" y="75"/>
                  </a:cubicBezTo>
                  <a:lnTo>
                    <a:pt x="6249" y="6354"/>
                  </a:lnTo>
                  <a:cubicBezTo>
                    <a:pt x="6079" y="6434"/>
                    <a:pt x="5959" y="6594"/>
                    <a:pt x="5918" y="6774"/>
                  </a:cubicBezTo>
                  <a:lnTo>
                    <a:pt x="0" y="31459"/>
                  </a:lnTo>
                  <a:lnTo>
                    <a:pt x="6259" y="28174"/>
                  </a:lnTo>
                  <a:cubicBezTo>
                    <a:pt x="12508" y="18961"/>
                    <a:pt x="17515" y="5422"/>
                    <a:pt x="19097" y="876"/>
                  </a:cubicBezTo>
                  <a:cubicBezTo>
                    <a:pt x="19259" y="422"/>
                    <a:pt x="18896" y="0"/>
                    <a:pt x="18475" y="0"/>
                  </a:cubicBezTo>
                  <a:close/>
                </a:path>
              </a:pathLst>
            </a:custGeom>
            <a:solidFill>
              <a:srgbClr val="F4996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712" name="Google Shape;1711;p44"/>
            <p:cNvSpPr/>
            <p:nvPr/>
          </p:nvSpPr>
          <p:spPr>
            <a:xfrm>
              <a:off x="7514259" y="1626825"/>
              <a:ext cx="121887" cy="311681"/>
            </a:xfrm>
            <a:custGeom>
              <a:avLst/>
              <a:gdLst/>
              <a:ahLst/>
              <a:cxnLst/>
              <a:rect l="l" t="t" r="r" b="b"/>
              <a:pathLst>
                <a:path w="10746" h="27479" extrusionOk="0">
                  <a:moveTo>
                    <a:pt x="10745" y="0"/>
                  </a:moveTo>
                  <a:lnTo>
                    <a:pt x="6239" y="2364"/>
                  </a:lnTo>
                  <a:cubicBezTo>
                    <a:pt x="6079" y="2454"/>
                    <a:pt x="5949" y="2604"/>
                    <a:pt x="5908" y="2794"/>
                  </a:cubicBezTo>
                  <a:lnTo>
                    <a:pt x="0" y="27479"/>
                  </a:lnTo>
                  <a:lnTo>
                    <a:pt x="3455" y="25646"/>
                  </a:lnTo>
                  <a:lnTo>
                    <a:pt x="3455" y="25656"/>
                  </a:lnTo>
                  <a:lnTo>
                    <a:pt x="10745" y="0"/>
                  </a:lnTo>
                  <a:close/>
                </a:path>
              </a:pathLst>
            </a:custGeom>
            <a:solidFill>
              <a:srgbClr val="26499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713" name="Google Shape;1712;p44"/>
            <p:cNvSpPr/>
            <p:nvPr/>
          </p:nvSpPr>
          <p:spPr>
            <a:xfrm>
              <a:off x="7170888" y="1683333"/>
              <a:ext cx="123713" cy="68736"/>
            </a:xfrm>
            <a:custGeom>
              <a:avLst/>
              <a:gdLst/>
              <a:ahLst/>
              <a:cxnLst/>
              <a:rect l="l" t="t" r="r" b="b"/>
              <a:pathLst>
                <a:path w="10907" h="6060" extrusionOk="0">
                  <a:moveTo>
                    <a:pt x="9564" y="1"/>
                  </a:moveTo>
                  <a:cubicBezTo>
                    <a:pt x="8950" y="1"/>
                    <a:pt x="7998" y="300"/>
                    <a:pt x="6490" y="1097"/>
                  </a:cubicBezTo>
                  <a:cubicBezTo>
                    <a:pt x="3686" y="2569"/>
                    <a:pt x="1" y="5213"/>
                    <a:pt x="361" y="5893"/>
                  </a:cubicBezTo>
                  <a:cubicBezTo>
                    <a:pt x="420" y="6008"/>
                    <a:pt x="589" y="6059"/>
                    <a:pt x="842" y="6059"/>
                  </a:cubicBezTo>
                  <a:cubicBezTo>
                    <a:pt x="2101" y="6059"/>
                    <a:pt x="5449" y="4784"/>
                    <a:pt x="7792" y="3550"/>
                  </a:cubicBezTo>
                  <a:cubicBezTo>
                    <a:pt x="10606" y="2078"/>
                    <a:pt x="10906" y="1217"/>
                    <a:pt x="10546" y="536"/>
                  </a:cubicBezTo>
                  <a:lnTo>
                    <a:pt x="10536" y="536"/>
                  </a:lnTo>
                  <a:cubicBezTo>
                    <a:pt x="10369" y="221"/>
                    <a:pt x="10091" y="1"/>
                    <a:pt x="9564" y="1"/>
                  </a:cubicBezTo>
                  <a:close/>
                </a:path>
              </a:pathLst>
            </a:custGeom>
            <a:solidFill>
              <a:srgbClr val="42619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714" name="Google Shape;1713;p44"/>
            <p:cNvSpPr/>
            <p:nvPr/>
          </p:nvSpPr>
          <p:spPr>
            <a:xfrm>
              <a:off x="7174869" y="1689061"/>
              <a:ext cx="119731" cy="63008"/>
            </a:xfrm>
            <a:custGeom>
              <a:avLst/>
              <a:gdLst/>
              <a:ahLst/>
              <a:cxnLst/>
              <a:rect l="l" t="t" r="r" b="b"/>
              <a:pathLst>
                <a:path w="10556" h="5555" extrusionOk="0">
                  <a:moveTo>
                    <a:pt x="10185" y="1"/>
                  </a:moveTo>
                  <a:lnTo>
                    <a:pt x="10" y="5348"/>
                  </a:lnTo>
                  <a:lnTo>
                    <a:pt x="0" y="5348"/>
                  </a:lnTo>
                  <a:cubicBezTo>
                    <a:pt x="0" y="5358"/>
                    <a:pt x="10" y="5378"/>
                    <a:pt x="10" y="5388"/>
                  </a:cubicBezTo>
                  <a:cubicBezTo>
                    <a:pt x="71" y="5503"/>
                    <a:pt x="241" y="5554"/>
                    <a:pt x="495" y="5554"/>
                  </a:cubicBezTo>
                  <a:cubicBezTo>
                    <a:pt x="1760" y="5554"/>
                    <a:pt x="5108" y="4279"/>
                    <a:pt x="7451" y="3045"/>
                  </a:cubicBezTo>
                  <a:cubicBezTo>
                    <a:pt x="10255" y="1573"/>
                    <a:pt x="10555" y="712"/>
                    <a:pt x="10205" y="31"/>
                  </a:cubicBezTo>
                  <a:lnTo>
                    <a:pt x="10185" y="1"/>
                  </a:lnTo>
                  <a:close/>
                </a:path>
              </a:pathLst>
            </a:custGeom>
            <a:solidFill>
              <a:srgbClr val="26499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715" name="Google Shape;1714;p44"/>
            <p:cNvSpPr/>
            <p:nvPr/>
          </p:nvSpPr>
          <p:spPr>
            <a:xfrm>
              <a:off x="7401583" y="1676426"/>
              <a:ext cx="24885" cy="23819"/>
            </a:xfrm>
            <a:custGeom>
              <a:avLst/>
              <a:gdLst/>
              <a:ahLst/>
              <a:cxnLst/>
              <a:rect l="l" t="t" r="r" b="b"/>
              <a:pathLst>
                <a:path w="2194" h="2100" extrusionOk="0">
                  <a:moveTo>
                    <a:pt x="969" y="0"/>
                  </a:moveTo>
                  <a:cubicBezTo>
                    <a:pt x="839" y="0"/>
                    <a:pt x="710" y="30"/>
                    <a:pt x="591" y="94"/>
                  </a:cubicBezTo>
                  <a:cubicBezTo>
                    <a:pt x="141" y="334"/>
                    <a:pt x="0" y="955"/>
                    <a:pt x="271" y="1485"/>
                  </a:cubicBezTo>
                  <a:cubicBezTo>
                    <a:pt x="477" y="1868"/>
                    <a:pt x="851" y="2100"/>
                    <a:pt x="1214" y="2100"/>
                  </a:cubicBezTo>
                  <a:cubicBezTo>
                    <a:pt x="1344" y="2100"/>
                    <a:pt x="1473" y="2070"/>
                    <a:pt x="1593" y="2006"/>
                  </a:cubicBezTo>
                  <a:cubicBezTo>
                    <a:pt x="2043" y="1766"/>
                    <a:pt x="2193" y="1145"/>
                    <a:pt x="1913" y="624"/>
                  </a:cubicBezTo>
                  <a:cubicBezTo>
                    <a:pt x="1707" y="234"/>
                    <a:pt x="1332" y="0"/>
                    <a:pt x="969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716" name="Google Shape;1715;p44"/>
            <p:cNvSpPr/>
            <p:nvPr/>
          </p:nvSpPr>
          <p:spPr>
            <a:xfrm>
              <a:off x="7430994" y="1660954"/>
              <a:ext cx="24885" cy="23797"/>
            </a:xfrm>
            <a:custGeom>
              <a:avLst/>
              <a:gdLst/>
              <a:ahLst/>
              <a:cxnLst/>
              <a:rect l="l" t="t" r="r" b="b"/>
              <a:pathLst>
                <a:path w="2194" h="2098" extrusionOk="0">
                  <a:moveTo>
                    <a:pt x="982" y="1"/>
                  </a:moveTo>
                  <a:cubicBezTo>
                    <a:pt x="848" y="1"/>
                    <a:pt x="715" y="31"/>
                    <a:pt x="592" y="96"/>
                  </a:cubicBezTo>
                  <a:cubicBezTo>
                    <a:pt x="141" y="336"/>
                    <a:pt x="1" y="957"/>
                    <a:pt x="281" y="1478"/>
                  </a:cubicBezTo>
                  <a:cubicBezTo>
                    <a:pt x="481" y="1869"/>
                    <a:pt x="855" y="2097"/>
                    <a:pt x="1223" y="2097"/>
                  </a:cubicBezTo>
                  <a:cubicBezTo>
                    <a:pt x="1353" y="2097"/>
                    <a:pt x="1483" y="2069"/>
                    <a:pt x="1603" y="2008"/>
                  </a:cubicBezTo>
                  <a:cubicBezTo>
                    <a:pt x="2054" y="1768"/>
                    <a:pt x="2194" y="1147"/>
                    <a:pt x="1914" y="616"/>
                  </a:cubicBezTo>
                  <a:cubicBezTo>
                    <a:pt x="1716" y="228"/>
                    <a:pt x="1346" y="1"/>
                    <a:pt x="982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717" name="Google Shape;1716;p44"/>
            <p:cNvSpPr/>
            <p:nvPr/>
          </p:nvSpPr>
          <p:spPr>
            <a:xfrm>
              <a:off x="7460530" y="1645460"/>
              <a:ext cx="24885" cy="23774"/>
            </a:xfrm>
            <a:custGeom>
              <a:avLst/>
              <a:gdLst/>
              <a:ahLst/>
              <a:cxnLst/>
              <a:rect l="l" t="t" r="r" b="b"/>
              <a:pathLst>
                <a:path w="2194" h="2096" extrusionOk="0">
                  <a:moveTo>
                    <a:pt x="966" y="1"/>
                  </a:moveTo>
                  <a:cubicBezTo>
                    <a:pt x="837" y="1"/>
                    <a:pt x="709" y="29"/>
                    <a:pt x="591" y="90"/>
                  </a:cubicBezTo>
                  <a:cubicBezTo>
                    <a:pt x="141" y="330"/>
                    <a:pt x="1" y="951"/>
                    <a:pt x="271" y="1482"/>
                  </a:cubicBezTo>
                  <a:cubicBezTo>
                    <a:pt x="477" y="1865"/>
                    <a:pt x="851" y="2096"/>
                    <a:pt x="1214" y="2096"/>
                  </a:cubicBezTo>
                  <a:cubicBezTo>
                    <a:pt x="1345" y="2096"/>
                    <a:pt x="1474" y="2066"/>
                    <a:pt x="1593" y="2002"/>
                  </a:cubicBezTo>
                  <a:cubicBezTo>
                    <a:pt x="2043" y="1762"/>
                    <a:pt x="2194" y="1141"/>
                    <a:pt x="1913" y="620"/>
                  </a:cubicBezTo>
                  <a:cubicBezTo>
                    <a:pt x="1706" y="229"/>
                    <a:pt x="1330" y="1"/>
                    <a:pt x="966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718" name="Google Shape;1717;p44"/>
            <p:cNvSpPr/>
            <p:nvPr/>
          </p:nvSpPr>
          <p:spPr>
            <a:xfrm>
              <a:off x="7489952" y="1629967"/>
              <a:ext cx="24885" cy="23774"/>
            </a:xfrm>
            <a:custGeom>
              <a:avLst/>
              <a:gdLst/>
              <a:ahLst/>
              <a:cxnLst/>
              <a:rect l="l" t="t" r="r" b="b"/>
              <a:pathLst>
                <a:path w="2194" h="2096" extrusionOk="0">
                  <a:moveTo>
                    <a:pt x="976" y="0"/>
                  </a:moveTo>
                  <a:cubicBezTo>
                    <a:pt x="844" y="0"/>
                    <a:pt x="713" y="30"/>
                    <a:pt x="591" y="94"/>
                  </a:cubicBezTo>
                  <a:cubicBezTo>
                    <a:pt x="140" y="334"/>
                    <a:pt x="0" y="955"/>
                    <a:pt x="281" y="1476"/>
                  </a:cubicBezTo>
                  <a:cubicBezTo>
                    <a:pt x="480" y="1867"/>
                    <a:pt x="854" y="2096"/>
                    <a:pt x="1222" y="2096"/>
                  </a:cubicBezTo>
                  <a:cubicBezTo>
                    <a:pt x="1352" y="2096"/>
                    <a:pt x="1482" y="2067"/>
                    <a:pt x="1602" y="2006"/>
                  </a:cubicBezTo>
                  <a:cubicBezTo>
                    <a:pt x="2053" y="1766"/>
                    <a:pt x="2193" y="1145"/>
                    <a:pt x="1913" y="615"/>
                  </a:cubicBezTo>
                  <a:cubicBezTo>
                    <a:pt x="1714" y="232"/>
                    <a:pt x="1342" y="0"/>
                    <a:pt x="976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719" name="Google Shape;1718;p44"/>
            <p:cNvSpPr/>
            <p:nvPr/>
          </p:nvSpPr>
          <p:spPr>
            <a:xfrm>
              <a:off x="7519477" y="1614495"/>
              <a:ext cx="24885" cy="23740"/>
            </a:xfrm>
            <a:custGeom>
              <a:avLst/>
              <a:gdLst/>
              <a:ahLst/>
              <a:cxnLst/>
              <a:rect l="l" t="t" r="r" b="b"/>
              <a:pathLst>
                <a:path w="2194" h="2093" extrusionOk="0">
                  <a:moveTo>
                    <a:pt x="976" y="1"/>
                  </a:moveTo>
                  <a:cubicBezTo>
                    <a:pt x="844" y="1"/>
                    <a:pt x="713" y="31"/>
                    <a:pt x="592" y="96"/>
                  </a:cubicBezTo>
                  <a:cubicBezTo>
                    <a:pt x="141" y="326"/>
                    <a:pt x="1" y="957"/>
                    <a:pt x="271" y="1478"/>
                  </a:cubicBezTo>
                  <a:cubicBezTo>
                    <a:pt x="477" y="1861"/>
                    <a:pt x="852" y="2092"/>
                    <a:pt x="1214" y="2092"/>
                  </a:cubicBezTo>
                  <a:cubicBezTo>
                    <a:pt x="1345" y="2092"/>
                    <a:pt x="1474" y="2062"/>
                    <a:pt x="1593" y="1999"/>
                  </a:cubicBezTo>
                  <a:cubicBezTo>
                    <a:pt x="2044" y="1768"/>
                    <a:pt x="2194" y="1147"/>
                    <a:pt x="1914" y="617"/>
                  </a:cubicBezTo>
                  <a:cubicBezTo>
                    <a:pt x="1708" y="228"/>
                    <a:pt x="1337" y="1"/>
                    <a:pt x="976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720" name="Google Shape;1719;p44"/>
            <p:cNvSpPr/>
            <p:nvPr/>
          </p:nvSpPr>
          <p:spPr>
            <a:xfrm>
              <a:off x="7548899" y="1598956"/>
              <a:ext cx="24885" cy="23831"/>
            </a:xfrm>
            <a:custGeom>
              <a:avLst/>
              <a:gdLst/>
              <a:ahLst/>
              <a:cxnLst/>
              <a:rect l="l" t="t" r="r" b="b"/>
              <a:pathLst>
                <a:path w="2194" h="2101" extrusionOk="0">
                  <a:moveTo>
                    <a:pt x="976" y="0"/>
                  </a:moveTo>
                  <a:cubicBezTo>
                    <a:pt x="844" y="0"/>
                    <a:pt x="713" y="30"/>
                    <a:pt x="591" y="94"/>
                  </a:cubicBezTo>
                  <a:cubicBezTo>
                    <a:pt x="141" y="334"/>
                    <a:pt x="0" y="955"/>
                    <a:pt x="281" y="1486"/>
                  </a:cubicBezTo>
                  <a:cubicBezTo>
                    <a:pt x="480" y="1869"/>
                    <a:pt x="857" y="2100"/>
                    <a:pt x="1222" y="2100"/>
                  </a:cubicBezTo>
                  <a:cubicBezTo>
                    <a:pt x="1354" y="2100"/>
                    <a:pt x="1483" y="2070"/>
                    <a:pt x="1603" y="2007"/>
                  </a:cubicBezTo>
                  <a:cubicBezTo>
                    <a:pt x="2053" y="1766"/>
                    <a:pt x="2194" y="1145"/>
                    <a:pt x="1913" y="615"/>
                  </a:cubicBezTo>
                  <a:cubicBezTo>
                    <a:pt x="1714" y="232"/>
                    <a:pt x="1342" y="0"/>
                    <a:pt x="976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721" name="Google Shape;1720;p44"/>
            <p:cNvSpPr/>
            <p:nvPr/>
          </p:nvSpPr>
          <p:spPr>
            <a:xfrm>
              <a:off x="7578435" y="1583496"/>
              <a:ext cx="24885" cy="23729"/>
            </a:xfrm>
            <a:custGeom>
              <a:avLst/>
              <a:gdLst/>
              <a:ahLst/>
              <a:cxnLst/>
              <a:rect l="l" t="t" r="r" b="b"/>
              <a:pathLst>
                <a:path w="2194" h="2092" extrusionOk="0">
                  <a:moveTo>
                    <a:pt x="975" y="0"/>
                  </a:moveTo>
                  <a:cubicBezTo>
                    <a:pt x="843" y="0"/>
                    <a:pt x="712" y="31"/>
                    <a:pt x="591" y="95"/>
                  </a:cubicBezTo>
                  <a:cubicBezTo>
                    <a:pt x="140" y="325"/>
                    <a:pt x="0" y="956"/>
                    <a:pt x="271" y="1477"/>
                  </a:cubicBezTo>
                  <a:cubicBezTo>
                    <a:pt x="477" y="1860"/>
                    <a:pt x="851" y="2091"/>
                    <a:pt x="1214" y="2091"/>
                  </a:cubicBezTo>
                  <a:cubicBezTo>
                    <a:pt x="1344" y="2091"/>
                    <a:pt x="1473" y="2061"/>
                    <a:pt x="1592" y="1998"/>
                  </a:cubicBezTo>
                  <a:cubicBezTo>
                    <a:pt x="2043" y="1767"/>
                    <a:pt x="2193" y="1147"/>
                    <a:pt x="1913" y="616"/>
                  </a:cubicBezTo>
                  <a:cubicBezTo>
                    <a:pt x="1708" y="228"/>
                    <a:pt x="1336" y="0"/>
                    <a:pt x="975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722" name="Google Shape;1721;p44"/>
            <p:cNvSpPr/>
            <p:nvPr/>
          </p:nvSpPr>
          <p:spPr>
            <a:xfrm>
              <a:off x="7607846" y="1567946"/>
              <a:ext cx="24885" cy="23831"/>
            </a:xfrm>
            <a:custGeom>
              <a:avLst/>
              <a:gdLst/>
              <a:ahLst/>
              <a:cxnLst/>
              <a:rect l="l" t="t" r="r" b="b"/>
              <a:pathLst>
                <a:path w="2194" h="2101" extrusionOk="0">
                  <a:moveTo>
                    <a:pt x="975" y="1"/>
                  </a:moveTo>
                  <a:cubicBezTo>
                    <a:pt x="844" y="1"/>
                    <a:pt x="713" y="31"/>
                    <a:pt x="592" y="94"/>
                  </a:cubicBezTo>
                  <a:cubicBezTo>
                    <a:pt x="141" y="335"/>
                    <a:pt x="1" y="955"/>
                    <a:pt x="281" y="1486"/>
                  </a:cubicBezTo>
                  <a:cubicBezTo>
                    <a:pt x="480" y="1869"/>
                    <a:pt x="852" y="2100"/>
                    <a:pt x="1218" y="2100"/>
                  </a:cubicBezTo>
                  <a:cubicBezTo>
                    <a:pt x="1350" y="2100"/>
                    <a:pt x="1481" y="2070"/>
                    <a:pt x="1603" y="2007"/>
                  </a:cubicBezTo>
                  <a:cubicBezTo>
                    <a:pt x="2054" y="1767"/>
                    <a:pt x="2194" y="1146"/>
                    <a:pt x="1913" y="625"/>
                  </a:cubicBezTo>
                  <a:cubicBezTo>
                    <a:pt x="1714" y="234"/>
                    <a:pt x="1342" y="1"/>
                    <a:pt x="975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723" name="Google Shape;1722;p44"/>
            <p:cNvSpPr/>
            <p:nvPr/>
          </p:nvSpPr>
          <p:spPr>
            <a:xfrm>
              <a:off x="7637382" y="1552497"/>
              <a:ext cx="24885" cy="23774"/>
            </a:xfrm>
            <a:custGeom>
              <a:avLst/>
              <a:gdLst/>
              <a:ahLst/>
              <a:cxnLst/>
              <a:rect l="l" t="t" r="r" b="b"/>
              <a:pathLst>
                <a:path w="2194" h="2096" extrusionOk="0">
                  <a:moveTo>
                    <a:pt x="970" y="1"/>
                  </a:moveTo>
                  <a:cubicBezTo>
                    <a:pt x="840" y="1"/>
                    <a:pt x="710" y="31"/>
                    <a:pt x="591" y="94"/>
                  </a:cubicBezTo>
                  <a:cubicBezTo>
                    <a:pt x="141" y="335"/>
                    <a:pt x="0" y="955"/>
                    <a:pt x="271" y="1476"/>
                  </a:cubicBezTo>
                  <a:cubicBezTo>
                    <a:pt x="478" y="1868"/>
                    <a:pt x="854" y="2096"/>
                    <a:pt x="1218" y="2096"/>
                  </a:cubicBezTo>
                  <a:cubicBezTo>
                    <a:pt x="1347" y="2096"/>
                    <a:pt x="1475" y="2067"/>
                    <a:pt x="1593" y="2007"/>
                  </a:cubicBezTo>
                  <a:cubicBezTo>
                    <a:pt x="2043" y="1767"/>
                    <a:pt x="2193" y="1146"/>
                    <a:pt x="1913" y="615"/>
                  </a:cubicBezTo>
                  <a:cubicBezTo>
                    <a:pt x="1707" y="232"/>
                    <a:pt x="1333" y="1"/>
                    <a:pt x="970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724" name="Google Shape;1723;p44"/>
            <p:cNvSpPr/>
            <p:nvPr/>
          </p:nvSpPr>
          <p:spPr>
            <a:xfrm>
              <a:off x="7666805" y="1536992"/>
              <a:ext cx="24885" cy="23774"/>
            </a:xfrm>
            <a:custGeom>
              <a:avLst/>
              <a:gdLst/>
              <a:ahLst/>
              <a:cxnLst/>
              <a:rect l="l" t="t" r="r" b="b"/>
              <a:pathLst>
                <a:path w="2194" h="2096" extrusionOk="0">
                  <a:moveTo>
                    <a:pt x="972" y="0"/>
                  </a:moveTo>
                  <a:cubicBezTo>
                    <a:pt x="841" y="0"/>
                    <a:pt x="712" y="29"/>
                    <a:pt x="591" y="89"/>
                  </a:cubicBezTo>
                  <a:cubicBezTo>
                    <a:pt x="140" y="330"/>
                    <a:pt x="0" y="961"/>
                    <a:pt x="280" y="1481"/>
                  </a:cubicBezTo>
                  <a:cubicBezTo>
                    <a:pt x="479" y="1864"/>
                    <a:pt x="857" y="2096"/>
                    <a:pt x="1222" y="2096"/>
                  </a:cubicBezTo>
                  <a:cubicBezTo>
                    <a:pt x="1353" y="2096"/>
                    <a:pt x="1483" y="2066"/>
                    <a:pt x="1602" y="2002"/>
                  </a:cubicBezTo>
                  <a:cubicBezTo>
                    <a:pt x="2053" y="1772"/>
                    <a:pt x="2193" y="1151"/>
                    <a:pt x="1913" y="620"/>
                  </a:cubicBezTo>
                  <a:cubicBezTo>
                    <a:pt x="1713" y="228"/>
                    <a:pt x="1339" y="0"/>
                    <a:pt x="972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725" name="Google Shape;1724;p44"/>
            <p:cNvSpPr/>
            <p:nvPr/>
          </p:nvSpPr>
          <p:spPr>
            <a:xfrm>
              <a:off x="7696329" y="1521487"/>
              <a:ext cx="24885" cy="23785"/>
            </a:xfrm>
            <a:custGeom>
              <a:avLst/>
              <a:gdLst/>
              <a:ahLst/>
              <a:cxnLst/>
              <a:rect l="l" t="t" r="r" b="b"/>
              <a:pathLst>
                <a:path w="2194" h="2097" extrusionOk="0">
                  <a:moveTo>
                    <a:pt x="970" y="1"/>
                  </a:moveTo>
                  <a:cubicBezTo>
                    <a:pt x="840" y="1"/>
                    <a:pt x="711" y="31"/>
                    <a:pt x="592" y="94"/>
                  </a:cubicBezTo>
                  <a:cubicBezTo>
                    <a:pt x="141" y="335"/>
                    <a:pt x="1" y="956"/>
                    <a:pt x="271" y="1476"/>
                  </a:cubicBezTo>
                  <a:cubicBezTo>
                    <a:pt x="478" y="1868"/>
                    <a:pt x="854" y="2096"/>
                    <a:pt x="1218" y="2096"/>
                  </a:cubicBezTo>
                  <a:cubicBezTo>
                    <a:pt x="1347" y="2096"/>
                    <a:pt x="1475" y="2067"/>
                    <a:pt x="1593" y="2007"/>
                  </a:cubicBezTo>
                  <a:cubicBezTo>
                    <a:pt x="2044" y="1767"/>
                    <a:pt x="2194" y="1146"/>
                    <a:pt x="1913" y="615"/>
                  </a:cubicBezTo>
                  <a:cubicBezTo>
                    <a:pt x="1707" y="232"/>
                    <a:pt x="1333" y="1"/>
                    <a:pt x="970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726" name="Google Shape;1725;p44"/>
            <p:cNvSpPr/>
            <p:nvPr/>
          </p:nvSpPr>
          <p:spPr>
            <a:xfrm>
              <a:off x="7725752" y="1506050"/>
              <a:ext cx="24885" cy="23706"/>
            </a:xfrm>
            <a:custGeom>
              <a:avLst/>
              <a:gdLst/>
              <a:ahLst/>
              <a:cxnLst/>
              <a:rect l="l" t="t" r="r" b="b"/>
              <a:pathLst>
                <a:path w="2194" h="2090" extrusionOk="0">
                  <a:moveTo>
                    <a:pt x="976" y="0"/>
                  </a:moveTo>
                  <a:cubicBezTo>
                    <a:pt x="844" y="0"/>
                    <a:pt x="713" y="30"/>
                    <a:pt x="591" y="94"/>
                  </a:cubicBezTo>
                  <a:cubicBezTo>
                    <a:pt x="141" y="324"/>
                    <a:pt x="0" y="955"/>
                    <a:pt x="281" y="1475"/>
                  </a:cubicBezTo>
                  <a:cubicBezTo>
                    <a:pt x="480" y="1858"/>
                    <a:pt x="857" y="2090"/>
                    <a:pt x="1222" y="2090"/>
                  </a:cubicBezTo>
                  <a:cubicBezTo>
                    <a:pt x="1354" y="2090"/>
                    <a:pt x="1483" y="2060"/>
                    <a:pt x="1603" y="1996"/>
                  </a:cubicBezTo>
                  <a:cubicBezTo>
                    <a:pt x="2053" y="1766"/>
                    <a:pt x="2193" y="1145"/>
                    <a:pt x="1913" y="614"/>
                  </a:cubicBezTo>
                  <a:cubicBezTo>
                    <a:pt x="1714" y="231"/>
                    <a:pt x="1342" y="0"/>
                    <a:pt x="976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727" name="Google Shape;1726;p44"/>
            <p:cNvSpPr/>
            <p:nvPr/>
          </p:nvSpPr>
          <p:spPr>
            <a:xfrm>
              <a:off x="7755276" y="1490533"/>
              <a:ext cx="24897" cy="23774"/>
            </a:xfrm>
            <a:custGeom>
              <a:avLst/>
              <a:gdLst/>
              <a:ahLst/>
              <a:cxnLst/>
              <a:rect l="l" t="t" r="r" b="b"/>
              <a:pathLst>
                <a:path w="2195" h="2096" extrusionOk="0">
                  <a:moveTo>
                    <a:pt x="967" y="1"/>
                  </a:moveTo>
                  <a:cubicBezTo>
                    <a:pt x="837" y="1"/>
                    <a:pt x="710" y="29"/>
                    <a:pt x="592" y="90"/>
                  </a:cubicBezTo>
                  <a:cubicBezTo>
                    <a:pt x="141" y="330"/>
                    <a:pt x="1" y="951"/>
                    <a:pt x="271" y="1482"/>
                  </a:cubicBezTo>
                  <a:cubicBezTo>
                    <a:pt x="478" y="1865"/>
                    <a:pt x="852" y="2096"/>
                    <a:pt x="1214" y="2096"/>
                  </a:cubicBezTo>
                  <a:cubicBezTo>
                    <a:pt x="1345" y="2096"/>
                    <a:pt x="1474" y="2066"/>
                    <a:pt x="1593" y="2002"/>
                  </a:cubicBezTo>
                  <a:cubicBezTo>
                    <a:pt x="2044" y="1762"/>
                    <a:pt x="2194" y="1141"/>
                    <a:pt x="1914" y="620"/>
                  </a:cubicBezTo>
                  <a:cubicBezTo>
                    <a:pt x="1707" y="229"/>
                    <a:pt x="1331" y="1"/>
                    <a:pt x="967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728" name="Google Shape;1727;p44"/>
            <p:cNvSpPr/>
            <p:nvPr/>
          </p:nvSpPr>
          <p:spPr>
            <a:xfrm>
              <a:off x="7784699" y="1475039"/>
              <a:ext cx="24885" cy="23819"/>
            </a:xfrm>
            <a:custGeom>
              <a:avLst/>
              <a:gdLst/>
              <a:ahLst/>
              <a:cxnLst/>
              <a:rect l="l" t="t" r="r" b="b"/>
              <a:pathLst>
                <a:path w="2194" h="2100" extrusionOk="0">
                  <a:moveTo>
                    <a:pt x="976" y="0"/>
                  </a:moveTo>
                  <a:cubicBezTo>
                    <a:pt x="844" y="0"/>
                    <a:pt x="713" y="30"/>
                    <a:pt x="591" y="94"/>
                  </a:cubicBezTo>
                  <a:cubicBezTo>
                    <a:pt x="141" y="334"/>
                    <a:pt x="1" y="955"/>
                    <a:pt x="281" y="1476"/>
                  </a:cubicBezTo>
                  <a:cubicBezTo>
                    <a:pt x="480" y="1866"/>
                    <a:pt x="853" y="2100"/>
                    <a:pt x="1219" y="2100"/>
                  </a:cubicBezTo>
                  <a:cubicBezTo>
                    <a:pt x="1351" y="2100"/>
                    <a:pt x="1481" y="2070"/>
                    <a:pt x="1603" y="2006"/>
                  </a:cubicBezTo>
                  <a:cubicBezTo>
                    <a:pt x="2053" y="1766"/>
                    <a:pt x="2194" y="1145"/>
                    <a:pt x="1913" y="614"/>
                  </a:cubicBezTo>
                  <a:cubicBezTo>
                    <a:pt x="1714" y="232"/>
                    <a:pt x="1342" y="0"/>
                    <a:pt x="976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729" name="Google Shape;1728;p44"/>
            <p:cNvSpPr/>
            <p:nvPr/>
          </p:nvSpPr>
          <p:spPr>
            <a:xfrm>
              <a:off x="7814234" y="1459523"/>
              <a:ext cx="24885" cy="23785"/>
            </a:xfrm>
            <a:custGeom>
              <a:avLst/>
              <a:gdLst/>
              <a:ahLst/>
              <a:cxnLst/>
              <a:rect l="l" t="t" r="r" b="b"/>
              <a:pathLst>
                <a:path w="2194" h="2097" extrusionOk="0">
                  <a:moveTo>
                    <a:pt x="966" y="1"/>
                  </a:moveTo>
                  <a:cubicBezTo>
                    <a:pt x="837" y="1"/>
                    <a:pt x="709" y="30"/>
                    <a:pt x="591" y="90"/>
                  </a:cubicBezTo>
                  <a:cubicBezTo>
                    <a:pt x="140" y="330"/>
                    <a:pt x="0" y="951"/>
                    <a:pt x="271" y="1482"/>
                  </a:cubicBezTo>
                  <a:cubicBezTo>
                    <a:pt x="477" y="1865"/>
                    <a:pt x="851" y="2096"/>
                    <a:pt x="1214" y="2096"/>
                  </a:cubicBezTo>
                  <a:cubicBezTo>
                    <a:pt x="1344" y="2096"/>
                    <a:pt x="1473" y="2066"/>
                    <a:pt x="1592" y="2003"/>
                  </a:cubicBezTo>
                  <a:cubicBezTo>
                    <a:pt x="2043" y="1762"/>
                    <a:pt x="2193" y="1151"/>
                    <a:pt x="1913" y="621"/>
                  </a:cubicBezTo>
                  <a:cubicBezTo>
                    <a:pt x="1706" y="229"/>
                    <a:pt x="1330" y="1"/>
                    <a:pt x="966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730" name="Google Shape;1729;p44"/>
            <p:cNvSpPr/>
            <p:nvPr/>
          </p:nvSpPr>
          <p:spPr>
            <a:xfrm>
              <a:off x="7843645" y="1444029"/>
              <a:ext cx="24885" cy="23819"/>
            </a:xfrm>
            <a:custGeom>
              <a:avLst/>
              <a:gdLst/>
              <a:ahLst/>
              <a:cxnLst/>
              <a:rect l="l" t="t" r="r" b="b"/>
              <a:pathLst>
                <a:path w="2194" h="2100" extrusionOk="0">
                  <a:moveTo>
                    <a:pt x="976" y="0"/>
                  </a:moveTo>
                  <a:cubicBezTo>
                    <a:pt x="845" y="0"/>
                    <a:pt x="714" y="30"/>
                    <a:pt x="592" y="94"/>
                  </a:cubicBezTo>
                  <a:cubicBezTo>
                    <a:pt x="141" y="334"/>
                    <a:pt x="1" y="955"/>
                    <a:pt x="281" y="1476"/>
                  </a:cubicBezTo>
                  <a:cubicBezTo>
                    <a:pt x="480" y="1867"/>
                    <a:pt x="858" y="2100"/>
                    <a:pt x="1224" y="2100"/>
                  </a:cubicBezTo>
                  <a:cubicBezTo>
                    <a:pt x="1355" y="2100"/>
                    <a:pt x="1484" y="2070"/>
                    <a:pt x="1603" y="2007"/>
                  </a:cubicBezTo>
                  <a:cubicBezTo>
                    <a:pt x="2054" y="1766"/>
                    <a:pt x="2194" y="1145"/>
                    <a:pt x="1914" y="615"/>
                  </a:cubicBezTo>
                  <a:cubicBezTo>
                    <a:pt x="1715" y="232"/>
                    <a:pt x="1343" y="0"/>
                    <a:pt x="976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731" name="Google Shape;1730;p44"/>
            <p:cNvSpPr/>
            <p:nvPr/>
          </p:nvSpPr>
          <p:spPr>
            <a:xfrm>
              <a:off x="7873068" y="1406701"/>
              <a:ext cx="92124" cy="43385"/>
            </a:xfrm>
            <a:custGeom>
              <a:avLst/>
              <a:gdLst/>
              <a:ahLst/>
              <a:cxnLst/>
              <a:rect l="l" t="t" r="r" b="b"/>
              <a:pathLst>
                <a:path w="8122" h="3825" extrusionOk="0">
                  <a:moveTo>
                    <a:pt x="4437" y="0"/>
                  </a:moveTo>
                  <a:lnTo>
                    <a:pt x="591" y="2023"/>
                  </a:lnTo>
                  <a:cubicBezTo>
                    <a:pt x="141" y="2263"/>
                    <a:pt x="0" y="2884"/>
                    <a:pt x="281" y="3405"/>
                  </a:cubicBezTo>
                  <a:cubicBezTo>
                    <a:pt x="435" y="3708"/>
                    <a:pt x="863" y="3825"/>
                    <a:pt x="1286" y="3825"/>
                  </a:cubicBezTo>
                  <a:cubicBezTo>
                    <a:pt x="1605" y="3825"/>
                    <a:pt x="1920" y="3759"/>
                    <a:pt x="2113" y="3655"/>
                  </a:cubicBezTo>
                  <a:lnTo>
                    <a:pt x="8122" y="501"/>
                  </a:lnTo>
                  <a:lnTo>
                    <a:pt x="443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732" name="Google Shape;1731;p44"/>
            <p:cNvSpPr/>
            <p:nvPr/>
          </p:nvSpPr>
          <p:spPr>
            <a:xfrm>
              <a:off x="5441123" y="1144780"/>
              <a:ext cx="581677" cy="480922"/>
            </a:xfrm>
            <a:custGeom>
              <a:avLst/>
              <a:gdLst/>
              <a:ahLst/>
              <a:cxnLst/>
              <a:rect l="l" t="t" r="r" b="b"/>
              <a:pathLst>
                <a:path w="51283" h="42400" extrusionOk="0">
                  <a:moveTo>
                    <a:pt x="42400" y="0"/>
                  </a:moveTo>
                  <a:lnTo>
                    <a:pt x="0" y="42399"/>
                  </a:lnTo>
                  <a:lnTo>
                    <a:pt x="8883" y="42399"/>
                  </a:lnTo>
                  <a:lnTo>
                    <a:pt x="51282" y="0"/>
                  </a:lnTo>
                  <a:close/>
                </a:path>
              </a:pathLst>
            </a:custGeom>
            <a:gradFill>
              <a:gsLst>
                <a:gs pos="0">
                  <a:srgbClr val="FFFFFF"/>
                </a:gs>
                <a:gs pos="100000">
                  <a:srgbClr val="FFFFFF">
                    <a:alpha val="0"/>
                  </a:srgbClr>
                </a:gs>
              </a:gsLst>
              <a:lin ang="10800025" scaled="0"/>
            </a:gra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733" name="Google Shape;1732;p44"/>
            <p:cNvSpPr/>
            <p:nvPr/>
          </p:nvSpPr>
          <p:spPr>
            <a:xfrm>
              <a:off x="5640569" y="1144780"/>
              <a:ext cx="581677" cy="480922"/>
            </a:xfrm>
            <a:custGeom>
              <a:avLst/>
              <a:gdLst/>
              <a:ahLst/>
              <a:cxnLst/>
              <a:rect l="l" t="t" r="r" b="b"/>
              <a:pathLst>
                <a:path w="51283" h="42400" extrusionOk="0">
                  <a:moveTo>
                    <a:pt x="42400" y="0"/>
                  </a:moveTo>
                  <a:lnTo>
                    <a:pt x="1" y="42399"/>
                  </a:lnTo>
                  <a:lnTo>
                    <a:pt x="8883" y="42399"/>
                  </a:lnTo>
                  <a:lnTo>
                    <a:pt x="51283" y="0"/>
                  </a:lnTo>
                  <a:close/>
                </a:path>
              </a:pathLst>
            </a:custGeom>
            <a:gradFill>
              <a:gsLst>
                <a:gs pos="0">
                  <a:srgbClr val="FFFFFF"/>
                </a:gs>
                <a:gs pos="100000">
                  <a:srgbClr val="FFFFFF">
                    <a:alpha val="0"/>
                  </a:srgbClr>
                </a:gs>
              </a:gsLst>
              <a:lin ang="10800025" scaled="0"/>
            </a:gra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734" name="Google Shape;1733;p44"/>
            <p:cNvSpPr/>
            <p:nvPr/>
          </p:nvSpPr>
          <p:spPr>
            <a:xfrm>
              <a:off x="6522097" y="1144780"/>
              <a:ext cx="581677" cy="480922"/>
            </a:xfrm>
            <a:custGeom>
              <a:avLst/>
              <a:gdLst/>
              <a:ahLst/>
              <a:cxnLst/>
              <a:rect l="l" t="t" r="r" b="b"/>
              <a:pathLst>
                <a:path w="51283" h="42400" extrusionOk="0">
                  <a:moveTo>
                    <a:pt x="42400" y="0"/>
                  </a:moveTo>
                  <a:lnTo>
                    <a:pt x="1" y="42399"/>
                  </a:lnTo>
                  <a:lnTo>
                    <a:pt x="8883" y="42399"/>
                  </a:lnTo>
                  <a:lnTo>
                    <a:pt x="51283" y="0"/>
                  </a:lnTo>
                  <a:close/>
                </a:path>
              </a:pathLst>
            </a:custGeom>
            <a:gradFill>
              <a:gsLst>
                <a:gs pos="0">
                  <a:srgbClr val="FFFFFF"/>
                </a:gs>
                <a:gs pos="100000">
                  <a:srgbClr val="FFFFFF">
                    <a:alpha val="0"/>
                  </a:srgbClr>
                </a:gs>
              </a:gsLst>
              <a:lin ang="10800025" scaled="0"/>
            </a:gra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735" name="Google Shape;1734;p44"/>
            <p:cNvSpPr/>
            <p:nvPr/>
          </p:nvSpPr>
          <p:spPr>
            <a:xfrm>
              <a:off x="6721555" y="1144780"/>
              <a:ext cx="581677" cy="480922"/>
            </a:xfrm>
            <a:custGeom>
              <a:avLst/>
              <a:gdLst/>
              <a:ahLst/>
              <a:cxnLst/>
              <a:rect l="l" t="t" r="r" b="b"/>
              <a:pathLst>
                <a:path w="51283" h="42400" extrusionOk="0">
                  <a:moveTo>
                    <a:pt x="42400" y="0"/>
                  </a:moveTo>
                  <a:lnTo>
                    <a:pt x="0" y="42399"/>
                  </a:lnTo>
                  <a:lnTo>
                    <a:pt x="8883" y="42399"/>
                  </a:lnTo>
                  <a:lnTo>
                    <a:pt x="51282" y="0"/>
                  </a:lnTo>
                  <a:close/>
                </a:path>
              </a:pathLst>
            </a:custGeom>
            <a:gradFill>
              <a:gsLst>
                <a:gs pos="0">
                  <a:srgbClr val="FFFFFF"/>
                </a:gs>
                <a:gs pos="100000">
                  <a:srgbClr val="FFFFFF">
                    <a:alpha val="0"/>
                  </a:srgbClr>
                </a:gs>
              </a:gsLst>
              <a:lin ang="10800025" scaled="0"/>
            </a:gra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736" name="Google Shape;1735;p44"/>
            <p:cNvSpPr/>
            <p:nvPr/>
          </p:nvSpPr>
          <p:spPr>
            <a:xfrm>
              <a:off x="7773458" y="1144780"/>
              <a:ext cx="411290" cy="310546"/>
            </a:xfrm>
            <a:custGeom>
              <a:avLst/>
              <a:gdLst/>
              <a:ahLst/>
              <a:cxnLst/>
              <a:rect l="l" t="t" r="r" b="b"/>
              <a:pathLst>
                <a:path w="36261" h="27379" extrusionOk="0">
                  <a:moveTo>
                    <a:pt x="27379" y="0"/>
                  </a:moveTo>
                  <a:lnTo>
                    <a:pt x="0" y="27378"/>
                  </a:lnTo>
                  <a:lnTo>
                    <a:pt x="6670" y="23873"/>
                  </a:lnTo>
                  <a:cubicBezTo>
                    <a:pt x="7947" y="23196"/>
                    <a:pt x="9369" y="22845"/>
                    <a:pt x="10805" y="22845"/>
                  </a:cubicBezTo>
                  <a:cubicBezTo>
                    <a:pt x="11215" y="22845"/>
                    <a:pt x="11627" y="22874"/>
                    <a:pt x="12037" y="22932"/>
                  </a:cubicBezTo>
                  <a:lnTo>
                    <a:pt x="13179" y="23082"/>
                  </a:lnTo>
                  <a:lnTo>
                    <a:pt x="36261" y="0"/>
                  </a:lnTo>
                  <a:close/>
                </a:path>
              </a:pathLst>
            </a:custGeom>
            <a:gradFill>
              <a:gsLst>
                <a:gs pos="0">
                  <a:srgbClr val="FFFFFF"/>
                </a:gs>
                <a:gs pos="100000">
                  <a:srgbClr val="FFFFFF">
                    <a:alpha val="0"/>
                  </a:srgbClr>
                </a:gs>
              </a:gsLst>
              <a:lin ang="10800025" scaled="0"/>
            </a:gra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737" name="Google Shape;1736;p44"/>
            <p:cNvSpPr/>
            <p:nvPr/>
          </p:nvSpPr>
          <p:spPr>
            <a:xfrm>
              <a:off x="7603196" y="1403967"/>
              <a:ext cx="319745" cy="221735"/>
            </a:xfrm>
            <a:custGeom>
              <a:avLst/>
              <a:gdLst/>
              <a:ahLst/>
              <a:cxnLst/>
              <a:rect l="l" t="t" r="r" b="b"/>
              <a:pathLst>
                <a:path w="28190" h="19549" extrusionOk="0">
                  <a:moveTo>
                    <a:pt x="22171" y="3536"/>
                  </a:moveTo>
                  <a:cubicBezTo>
                    <a:pt x="22572" y="3546"/>
                    <a:pt x="22932" y="3786"/>
                    <a:pt x="23113" y="4147"/>
                  </a:cubicBezTo>
                  <a:cubicBezTo>
                    <a:pt x="23383" y="4677"/>
                    <a:pt x="23243" y="5298"/>
                    <a:pt x="22792" y="5539"/>
                  </a:cubicBezTo>
                  <a:cubicBezTo>
                    <a:pt x="22672" y="5599"/>
                    <a:pt x="22542" y="5629"/>
                    <a:pt x="22412" y="5629"/>
                  </a:cubicBezTo>
                  <a:cubicBezTo>
                    <a:pt x="22011" y="5609"/>
                    <a:pt x="21650" y="5378"/>
                    <a:pt x="21470" y="5008"/>
                  </a:cubicBezTo>
                  <a:cubicBezTo>
                    <a:pt x="21200" y="4487"/>
                    <a:pt x="21340" y="3866"/>
                    <a:pt x="21791" y="3626"/>
                  </a:cubicBezTo>
                  <a:cubicBezTo>
                    <a:pt x="21911" y="3566"/>
                    <a:pt x="22031" y="3536"/>
                    <a:pt x="22171" y="3536"/>
                  </a:cubicBezTo>
                  <a:close/>
                  <a:moveTo>
                    <a:pt x="19578" y="4898"/>
                  </a:moveTo>
                  <a:cubicBezTo>
                    <a:pt x="19978" y="4918"/>
                    <a:pt x="20339" y="5158"/>
                    <a:pt x="20519" y="5519"/>
                  </a:cubicBezTo>
                  <a:cubicBezTo>
                    <a:pt x="20789" y="6049"/>
                    <a:pt x="20649" y="6660"/>
                    <a:pt x="20198" y="6901"/>
                  </a:cubicBezTo>
                  <a:cubicBezTo>
                    <a:pt x="20078" y="6961"/>
                    <a:pt x="19948" y="6991"/>
                    <a:pt x="19818" y="6991"/>
                  </a:cubicBezTo>
                  <a:cubicBezTo>
                    <a:pt x="19417" y="6981"/>
                    <a:pt x="19057" y="6740"/>
                    <a:pt x="18877" y="6380"/>
                  </a:cubicBezTo>
                  <a:cubicBezTo>
                    <a:pt x="18606" y="5849"/>
                    <a:pt x="18746" y="5228"/>
                    <a:pt x="19197" y="4988"/>
                  </a:cubicBezTo>
                  <a:cubicBezTo>
                    <a:pt x="19317" y="4928"/>
                    <a:pt x="19437" y="4898"/>
                    <a:pt x="19578" y="4898"/>
                  </a:cubicBezTo>
                  <a:close/>
                  <a:moveTo>
                    <a:pt x="16974" y="6260"/>
                  </a:moveTo>
                  <a:cubicBezTo>
                    <a:pt x="17375" y="6280"/>
                    <a:pt x="17735" y="6520"/>
                    <a:pt x="17915" y="6880"/>
                  </a:cubicBezTo>
                  <a:cubicBezTo>
                    <a:pt x="18196" y="7411"/>
                    <a:pt x="18045" y="8032"/>
                    <a:pt x="17595" y="8272"/>
                  </a:cubicBezTo>
                  <a:cubicBezTo>
                    <a:pt x="17485" y="8333"/>
                    <a:pt x="17354" y="8363"/>
                    <a:pt x="17224" y="8363"/>
                  </a:cubicBezTo>
                  <a:cubicBezTo>
                    <a:pt x="16824" y="8343"/>
                    <a:pt x="16453" y="8102"/>
                    <a:pt x="16283" y="7742"/>
                  </a:cubicBezTo>
                  <a:cubicBezTo>
                    <a:pt x="16003" y="7221"/>
                    <a:pt x="16143" y="6590"/>
                    <a:pt x="16603" y="6360"/>
                  </a:cubicBezTo>
                  <a:cubicBezTo>
                    <a:pt x="16714" y="6300"/>
                    <a:pt x="16844" y="6270"/>
                    <a:pt x="16974" y="6260"/>
                  </a:cubicBezTo>
                  <a:close/>
                  <a:moveTo>
                    <a:pt x="14380" y="7632"/>
                  </a:moveTo>
                  <a:cubicBezTo>
                    <a:pt x="14781" y="7652"/>
                    <a:pt x="15141" y="7882"/>
                    <a:pt x="15322" y="8252"/>
                  </a:cubicBezTo>
                  <a:cubicBezTo>
                    <a:pt x="15602" y="8773"/>
                    <a:pt x="15452" y="9394"/>
                    <a:pt x="15001" y="9634"/>
                  </a:cubicBezTo>
                  <a:cubicBezTo>
                    <a:pt x="14893" y="9693"/>
                    <a:pt x="14767" y="9723"/>
                    <a:pt x="14630" y="9724"/>
                  </a:cubicBezTo>
                  <a:lnTo>
                    <a:pt x="14630" y="9724"/>
                  </a:lnTo>
                  <a:cubicBezTo>
                    <a:pt x="14230" y="9704"/>
                    <a:pt x="13859" y="9474"/>
                    <a:pt x="13689" y="9114"/>
                  </a:cubicBezTo>
                  <a:cubicBezTo>
                    <a:pt x="13409" y="8583"/>
                    <a:pt x="13549" y="7962"/>
                    <a:pt x="14010" y="7722"/>
                  </a:cubicBezTo>
                  <a:cubicBezTo>
                    <a:pt x="14120" y="7662"/>
                    <a:pt x="14250" y="7632"/>
                    <a:pt x="14380" y="7632"/>
                  </a:cubicBezTo>
                  <a:close/>
                  <a:moveTo>
                    <a:pt x="11787" y="8993"/>
                  </a:moveTo>
                  <a:cubicBezTo>
                    <a:pt x="12187" y="9013"/>
                    <a:pt x="12548" y="9254"/>
                    <a:pt x="12718" y="9614"/>
                  </a:cubicBezTo>
                  <a:cubicBezTo>
                    <a:pt x="12998" y="10145"/>
                    <a:pt x="12858" y="10766"/>
                    <a:pt x="12408" y="10996"/>
                  </a:cubicBezTo>
                  <a:cubicBezTo>
                    <a:pt x="12287" y="11056"/>
                    <a:pt x="12157" y="11096"/>
                    <a:pt x="12027" y="11096"/>
                  </a:cubicBezTo>
                  <a:cubicBezTo>
                    <a:pt x="11616" y="11076"/>
                    <a:pt x="11256" y="10836"/>
                    <a:pt x="11086" y="10475"/>
                  </a:cubicBezTo>
                  <a:cubicBezTo>
                    <a:pt x="10805" y="9945"/>
                    <a:pt x="10946" y="9324"/>
                    <a:pt x="11396" y="9094"/>
                  </a:cubicBezTo>
                  <a:cubicBezTo>
                    <a:pt x="11516" y="9033"/>
                    <a:pt x="11646" y="8993"/>
                    <a:pt x="11787" y="8993"/>
                  </a:cubicBezTo>
                  <a:close/>
                  <a:moveTo>
                    <a:pt x="25768" y="1"/>
                  </a:moveTo>
                  <a:cubicBezTo>
                    <a:pt x="24346" y="1"/>
                    <a:pt x="22935" y="360"/>
                    <a:pt x="21671" y="1022"/>
                  </a:cubicBezTo>
                  <a:lnTo>
                    <a:pt x="15001" y="4527"/>
                  </a:lnTo>
                  <a:lnTo>
                    <a:pt x="9163" y="10365"/>
                  </a:lnTo>
                  <a:lnTo>
                    <a:pt x="9173" y="10365"/>
                  </a:lnTo>
                  <a:cubicBezTo>
                    <a:pt x="9574" y="10385"/>
                    <a:pt x="9934" y="10616"/>
                    <a:pt x="10114" y="10986"/>
                  </a:cubicBezTo>
                  <a:cubicBezTo>
                    <a:pt x="10395" y="11507"/>
                    <a:pt x="10245" y="12128"/>
                    <a:pt x="9794" y="12368"/>
                  </a:cubicBezTo>
                  <a:cubicBezTo>
                    <a:pt x="9684" y="12428"/>
                    <a:pt x="9554" y="12458"/>
                    <a:pt x="9423" y="12458"/>
                  </a:cubicBezTo>
                  <a:cubicBezTo>
                    <a:pt x="9023" y="12438"/>
                    <a:pt x="8662" y="12208"/>
                    <a:pt x="8482" y="11847"/>
                  </a:cubicBezTo>
                  <a:cubicBezTo>
                    <a:pt x="8372" y="11647"/>
                    <a:pt x="8332" y="11417"/>
                    <a:pt x="8342" y="11197"/>
                  </a:cubicBezTo>
                  <a:lnTo>
                    <a:pt x="8342" y="11197"/>
                  </a:lnTo>
                  <a:lnTo>
                    <a:pt x="7391" y="12148"/>
                  </a:lnTo>
                  <a:cubicBezTo>
                    <a:pt x="7441" y="12208"/>
                    <a:pt x="7481" y="12278"/>
                    <a:pt x="7521" y="12348"/>
                  </a:cubicBezTo>
                  <a:cubicBezTo>
                    <a:pt x="7801" y="12879"/>
                    <a:pt x="7661" y="13500"/>
                    <a:pt x="7210" y="13730"/>
                  </a:cubicBezTo>
                  <a:cubicBezTo>
                    <a:pt x="7090" y="13790"/>
                    <a:pt x="6960" y="13830"/>
                    <a:pt x="6830" y="13830"/>
                  </a:cubicBezTo>
                  <a:cubicBezTo>
                    <a:pt x="6539" y="13820"/>
                    <a:pt x="6269" y="13690"/>
                    <a:pt x="6079" y="13470"/>
                  </a:cubicBezTo>
                  <a:lnTo>
                    <a:pt x="5057" y="14491"/>
                  </a:lnTo>
                  <a:cubicBezTo>
                    <a:pt x="5007" y="14751"/>
                    <a:pt x="4847" y="14972"/>
                    <a:pt x="4617" y="15102"/>
                  </a:cubicBezTo>
                  <a:cubicBezTo>
                    <a:pt x="4537" y="15142"/>
                    <a:pt x="4456" y="15172"/>
                    <a:pt x="4366" y="15182"/>
                  </a:cubicBezTo>
                  <a:lnTo>
                    <a:pt x="0" y="19548"/>
                  </a:lnTo>
                  <a:lnTo>
                    <a:pt x="3095" y="19548"/>
                  </a:lnTo>
                  <a:lnTo>
                    <a:pt x="10335" y="15743"/>
                  </a:lnTo>
                  <a:cubicBezTo>
                    <a:pt x="10435" y="15683"/>
                    <a:pt x="10535" y="15663"/>
                    <a:pt x="10645" y="15663"/>
                  </a:cubicBezTo>
                  <a:cubicBezTo>
                    <a:pt x="10976" y="15663"/>
                    <a:pt x="11246" y="15913"/>
                    <a:pt x="11296" y="16234"/>
                  </a:cubicBezTo>
                  <a:lnTo>
                    <a:pt x="13199" y="15232"/>
                  </a:lnTo>
                  <a:lnTo>
                    <a:pt x="24474" y="3956"/>
                  </a:lnTo>
                  <a:cubicBezTo>
                    <a:pt x="24304" y="3906"/>
                    <a:pt x="24174" y="3796"/>
                    <a:pt x="24084" y="3646"/>
                  </a:cubicBezTo>
                  <a:cubicBezTo>
                    <a:pt x="23814" y="3115"/>
                    <a:pt x="23954" y="2494"/>
                    <a:pt x="24404" y="2264"/>
                  </a:cubicBezTo>
                  <a:lnTo>
                    <a:pt x="28120" y="311"/>
                  </a:lnTo>
                  <a:lnTo>
                    <a:pt x="28190" y="241"/>
                  </a:lnTo>
                  <a:lnTo>
                    <a:pt x="27048" y="81"/>
                  </a:lnTo>
                  <a:cubicBezTo>
                    <a:pt x="26647" y="31"/>
                    <a:pt x="26247" y="1"/>
                    <a:pt x="25836" y="1"/>
                  </a:cubicBezTo>
                  <a:lnTo>
                    <a:pt x="25826" y="1"/>
                  </a:lnTo>
                  <a:cubicBezTo>
                    <a:pt x="25807" y="1"/>
                    <a:pt x="25787" y="1"/>
                    <a:pt x="25768" y="1"/>
                  </a:cubicBezTo>
                  <a:close/>
                </a:path>
              </a:pathLst>
            </a:custGeom>
            <a:solidFill>
              <a:srgbClr val="F7BD9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738" name="Google Shape;1737;p44"/>
            <p:cNvSpPr/>
            <p:nvPr/>
          </p:nvSpPr>
          <p:spPr>
            <a:xfrm>
              <a:off x="7726772" y="1576736"/>
              <a:ext cx="26020" cy="26133"/>
            </a:xfrm>
            <a:custGeom>
              <a:avLst/>
              <a:gdLst/>
              <a:ahLst/>
              <a:cxnLst/>
              <a:rect l="l" t="t" r="r" b="b"/>
              <a:pathLst>
                <a:path w="2294" h="2304" extrusionOk="0">
                  <a:moveTo>
                    <a:pt x="2294" y="0"/>
                  </a:moveTo>
                  <a:lnTo>
                    <a:pt x="391" y="1002"/>
                  </a:lnTo>
                  <a:cubicBezTo>
                    <a:pt x="401" y="1102"/>
                    <a:pt x="391" y="1202"/>
                    <a:pt x="351" y="1302"/>
                  </a:cubicBezTo>
                  <a:cubicBezTo>
                    <a:pt x="251" y="1592"/>
                    <a:pt x="131" y="1923"/>
                    <a:pt x="0" y="2303"/>
                  </a:cubicBezTo>
                  <a:lnTo>
                    <a:pt x="2294" y="10"/>
                  </a:lnTo>
                  <a:lnTo>
                    <a:pt x="2294" y="0"/>
                  </a:lnTo>
                  <a:close/>
                </a:path>
              </a:pathLst>
            </a:custGeom>
            <a:solidFill>
              <a:srgbClr val="8599C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739" name="Google Shape;1738;p44"/>
            <p:cNvSpPr/>
            <p:nvPr/>
          </p:nvSpPr>
          <p:spPr>
            <a:xfrm>
              <a:off x="7638176" y="1581500"/>
              <a:ext cx="93145" cy="44202"/>
            </a:xfrm>
            <a:custGeom>
              <a:avLst/>
              <a:gdLst/>
              <a:ahLst/>
              <a:cxnLst/>
              <a:rect l="l" t="t" r="r" b="b"/>
              <a:pathLst>
                <a:path w="8212" h="3897" extrusionOk="0">
                  <a:moveTo>
                    <a:pt x="7551" y="1"/>
                  </a:moveTo>
                  <a:lnTo>
                    <a:pt x="7551" y="11"/>
                  </a:lnTo>
                  <a:cubicBezTo>
                    <a:pt x="7441" y="11"/>
                    <a:pt x="7341" y="31"/>
                    <a:pt x="7241" y="81"/>
                  </a:cubicBezTo>
                  <a:lnTo>
                    <a:pt x="1" y="3896"/>
                  </a:lnTo>
                  <a:lnTo>
                    <a:pt x="5789" y="3896"/>
                  </a:lnTo>
                  <a:lnTo>
                    <a:pt x="7811" y="1873"/>
                  </a:lnTo>
                  <a:cubicBezTo>
                    <a:pt x="7942" y="1503"/>
                    <a:pt x="8062" y="1172"/>
                    <a:pt x="8162" y="872"/>
                  </a:cubicBezTo>
                  <a:cubicBezTo>
                    <a:pt x="8202" y="782"/>
                    <a:pt x="8212" y="682"/>
                    <a:pt x="8202" y="582"/>
                  </a:cubicBezTo>
                  <a:cubicBezTo>
                    <a:pt x="8152" y="251"/>
                    <a:pt x="7882" y="1"/>
                    <a:pt x="7551" y="1"/>
                  </a:cubicBezTo>
                  <a:close/>
                </a:path>
              </a:pathLst>
            </a:custGeom>
            <a:solidFill>
              <a:srgbClr val="F7BD9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740" name="Google Shape;1739;p44"/>
            <p:cNvSpPr/>
            <p:nvPr/>
          </p:nvSpPr>
          <p:spPr>
            <a:xfrm>
              <a:off x="7652604" y="1568331"/>
              <a:ext cx="7849" cy="7849"/>
            </a:xfrm>
            <a:custGeom>
              <a:avLst/>
              <a:gdLst/>
              <a:ahLst/>
              <a:cxnLst/>
              <a:rect l="l" t="t" r="r" b="b"/>
              <a:pathLst>
                <a:path w="692" h="692" extrusionOk="0">
                  <a:moveTo>
                    <a:pt x="691" y="0"/>
                  </a:moveTo>
                  <a:lnTo>
                    <a:pt x="0" y="691"/>
                  </a:lnTo>
                  <a:cubicBezTo>
                    <a:pt x="90" y="671"/>
                    <a:pt x="171" y="651"/>
                    <a:pt x="251" y="611"/>
                  </a:cubicBezTo>
                  <a:cubicBezTo>
                    <a:pt x="481" y="481"/>
                    <a:pt x="641" y="260"/>
                    <a:pt x="691" y="0"/>
                  </a:cubicBezTo>
                  <a:close/>
                </a:path>
              </a:pathLst>
            </a:custGeom>
            <a:solidFill>
              <a:srgbClr val="FEFEF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741" name="Google Shape;1740;p44"/>
            <p:cNvSpPr/>
            <p:nvPr/>
          </p:nvSpPr>
          <p:spPr>
            <a:xfrm>
              <a:off x="7672022" y="1541745"/>
              <a:ext cx="19554" cy="19101"/>
            </a:xfrm>
            <a:custGeom>
              <a:avLst/>
              <a:gdLst/>
              <a:ahLst/>
              <a:cxnLst/>
              <a:rect l="l" t="t" r="r" b="b"/>
              <a:pathLst>
                <a:path w="1724" h="1684" extrusionOk="0">
                  <a:moveTo>
                    <a:pt x="1313" y="1"/>
                  </a:moveTo>
                  <a:cubicBezTo>
                    <a:pt x="1314" y="3"/>
                    <a:pt x="1316" y="4"/>
                    <a:pt x="1317" y="6"/>
                  </a:cubicBezTo>
                  <a:lnTo>
                    <a:pt x="1317" y="6"/>
                  </a:lnTo>
                  <a:lnTo>
                    <a:pt x="1323" y="1"/>
                  </a:lnTo>
                  <a:close/>
                  <a:moveTo>
                    <a:pt x="1317" y="6"/>
                  </a:moveTo>
                  <a:lnTo>
                    <a:pt x="1" y="1323"/>
                  </a:lnTo>
                  <a:cubicBezTo>
                    <a:pt x="191" y="1543"/>
                    <a:pt x="461" y="1673"/>
                    <a:pt x="752" y="1683"/>
                  </a:cubicBezTo>
                  <a:cubicBezTo>
                    <a:pt x="882" y="1673"/>
                    <a:pt x="1012" y="1643"/>
                    <a:pt x="1132" y="1583"/>
                  </a:cubicBezTo>
                  <a:cubicBezTo>
                    <a:pt x="1583" y="1353"/>
                    <a:pt x="1723" y="722"/>
                    <a:pt x="1443" y="201"/>
                  </a:cubicBezTo>
                  <a:cubicBezTo>
                    <a:pt x="1404" y="133"/>
                    <a:pt x="1365" y="65"/>
                    <a:pt x="1317" y="6"/>
                  </a:cubicBezTo>
                  <a:close/>
                </a:path>
              </a:pathLst>
            </a:custGeom>
            <a:solidFill>
              <a:srgbClr val="FEFEF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742" name="Google Shape;1741;p44"/>
            <p:cNvSpPr/>
            <p:nvPr/>
          </p:nvSpPr>
          <p:spPr>
            <a:xfrm>
              <a:off x="7697690" y="1521532"/>
              <a:ext cx="23411" cy="23751"/>
            </a:xfrm>
            <a:custGeom>
              <a:avLst/>
              <a:gdLst/>
              <a:ahLst/>
              <a:cxnLst/>
              <a:rect l="l" t="t" r="r" b="b"/>
              <a:pathLst>
                <a:path w="2064" h="2094" extrusionOk="0">
                  <a:moveTo>
                    <a:pt x="842" y="0"/>
                  </a:moveTo>
                  <a:lnTo>
                    <a:pt x="11" y="832"/>
                  </a:lnTo>
                  <a:cubicBezTo>
                    <a:pt x="1" y="1052"/>
                    <a:pt x="51" y="1282"/>
                    <a:pt x="151" y="1472"/>
                  </a:cubicBezTo>
                  <a:cubicBezTo>
                    <a:pt x="331" y="1843"/>
                    <a:pt x="692" y="2073"/>
                    <a:pt x="1092" y="2093"/>
                  </a:cubicBezTo>
                  <a:cubicBezTo>
                    <a:pt x="1223" y="2093"/>
                    <a:pt x="1353" y="2063"/>
                    <a:pt x="1473" y="2003"/>
                  </a:cubicBezTo>
                  <a:cubicBezTo>
                    <a:pt x="1924" y="1763"/>
                    <a:pt x="2064" y="1142"/>
                    <a:pt x="1783" y="611"/>
                  </a:cubicBezTo>
                  <a:cubicBezTo>
                    <a:pt x="1613" y="251"/>
                    <a:pt x="1253" y="20"/>
                    <a:pt x="842" y="0"/>
                  </a:cubicBezTo>
                  <a:close/>
                </a:path>
              </a:pathLst>
            </a:custGeom>
            <a:solidFill>
              <a:srgbClr val="FEFEF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743" name="Google Shape;1742;p44"/>
            <p:cNvSpPr/>
            <p:nvPr/>
          </p:nvSpPr>
          <p:spPr>
            <a:xfrm>
              <a:off x="7725752" y="1505970"/>
              <a:ext cx="24885" cy="23865"/>
            </a:xfrm>
            <a:custGeom>
              <a:avLst/>
              <a:gdLst/>
              <a:ahLst/>
              <a:cxnLst/>
              <a:rect l="l" t="t" r="r" b="b"/>
              <a:pathLst>
                <a:path w="2194" h="2104" extrusionOk="0">
                  <a:moveTo>
                    <a:pt x="972" y="0"/>
                  </a:moveTo>
                  <a:cubicBezTo>
                    <a:pt x="972" y="0"/>
                    <a:pt x="972" y="0"/>
                    <a:pt x="973" y="0"/>
                  </a:cubicBezTo>
                  <a:lnTo>
                    <a:pt x="973" y="0"/>
                  </a:lnTo>
                  <a:cubicBezTo>
                    <a:pt x="976" y="0"/>
                    <a:pt x="979" y="0"/>
                    <a:pt x="982" y="0"/>
                  </a:cubicBezTo>
                  <a:close/>
                  <a:moveTo>
                    <a:pt x="973" y="0"/>
                  </a:moveTo>
                  <a:cubicBezTo>
                    <a:pt x="836" y="2"/>
                    <a:pt x="709" y="42"/>
                    <a:pt x="591" y="101"/>
                  </a:cubicBezTo>
                  <a:cubicBezTo>
                    <a:pt x="141" y="331"/>
                    <a:pt x="0" y="952"/>
                    <a:pt x="281" y="1482"/>
                  </a:cubicBezTo>
                  <a:cubicBezTo>
                    <a:pt x="451" y="1843"/>
                    <a:pt x="811" y="2083"/>
                    <a:pt x="1222" y="2103"/>
                  </a:cubicBezTo>
                  <a:cubicBezTo>
                    <a:pt x="1352" y="2103"/>
                    <a:pt x="1482" y="2063"/>
                    <a:pt x="1593" y="2003"/>
                  </a:cubicBezTo>
                  <a:cubicBezTo>
                    <a:pt x="2043" y="1773"/>
                    <a:pt x="2193" y="1152"/>
                    <a:pt x="1913" y="621"/>
                  </a:cubicBezTo>
                  <a:cubicBezTo>
                    <a:pt x="1733" y="261"/>
                    <a:pt x="1373" y="21"/>
                    <a:pt x="973" y="0"/>
                  </a:cubicBezTo>
                  <a:close/>
                </a:path>
              </a:pathLst>
            </a:custGeom>
            <a:solidFill>
              <a:srgbClr val="FEFEF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744" name="Google Shape;1743;p44"/>
            <p:cNvSpPr/>
            <p:nvPr/>
          </p:nvSpPr>
          <p:spPr>
            <a:xfrm>
              <a:off x="7755276" y="1490522"/>
              <a:ext cx="24897" cy="23751"/>
            </a:xfrm>
            <a:custGeom>
              <a:avLst/>
              <a:gdLst/>
              <a:ahLst/>
              <a:cxnLst/>
              <a:rect l="l" t="t" r="r" b="b"/>
              <a:pathLst>
                <a:path w="2195" h="2094" extrusionOk="0">
                  <a:moveTo>
                    <a:pt x="972" y="1"/>
                  </a:moveTo>
                  <a:cubicBezTo>
                    <a:pt x="842" y="1"/>
                    <a:pt x="712" y="31"/>
                    <a:pt x="592" y="91"/>
                  </a:cubicBezTo>
                  <a:cubicBezTo>
                    <a:pt x="141" y="331"/>
                    <a:pt x="1" y="952"/>
                    <a:pt x="281" y="1483"/>
                  </a:cubicBezTo>
                  <a:cubicBezTo>
                    <a:pt x="452" y="1843"/>
                    <a:pt x="812" y="2073"/>
                    <a:pt x="1223" y="2093"/>
                  </a:cubicBezTo>
                  <a:cubicBezTo>
                    <a:pt x="1353" y="2093"/>
                    <a:pt x="1483" y="2063"/>
                    <a:pt x="1603" y="2003"/>
                  </a:cubicBezTo>
                  <a:cubicBezTo>
                    <a:pt x="2054" y="1763"/>
                    <a:pt x="2194" y="1142"/>
                    <a:pt x="1914" y="621"/>
                  </a:cubicBezTo>
                  <a:cubicBezTo>
                    <a:pt x="1743" y="251"/>
                    <a:pt x="1383" y="21"/>
                    <a:pt x="972" y="1"/>
                  </a:cubicBezTo>
                  <a:close/>
                </a:path>
              </a:pathLst>
            </a:custGeom>
            <a:solidFill>
              <a:srgbClr val="FEFEF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745" name="Google Shape;1744;p44"/>
            <p:cNvSpPr/>
            <p:nvPr/>
          </p:nvSpPr>
          <p:spPr>
            <a:xfrm>
              <a:off x="7784812" y="1475073"/>
              <a:ext cx="24772" cy="23751"/>
            </a:xfrm>
            <a:custGeom>
              <a:avLst/>
              <a:gdLst/>
              <a:ahLst/>
              <a:cxnLst/>
              <a:rect l="l" t="t" r="r" b="b"/>
              <a:pathLst>
                <a:path w="2184" h="2094" extrusionOk="0">
                  <a:moveTo>
                    <a:pt x="962" y="1"/>
                  </a:moveTo>
                  <a:cubicBezTo>
                    <a:pt x="832" y="1"/>
                    <a:pt x="702" y="31"/>
                    <a:pt x="591" y="91"/>
                  </a:cubicBezTo>
                  <a:cubicBezTo>
                    <a:pt x="141" y="331"/>
                    <a:pt x="1" y="952"/>
                    <a:pt x="271" y="1473"/>
                  </a:cubicBezTo>
                  <a:cubicBezTo>
                    <a:pt x="451" y="1833"/>
                    <a:pt x="812" y="2074"/>
                    <a:pt x="1212" y="2094"/>
                  </a:cubicBezTo>
                  <a:cubicBezTo>
                    <a:pt x="1342" y="2094"/>
                    <a:pt x="1473" y="2064"/>
                    <a:pt x="1593" y="2003"/>
                  </a:cubicBezTo>
                  <a:cubicBezTo>
                    <a:pt x="2043" y="1763"/>
                    <a:pt x="2184" y="1142"/>
                    <a:pt x="1903" y="611"/>
                  </a:cubicBezTo>
                  <a:cubicBezTo>
                    <a:pt x="1733" y="251"/>
                    <a:pt x="1373" y="11"/>
                    <a:pt x="962" y="1"/>
                  </a:cubicBezTo>
                  <a:close/>
                </a:path>
              </a:pathLst>
            </a:custGeom>
            <a:solidFill>
              <a:srgbClr val="FEFEF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746" name="Google Shape;1745;p44"/>
            <p:cNvSpPr/>
            <p:nvPr/>
          </p:nvSpPr>
          <p:spPr>
            <a:xfrm>
              <a:off x="7814234" y="1459512"/>
              <a:ext cx="24885" cy="23751"/>
            </a:xfrm>
            <a:custGeom>
              <a:avLst/>
              <a:gdLst/>
              <a:ahLst/>
              <a:cxnLst/>
              <a:rect l="l" t="t" r="r" b="b"/>
              <a:pathLst>
                <a:path w="2194" h="2094" extrusionOk="0">
                  <a:moveTo>
                    <a:pt x="972" y="1"/>
                  </a:moveTo>
                  <a:cubicBezTo>
                    <a:pt x="841" y="1"/>
                    <a:pt x="711" y="31"/>
                    <a:pt x="591" y="91"/>
                  </a:cubicBezTo>
                  <a:cubicBezTo>
                    <a:pt x="140" y="331"/>
                    <a:pt x="0" y="952"/>
                    <a:pt x="281" y="1483"/>
                  </a:cubicBezTo>
                  <a:cubicBezTo>
                    <a:pt x="451" y="1843"/>
                    <a:pt x="811" y="2084"/>
                    <a:pt x="1222" y="2094"/>
                  </a:cubicBezTo>
                  <a:cubicBezTo>
                    <a:pt x="1352" y="2094"/>
                    <a:pt x="1482" y="2064"/>
                    <a:pt x="1602" y="2004"/>
                  </a:cubicBezTo>
                  <a:cubicBezTo>
                    <a:pt x="2053" y="1763"/>
                    <a:pt x="2193" y="1152"/>
                    <a:pt x="1913" y="622"/>
                  </a:cubicBezTo>
                  <a:cubicBezTo>
                    <a:pt x="1743" y="261"/>
                    <a:pt x="1382" y="21"/>
                    <a:pt x="972" y="1"/>
                  </a:cubicBezTo>
                  <a:close/>
                </a:path>
              </a:pathLst>
            </a:custGeom>
            <a:solidFill>
              <a:srgbClr val="FEFEF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747" name="Google Shape;1746;p44"/>
            <p:cNvSpPr/>
            <p:nvPr/>
          </p:nvSpPr>
          <p:spPr>
            <a:xfrm>
              <a:off x="7843759" y="1444063"/>
              <a:ext cx="24885" cy="23751"/>
            </a:xfrm>
            <a:custGeom>
              <a:avLst/>
              <a:gdLst/>
              <a:ahLst/>
              <a:cxnLst/>
              <a:rect l="l" t="t" r="r" b="b"/>
              <a:pathLst>
                <a:path w="2194" h="2094" extrusionOk="0">
                  <a:moveTo>
                    <a:pt x="962" y="1"/>
                  </a:moveTo>
                  <a:cubicBezTo>
                    <a:pt x="832" y="1"/>
                    <a:pt x="702" y="31"/>
                    <a:pt x="592" y="91"/>
                  </a:cubicBezTo>
                  <a:cubicBezTo>
                    <a:pt x="141" y="331"/>
                    <a:pt x="1" y="952"/>
                    <a:pt x="271" y="1473"/>
                  </a:cubicBezTo>
                  <a:cubicBezTo>
                    <a:pt x="452" y="1843"/>
                    <a:pt x="812" y="2074"/>
                    <a:pt x="1213" y="2094"/>
                  </a:cubicBezTo>
                  <a:cubicBezTo>
                    <a:pt x="1343" y="2094"/>
                    <a:pt x="1473" y="2064"/>
                    <a:pt x="1593" y="2004"/>
                  </a:cubicBezTo>
                  <a:cubicBezTo>
                    <a:pt x="2044" y="1763"/>
                    <a:pt x="2194" y="1142"/>
                    <a:pt x="1914" y="612"/>
                  </a:cubicBezTo>
                  <a:cubicBezTo>
                    <a:pt x="1733" y="251"/>
                    <a:pt x="1373" y="11"/>
                    <a:pt x="972" y="1"/>
                  </a:cubicBezTo>
                  <a:close/>
                </a:path>
              </a:pathLst>
            </a:custGeom>
            <a:solidFill>
              <a:srgbClr val="FEFEF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748" name="Google Shape;1747;p44"/>
            <p:cNvSpPr/>
            <p:nvPr/>
          </p:nvSpPr>
          <p:spPr>
            <a:xfrm>
              <a:off x="7873181" y="1407495"/>
              <a:ext cx="48966" cy="41468"/>
            </a:xfrm>
            <a:custGeom>
              <a:avLst/>
              <a:gdLst/>
              <a:ahLst/>
              <a:cxnLst/>
              <a:rect l="l" t="t" r="r" b="b"/>
              <a:pathLst>
                <a:path w="4317" h="3656" extrusionOk="0">
                  <a:moveTo>
                    <a:pt x="4317" y="0"/>
                  </a:moveTo>
                  <a:lnTo>
                    <a:pt x="591" y="1953"/>
                  </a:lnTo>
                  <a:cubicBezTo>
                    <a:pt x="141" y="2193"/>
                    <a:pt x="1" y="2814"/>
                    <a:pt x="271" y="3345"/>
                  </a:cubicBezTo>
                  <a:cubicBezTo>
                    <a:pt x="361" y="3485"/>
                    <a:pt x="491" y="3595"/>
                    <a:pt x="661" y="3655"/>
                  </a:cubicBezTo>
                  <a:lnTo>
                    <a:pt x="4317" y="0"/>
                  </a:lnTo>
                  <a:close/>
                </a:path>
              </a:pathLst>
            </a:custGeom>
            <a:solidFill>
              <a:srgbClr val="FEFEF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749" name="Google Shape;1748;p44"/>
            <p:cNvSpPr/>
            <p:nvPr/>
          </p:nvSpPr>
          <p:spPr>
            <a:xfrm>
              <a:off x="7802642" y="1144780"/>
              <a:ext cx="581564" cy="480922"/>
            </a:xfrm>
            <a:custGeom>
              <a:avLst/>
              <a:gdLst/>
              <a:ahLst/>
              <a:cxnLst/>
              <a:rect l="l" t="t" r="r" b="b"/>
              <a:pathLst>
                <a:path w="51273" h="42400" extrusionOk="0">
                  <a:moveTo>
                    <a:pt x="42390" y="0"/>
                  </a:moveTo>
                  <a:lnTo>
                    <a:pt x="17255" y="25135"/>
                  </a:lnTo>
                  <a:cubicBezTo>
                    <a:pt x="18146" y="26467"/>
                    <a:pt x="18056" y="28380"/>
                    <a:pt x="16774" y="29561"/>
                  </a:cubicBezTo>
                  <a:lnTo>
                    <a:pt x="16764" y="29571"/>
                  </a:lnTo>
                  <a:lnTo>
                    <a:pt x="16754" y="29581"/>
                  </a:lnTo>
                  <a:lnTo>
                    <a:pt x="16744" y="29591"/>
                  </a:lnTo>
                  <a:lnTo>
                    <a:pt x="16734" y="29591"/>
                  </a:lnTo>
                  <a:lnTo>
                    <a:pt x="16724" y="29601"/>
                  </a:lnTo>
                  <a:lnTo>
                    <a:pt x="16724" y="29611"/>
                  </a:lnTo>
                  <a:lnTo>
                    <a:pt x="16714" y="29611"/>
                  </a:lnTo>
                  <a:lnTo>
                    <a:pt x="16704" y="29621"/>
                  </a:lnTo>
                  <a:lnTo>
                    <a:pt x="16684" y="29631"/>
                  </a:lnTo>
                  <a:cubicBezTo>
                    <a:pt x="16494" y="29802"/>
                    <a:pt x="16274" y="29942"/>
                    <a:pt x="16053" y="30062"/>
                  </a:cubicBezTo>
                  <a:lnTo>
                    <a:pt x="8222" y="34178"/>
                  </a:lnTo>
                  <a:lnTo>
                    <a:pt x="1" y="42399"/>
                  </a:lnTo>
                  <a:lnTo>
                    <a:pt x="8893" y="42399"/>
                  </a:lnTo>
                  <a:lnTo>
                    <a:pt x="51273" y="0"/>
                  </a:lnTo>
                  <a:close/>
                </a:path>
              </a:pathLst>
            </a:custGeom>
            <a:gradFill>
              <a:gsLst>
                <a:gs pos="0">
                  <a:srgbClr val="FFFFFF"/>
                </a:gs>
                <a:gs pos="100000">
                  <a:srgbClr val="FFFFFF">
                    <a:alpha val="0"/>
                  </a:srgbClr>
                </a:gs>
              </a:gsLst>
              <a:lin ang="10800025" scaled="0"/>
            </a:gra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750" name="Google Shape;1749;p44"/>
            <p:cNvSpPr/>
            <p:nvPr/>
          </p:nvSpPr>
          <p:spPr>
            <a:xfrm>
              <a:off x="7960870" y="1429760"/>
              <a:ext cx="44497" cy="50213"/>
            </a:xfrm>
            <a:custGeom>
              <a:avLst/>
              <a:gdLst/>
              <a:ahLst/>
              <a:cxnLst/>
              <a:rect l="l" t="t" r="r" b="b"/>
              <a:pathLst>
                <a:path w="3923" h="4427" extrusionOk="0">
                  <a:moveTo>
                    <a:pt x="3875" y="1538"/>
                  </a:moveTo>
                  <a:cubicBezTo>
                    <a:pt x="3919" y="1910"/>
                    <a:pt x="3905" y="2289"/>
                    <a:pt x="3829" y="2658"/>
                  </a:cubicBezTo>
                  <a:lnTo>
                    <a:pt x="3829" y="2658"/>
                  </a:lnTo>
                  <a:cubicBezTo>
                    <a:pt x="3906" y="2293"/>
                    <a:pt x="3923" y="1915"/>
                    <a:pt x="3875" y="1538"/>
                  </a:cubicBezTo>
                  <a:close/>
                  <a:moveTo>
                    <a:pt x="3305" y="0"/>
                  </a:moveTo>
                  <a:lnTo>
                    <a:pt x="0" y="3315"/>
                  </a:lnTo>
                  <a:lnTo>
                    <a:pt x="3836" y="1302"/>
                  </a:lnTo>
                  <a:lnTo>
                    <a:pt x="3836" y="1302"/>
                  </a:lnTo>
                  <a:cubicBezTo>
                    <a:pt x="3852" y="1380"/>
                    <a:pt x="3864" y="1459"/>
                    <a:pt x="3875" y="1538"/>
                  </a:cubicBezTo>
                  <a:lnTo>
                    <a:pt x="3875" y="1538"/>
                  </a:lnTo>
                  <a:cubicBezTo>
                    <a:pt x="3810" y="992"/>
                    <a:pt x="3620" y="461"/>
                    <a:pt x="3315" y="0"/>
                  </a:cubicBezTo>
                  <a:close/>
                  <a:moveTo>
                    <a:pt x="3829" y="2658"/>
                  </a:moveTo>
                  <a:lnTo>
                    <a:pt x="3829" y="2658"/>
                  </a:lnTo>
                  <a:cubicBezTo>
                    <a:pt x="3688" y="3324"/>
                    <a:pt x="3347" y="3944"/>
                    <a:pt x="2834" y="4426"/>
                  </a:cubicBezTo>
                  <a:cubicBezTo>
                    <a:pt x="3370" y="3932"/>
                    <a:pt x="3696" y="3311"/>
                    <a:pt x="3829" y="2658"/>
                  </a:cubicBezTo>
                  <a:close/>
                </a:path>
              </a:pathLst>
            </a:custGeom>
            <a:solidFill>
              <a:srgbClr val="F7BD9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751" name="Google Shape;1750;p44"/>
            <p:cNvSpPr/>
            <p:nvPr/>
          </p:nvSpPr>
          <p:spPr>
            <a:xfrm>
              <a:off x="7895447" y="1444517"/>
              <a:ext cx="110975" cy="88267"/>
            </a:xfrm>
            <a:custGeom>
              <a:avLst/>
              <a:gdLst/>
              <a:ahLst/>
              <a:cxnLst/>
              <a:rect l="l" t="t" r="r" b="b"/>
              <a:pathLst>
                <a:path w="9784" h="7782" extrusionOk="0">
                  <a:moveTo>
                    <a:pt x="9594" y="1"/>
                  </a:moveTo>
                  <a:lnTo>
                    <a:pt x="5768" y="2014"/>
                  </a:lnTo>
                  <a:lnTo>
                    <a:pt x="0" y="7782"/>
                  </a:lnTo>
                  <a:lnTo>
                    <a:pt x="7821" y="3666"/>
                  </a:lnTo>
                  <a:cubicBezTo>
                    <a:pt x="8052" y="3546"/>
                    <a:pt x="8272" y="3406"/>
                    <a:pt x="8472" y="3245"/>
                  </a:cubicBezTo>
                  <a:lnTo>
                    <a:pt x="8482" y="3235"/>
                  </a:lnTo>
                  <a:lnTo>
                    <a:pt x="8492" y="3225"/>
                  </a:lnTo>
                  <a:lnTo>
                    <a:pt x="8502" y="3215"/>
                  </a:lnTo>
                  <a:lnTo>
                    <a:pt x="8502" y="3205"/>
                  </a:lnTo>
                  <a:lnTo>
                    <a:pt x="8512" y="3195"/>
                  </a:lnTo>
                  <a:lnTo>
                    <a:pt x="8522" y="3195"/>
                  </a:lnTo>
                  <a:lnTo>
                    <a:pt x="8532" y="3185"/>
                  </a:lnTo>
                  <a:lnTo>
                    <a:pt x="8542" y="3175"/>
                  </a:lnTo>
                  <a:lnTo>
                    <a:pt x="8552" y="3165"/>
                  </a:lnTo>
                  <a:cubicBezTo>
                    <a:pt x="9403" y="2364"/>
                    <a:pt x="9784" y="1183"/>
                    <a:pt x="9554" y="31"/>
                  </a:cubicBezTo>
                  <a:lnTo>
                    <a:pt x="9594" y="1"/>
                  </a:lnTo>
                  <a:close/>
                </a:path>
              </a:pathLst>
            </a:custGeom>
            <a:solidFill>
              <a:srgbClr val="8599C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752" name="Google Shape;1751;p44"/>
            <p:cNvSpPr/>
            <p:nvPr/>
          </p:nvSpPr>
          <p:spPr>
            <a:xfrm>
              <a:off x="5441123" y="1671457"/>
              <a:ext cx="581677" cy="480922"/>
            </a:xfrm>
            <a:custGeom>
              <a:avLst/>
              <a:gdLst/>
              <a:ahLst/>
              <a:cxnLst/>
              <a:rect l="l" t="t" r="r" b="b"/>
              <a:pathLst>
                <a:path w="51283" h="42400" extrusionOk="0">
                  <a:moveTo>
                    <a:pt x="42400" y="1"/>
                  </a:moveTo>
                  <a:lnTo>
                    <a:pt x="0" y="42400"/>
                  </a:lnTo>
                  <a:lnTo>
                    <a:pt x="8883" y="42400"/>
                  </a:lnTo>
                  <a:lnTo>
                    <a:pt x="51282" y="1"/>
                  </a:lnTo>
                  <a:close/>
                </a:path>
              </a:pathLst>
            </a:custGeom>
            <a:gradFill>
              <a:gsLst>
                <a:gs pos="0">
                  <a:srgbClr val="FFFFFF"/>
                </a:gs>
                <a:gs pos="100000">
                  <a:srgbClr val="FFFFFF">
                    <a:alpha val="0"/>
                  </a:srgbClr>
                </a:gs>
              </a:gsLst>
              <a:lin ang="10800025" scaled="0"/>
            </a:gra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753" name="Google Shape;1752;p44"/>
            <p:cNvSpPr/>
            <p:nvPr/>
          </p:nvSpPr>
          <p:spPr>
            <a:xfrm>
              <a:off x="5640569" y="1671457"/>
              <a:ext cx="581677" cy="480922"/>
            </a:xfrm>
            <a:custGeom>
              <a:avLst/>
              <a:gdLst/>
              <a:ahLst/>
              <a:cxnLst/>
              <a:rect l="l" t="t" r="r" b="b"/>
              <a:pathLst>
                <a:path w="51283" h="42400" extrusionOk="0">
                  <a:moveTo>
                    <a:pt x="42400" y="1"/>
                  </a:moveTo>
                  <a:lnTo>
                    <a:pt x="1" y="42400"/>
                  </a:lnTo>
                  <a:lnTo>
                    <a:pt x="8883" y="42400"/>
                  </a:lnTo>
                  <a:lnTo>
                    <a:pt x="51283" y="1"/>
                  </a:lnTo>
                  <a:close/>
                </a:path>
              </a:pathLst>
            </a:custGeom>
            <a:gradFill>
              <a:gsLst>
                <a:gs pos="0">
                  <a:srgbClr val="FFFFFF"/>
                </a:gs>
                <a:gs pos="100000">
                  <a:srgbClr val="FFFFFF">
                    <a:alpha val="0"/>
                  </a:srgbClr>
                </a:gs>
              </a:gsLst>
              <a:lin ang="10800025" scaled="0"/>
            </a:gra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754" name="Google Shape;1753;p44"/>
            <p:cNvSpPr/>
            <p:nvPr/>
          </p:nvSpPr>
          <p:spPr>
            <a:xfrm>
              <a:off x="6522097" y="1671571"/>
              <a:ext cx="581677" cy="480809"/>
            </a:xfrm>
            <a:custGeom>
              <a:avLst/>
              <a:gdLst/>
              <a:ahLst/>
              <a:cxnLst/>
              <a:rect l="l" t="t" r="r" b="b"/>
              <a:pathLst>
                <a:path w="51283" h="42390" extrusionOk="0">
                  <a:moveTo>
                    <a:pt x="42400" y="1"/>
                  </a:moveTo>
                  <a:lnTo>
                    <a:pt x="15162" y="27229"/>
                  </a:lnTo>
                  <a:lnTo>
                    <a:pt x="17225" y="29482"/>
                  </a:lnTo>
                  <a:lnTo>
                    <a:pt x="17225" y="31875"/>
                  </a:lnTo>
                  <a:lnTo>
                    <a:pt x="14131" y="35260"/>
                  </a:lnTo>
                  <a:lnTo>
                    <a:pt x="15032" y="36241"/>
                  </a:lnTo>
                  <a:lnTo>
                    <a:pt x="51283" y="1"/>
                  </a:lnTo>
                  <a:close/>
                  <a:moveTo>
                    <a:pt x="2775" y="39616"/>
                  </a:moveTo>
                  <a:lnTo>
                    <a:pt x="1" y="42390"/>
                  </a:lnTo>
                  <a:lnTo>
                    <a:pt x="2775" y="42390"/>
                  </a:lnTo>
                  <a:lnTo>
                    <a:pt x="2775" y="39616"/>
                  </a:lnTo>
                  <a:close/>
                </a:path>
              </a:pathLst>
            </a:custGeom>
            <a:gradFill>
              <a:gsLst>
                <a:gs pos="0">
                  <a:srgbClr val="FFFFFF"/>
                </a:gs>
                <a:gs pos="100000">
                  <a:srgbClr val="FFFFFF">
                    <a:alpha val="0"/>
                  </a:srgbClr>
                </a:gs>
              </a:gsLst>
              <a:lin ang="10800025" scaled="0"/>
            </a:gra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755" name="Google Shape;1754;p44"/>
            <p:cNvSpPr/>
            <p:nvPr/>
          </p:nvSpPr>
          <p:spPr>
            <a:xfrm>
              <a:off x="6641363" y="2005959"/>
              <a:ext cx="76108" cy="27165"/>
            </a:xfrm>
            <a:custGeom>
              <a:avLst/>
              <a:gdLst/>
              <a:ahLst/>
              <a:cxnLst/>
              <a:rect l="l" t="t" r="r" b="b"/>
              <a:pathLst>
                <a:path w="6710" h="2395" extrusionOk="0">
                  <a:moveTo>
                    <a:pt x="2394" y="1"/>
                  </a:moveTo>
                  <a:lnTo>
                    <a:pt x="0" y="2394"/>
                  </a:lnTo>
                  <a:lnTo>
                    <a:pt x="6710" y="2394"/>
                  </a:lnTo>
                  <a:lnTo>
                    <a:pt x="6710" y="1"/>
                  </a:lnTo>
                  <a:close/>
                </a:path>
              </a:pathLst>
            </a:custGeom>
            <a:solidFill>
              <a:srgbClr val="A5C4F7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756" name="Google Shape;1755;p44"/>
            <p:cNvSpPr/>
            <p:nvPr/>
          </p:nvSpPr>
          <p:spPr>
            <a:xfrm>
              <a:off x="6553674" y="2109890"/>
              <a:ext cx="111667" cy="42489"/>
            </a:xfrm>
            <a:custGeom>
              <a:avLst/>
              <a:gdLst/>
              <a:ahLst/>
              <a:cxnLst/>
              <a:rect l="l" t="t" r="r" b="b"/>
              <a:pathLst>
                <a:path w="9845" h="3746" extrusionOk="0">
                  <a:moveTo>
                    <a:pt x="962" y="1"/>
                  </a:moveTo>
                  <a:lnTo>
                    <a:pt x="1" y="972"/>
                  </a:lnTo>
                  <a:lnTo>
                    <a:pt x="1" y="3746"/>
                  </a:lnTo>
                  <a:lnTo>
                    <a:pt x="5468" y="3746"/>
                  </a:lnTo>
                  <a:cubicBezTo>
                    <a:pt x="5468" y="3736"/>
                    <a:pt x="5468" y="3716"/>
                    <a:pt x="5468" y="3706"/>
                  </a:cubicBezTo>
                  <a:cubicBezTo>
                    <a:pt x="5468" y="3551"/>
                    <a:pt x="5586" y="3473"/>
                    <a:pt x="5704" y="3473"/>
                  </a:cubicBezTo>
                  <a:cubicBezTo>
                    <a:pt x="5821" y="3473"/>
                    <a:pt x="5939" y="3551"/>
                    <a:pt x="5939" y="3706"/>
                  </a:cubicBezTo>
                  <a:lnTo>
                    <a:pt x="5939" y="3746"/>
                  </a:lnTo>
                  <a:lnTo>
                    <a:pt x="6109" y="3746"/>
                  </a:lnTo>
                  <a:lnTo>
                    <a:pt x="6239" y="3606"/>
                  </a:lnTo>
                  <a:cubicBezTo>
                    <a:pt x="6036" y="3504"/>
                    <a:pt x="6267" y="3206"/>
                    <a:pt x="6440" y="3206"/>
                  </a:cubicBezTo>
                  <a:cubicBezTo>
                    <a:pt x="6488" y="3206"/>
                    <a:pt x="6532" y="3229"/>
                    <a:pt x="6560" y="3285"/>
                  </a:cubicBezTo>
                  <a:lnTo>
                    <a:pt x="6750" y="3105"/>
                  </a:lnTo>
                  <a:lnTo>
                    <a:pt x="6750" y="3085"/>
                  </a:lnTo>
                  <a:cubicBezTo>
                    <a:pt x="6750" y="2955"/>
                    <a:pt x="6860" y="2845"/>
                    <a:pt x="6990" y="2845"/>
                  </a:cubicBezTo>
                  <a:lnTo>
                    <a:pt x="7000" y="2845"/>
                  </a:lnTo>
                  <a:lnTo>
                    <a:pt x="9844" y="1"/>
                  </a:lnTo>
                  <a:close/>
                </a:path>
              </a:pathLst>
            </a:custGeom>
            <a:solidFill>
              <a:srgbClr val="A5C4F7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757" name="Google Shape;1756;p44"/>
            <p:cNvSpPr/>
            <p:nvPr/>
          </p:nvSpPr>
          <p:spPr>
            <a:xfrm>
              <a:off x="6602969" y="2033113"/>
              <a:ext cx="114503" cy="38394"/>
            </a:xfrm>
            <a:custGeom>
              <a:avLst/>
              <a:gdLst/>
              <a:ahLst/>
              <a:cxnLst/>
              <a:rect l="l" t="t" r="r" b="b"/>
              <a:pathLst>
                <a:path w="10095" h="3385" extrusionOk="0">
                  <a:moveTo>
                    <a:pt x="3385" y="0"/>
                  </a:moveTo>
                  <a:lnTo>
                    <a:pt x="1" y="3385"/>
                  </a:lnTo>
                  <a:lnTo>
                    <a:pt x="7001" y="3385"/>
                  </a:lnTo>
                  <a:lnTo>
                    <a:pt x="10095" y="0"/>
                  </a:lnTo>
                  <a:close/>
                </a:path>
              </a:pathLst>
            </a:custGeom>
            <a:solidFill>
              <a:srgbClr val="A5C4F7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758" name="Google Shape;1757;p44"/>
            <p:cNvSpPr/>
            <p:nvPr/>
          </p:nvSpPr>
          <p:spPr>
            <a:xfrm>
              <a:off x="6668506" y="1980405"/>
              <a:ext cx="48966" cy="25566"/>
            </a:xfrm>
            <a:custGeom>
              <a:avLst/>
              <a:gdLst/>
              <a:ahLst/>
              <a:cxnLst/>
              <a:rect l="l" t="t" r="r" b="b"/>
              <a:pathLst>
                <a:path w="4317" h="2254" extrusionOk="0">
                  <a:moveTo>
                    <a:pt x="2254" y="1"/>
                  </a:moveTo>
                  <a:lnTo>
                    <a:pt x="1" y="2254"/>
                  </a:lnTo>
                  <a:lnTo>
                    <a:pt x="4317" y="2254"/>
                  </a:lnTo>
                  <a:lnTo>
                    <a:pt x="2254" y="1"/>
                  </a:lnTo>
                  <a:close/>
                </a:path>
              </a:pathLst>
            </a:custGeom>
            <a:solidFill>
              <a:srgbClr val="A5C4F7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759" name="Google Shape;1758;p44"/>
            <p:cNvSpPr/>
            <p:nvPr/>
          </p:nvSpPr>
          <p:spPr>
            <a:xfrm>
              <a:off x="6564586" y="2071496"/>
              <a:ext cx="128011" cy="38406"/>
            </a:xfrm>
            <a:custGeom>
              <a:avLst/>
              <a:gdLst/>
              <a:ahLst/>
              <a:cxnLst/>
              <a:rect l="l" t="t" r="r" b="b"/>
              <a:pathLst>
                <a:path w="11286" h="3386" extrusionOk="0">
                  <a:moveTo>
                    <a:pt x="3385" y="1"/>
                  </a:moveTo>
                  <a:lnTo>
                    <a:pt x="0" y="3386"/>
                  </a:lnTo>
                  <a:lnTo>
                    <a:pt x="8882" y="3386"/>
                  </a:lnTo>
                  <a:lnTo>
                    <a:pt x="11286" y="982"/>
                  </a:lnTo>
                  <a:lnTo>
                    <a:pt x="10385" y="1"/>
                  </a:lnTo>
                  <a:close/>
                </a:path>
              </a:pathLst>
            </a:custGeom>
            <a:solidFill>
              <a:srgbClr val="A5C4F7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760" name="Google Shape;1759;p44"/>
            <p:cNvSpPr/>
            <p:nvPr/>
          </p:nvSpPr>
          <p:spPr>
            <a:xfrm>
              <a:off x="6630123" y="2142149"/>
              <a:ext cx="2847" cy="2972"/>
            </a:xfrm>
            <a:custGeom>
              <a:avLst/>
              <a:gdLst/>
              <a:ahLst/>
              <a:cxnLst/>
              <a:rect l="l" t="t" r="r" b="b"/>
              <a:pathLst>
                <a:path w="251" h="262" extrusionOk="0">
                  <a:moveTo>
                    <a:pt x="240" y="1"/>
                  </a:moveTo>
                  <a:cubicBezTo>
                    <a:pt x="110" y="1"/>
                    <a:pt x="0" y="111"/>
                    <a:pt x="0" y="241"/>
                  </a:cubicBezTo>
                  <a:lnTo>
                    <a:pt x="0" y="261"/>
                  </a:lnTo>
                  <a:lnTo>
                    <a:pt x="250" y="11"/>
                  </a:lnTo>
                  <a:lnTo>
                    <a:pt x="240" y="11"/>
                  </a:lnTo>
                  <a:lnTo>
                    <a:pt x="240" y="1"/>
                  </a:lnTo>
                  <a:close/>
                </a:path>
              </a:pathLst>
            </a:custGeom>
            <a:solidFill>
              <a:srgbClr val="FEFEF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761" name="Google Shape;1760;p44"/>
            <p:cNvSpPr/>
            <p:nvPr/>
          </p:nvSpPr>
          <p:spPr>
            <a:xfrm>
              <a:off x="6621865" y="2145778"/>
              <a:ext cx="6216" cy="5127"/>
            </a:xfrm>
            <a:custGeom>
              <a:avLst/>
              <a:gdLst/>
              <a:ahLst/>
              <a:cxnLst/>
              <a:rect l="l" t="t" r="r" b="b"/>
              <a:pathLst>
                <a:path w="548" h="452" extrusionOk="0">
                  <a:moveTo>
                    <a:pt x="327" y="1"/>
                  </a:moveTo>
                  <a:cubicBezTo>
                    <a:pt x="75" y="1"/>
                    <a:pt x="0" y="343"/>
                    <a:pt x="227" y="452"/>
                  </a:cubicBezTo>
                  <a:lnTo>
                    <a:pt x="548" y="131"/>
                  </a:lnTo>
                  <a:cubicBezTo>
                    <a:pt x="508" y="51"/>
                    <a:pt x="418" y="1"/>
                    <a:pt x="328" y="1"/>
                  </a:cubicBezTo>
                  <a:lnTo>
                    <a:pt x="338" y="1"/>
                  </a:lnTo>
                  <a:cubicBezTo>
                    <a:pt x="334" y="1"/>
                    <a:pt x="330" y="1"/>
                    <a:pt x="327" y="1"/>
                  </a:cubicBezTo>
                  <a:close/>
                </a:path>
              </a:pathLst>
            </a:custGeom>
            <a:solidFill>
              <a:srgbClr val="FEFEF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762" name="Google Shape;1761;p44"/>
            <p:cNvSpPr/>
            <p:nvPr/>
          </p:nvSpPr>
          <p:spPr>
            <a:xfrm>
              <a:off x="6615695" y="2149192"/>
              <a:ext cx="5229" cy="3187"/>
            </a:xfrm>
            <a:custGeom>
              <a:avLst/>
              <a:gdLst/>
              <a:ahLst/>
              <a:cxnLst/>
              <a:rect l="l" t="t" r="r" b="b"/>
              <a:pathLst>
                <a:path w="461" h="281" extrusionOk="0">
                  <a:moveTo>
                    <a:pt x="231" y="1"/>
                  </a:moveTo>
                  <a:cubicBezTo>
                    <a:pt x="100" y="1"/>
                    <a:pt x="0" y="111"/>
                    <a:pt x="0" y="241"/>
                  </a:cubicBezTo>
                  <a:cubicBezTo>
                    <a:pt x="0" y="251"/>
                    <a:pt x="0" y="271"/>
                    <a:pt x="0" y="281"/>
                  </a:cubicBezTo>
                  <a:lnTo>
                    <a:pt x="461" y="281"/>
                  </a:lnTo>
                  <a:lnTo>
                    <a:pt x="461" y="241"/>
                  </a:lnTo>
                  <a:cubicBezTo>
                    <a:pt x="461" y="111"/>
                    <a:pt x="361" y="1"/>
                    <a:pt x="231" y="1"/>
                  </a:cubicBezTo>
                  <a:close/>
                </a:path>
              </a:pathLst>
            </a:custGeom>
            <a:solidFill>
              <a:srgbClr val="FEFEF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763" name="Google Shape;1762;p44"/>
            <p:cNvSpPr/>
            <p:nvPr/>
          </p:nvSpPr>
          <p:spPr>
            <a:xfrm>
              <a:off x="6721555" y="1677254"/>
              <a:ext cx="520677" cy="475126"/>
            </a:xfrm>
            <a:custGeom>
              <a:avLst/>
              <a:gdLst/>
              <a:ahLst/>
              <a:cxnLst/>
              <a:rect l="l" t="t" r="r" b="b"/>
              <a:pathLst>
                <a:path w="45905" h="41889" extrusionOk="0">
                  <a:moveTo>
                    <a:pt x="28366" y="22406"/>
                  </a:moveTo>
                  <a:lnTo>
                    <a:pt x="28194" y="22578"/>
                  </a:lnTo>
                  <a:lnTo>
                    <a:pt x="28194" y="22578"/>
                  </a:lnTo>
                  <a:cubicBezTo>
                    <a:pt x="28272" y="22546"/>
                    <a:pt x="28334" y="22484"/>
                    <a:pt x="28366" y="22406"/>
                  </a:cubicBezTo>
                  <a:close/>
                  <a:moveTo>
                    <a:pt x="27452" y="22318"/>
                  </a:moveTo>
                  <a:cubicBezTo>
                    <a:pt x="27614" y="22318"/>
                    <a:pt x="27769" y="22443"/>
                    <a:pt x="27769" y="22632"/>
                  </a:cubicBezTo>
                  <a:cubicBezTo>
                    <a:pt x="27769" y="22812"/>
                    <a:pt x="27629" y="22953"/>
                    <a:pt x="27459" y="22953"/>
                  </a:cubicBezTo>
                  <a:cubicBezTo>
                    <a:pt x="27178" y="22953"/>
                    <a:pt x="27028" y="22612"/>
                    <a:pt x="27228" y="22412"/>
                  </a:cubicBezTo>
                  <a:cubicBezTo>
                    <a:pt x="27294" y="22347"/>
                    <a:pt x="27374" y="22318"/>
                    <a:pt x="27452" y="22318"/>
                  </a:cubicBezTo>
                  <a:close/>
                  <a:moveTo>
                    <a:pt x="26840" y="22668"/>
                  </a:moveTo>
                  <a:cubicBezTo>
                    <a:pt x="27002" y="22668"/>
                    <a:pt x="27158" y="22796"/>
                    <a:pt x="27158" y="22993"/>
                  </a:cubicBezTo>
                  <a:cubicBezTo>
                    <a:pt x="27158" y="23163"/>
                    <a:pt x="27008" y="23303"/>
                    <a:pt x="26838" y="23303"/>
                  </a:cubicBezTo>
                  <a:cubicBezTo>
                    <a:pt x="26558" y="23303"/>
                    <a:pt x="26417" y="22963"/>
                    <a:pt x="26618" y="22762"/>
                  </a:cubicBezTo>
                  <a:cubicBezTo>
                    <a:pt x="26682" y="22697"/>
                    <a:pt x="26762" y="22668"/>
                    <a:pt x="26840" y="22668"/>
                  </a:cubicBezTo>
                  <a:close/>
                  <a:moveTo>
                    <a:pt x="26220" y="23028"/>
                  </a:moveTo>
                  <a:cubicBezTo>
                    <a:pt x="26383" y="23028"/>
                    <a:pt x="26538" y="23154"/>
                    <a:pt x="26538" y="23343"/>
                  </a:cubicBezTo>
                  <a:cubicBezTo>
                    <a:pt x="26538" y="23513"/>
                    <a:pt x="26397" y="23653"/>
                    <a:pt x="26217" y="23653"/>
                  </a:cubicBezTo>
                  <a:cubicBezTo>
                    <a:pt x="25937" y="23653"/>
                    <a:pt x="25796" y="23313"/>
                    <a:pt x="25997" y="23123"/>
                  </a:cubicBezTo>
                  <a:cubicBezTo>
                    <a:pt x="26062" y="23058"/>
                    <a:pt x="26142" y="23028"/>
                    <a:pt x="26220" y="23028"/>
                  </a:cubicBezTo>
                  <a:close/>
                  <a:moveTo>
                    <a:pt x="25592" y="23379"/>
                  </a:moveTo>
                  <a:cubicBezTo>
                    <a:pt x="25752" y="23379"/>
                    <a:pt x="25907" y="23504"/>
                    <a:pt x="25907" y="23694"/>
                  </a:cubicBezTo>
                  <a:cubicBezTo>
                    <a:pt x="25907" y="23864"/>
                    <a:pt x="25766" y="24004"/>
                    <a:pt x="25596" y="24004"/>
                  </a:cubicBezTo>
                  <a:cubicBezTo>
                    <a:pt x="25316" y="24004"/>
                    <a:pt x="25176" y="23664"/>
                    <a:pt x="25376" y="23473"/>
                  </a:cubicBezTo>
                  <a:cubicBezTo>
                    <a:pt x="25438" y="23408"/>
                    <a:pt x="25516" y="23379"/>
                    <a:pt x="25592" y="23379"/>
                  </a:cubicBezTo>
                  <a:close/>
                  <a:moveTo>
                    <a:pt x="24967" y="23729"/>
                  </a:moveTo>
                  <a:cubicBezTo>
                    <a:pt x="25126" y="23729"/>
                    <a:pt x="25276" y="23852"/>
                    <a:pt x="25276" y="24034"/>
                  </a:cubicBezTo>
                  <a:cubicBezTo>
                    <a:pt x="25276" y="24214"/>
                    <a:pt x="25136" y="24354"/>
                    <a:pt x="24965" y="24354"/>
                  </a:cubicBezTo>
                  <a:cubicBezTo>
                    <a:pt x="24685" y="24354"/>
                    <a:pt x="24545" y="24014"/>
                    <a:pt x="24745" y="23824"/>
                  </a:cubicBezTo>
                  <a:cubicBezTo>
                    <a:pt x="24811" y="23758"/>
                    <a:pt x="24890" y="23729"/>
                    <a:pt x="24967" y="23729"/>
                  </a:cubicBezTo>
                  <a:close/>
                  <a:moveTo>
                    <a:pt x="24342" y="24080"/>
                  </a:moveTo>
                  <a:cubicBezTo>
                    <a:pt x="24501" y="24080"/>
                    <a:pt x="24655" y="24203"/>
                    <a:pt x="24655" y="24385"/>
                  </a:cubicBezTo>
                  <a:cubicBezTo>
                    <a:pt x="24655" y="24555"/>
                    <a:pt x="24515" y="24695"/>
                    <a:pt x="24344" y="24695"/>
                  </a:cubicBezTo>
                  <a:cubicBezTo>
                    <a:pt x="24064" y="24695"/>
                    <a:pt x="23924" y="24364"/>
                    <a:pt x="24124" y="24174"/>
                  </a:cubicBezTo>
                  <a:cubicBezTo>
                    <a:pt x="24186" y="24109"/>
                    <a:pt x="24265" y="24080"/>
                    <a:pt x="24342" y="24080"/>
                  </a:cubicBezTo>
                  <a:close/>
                  <a:moveTo>
                    <a:pt x="23726" y="24430"/>
                  </a:moveTo>
                  <a:cubicBezTo>
                    <a:pt x="23884" y="24430"/>
                    <a:pt x="24034" y="24553"/>
                    <a:pt x="24034" y="24735"/>
                  </a:cubicBezTo>
                  <a:cubicBezTo>
                    <a:pt x="24034" y="24905"/>
                    <a:pt x="23894" y="25045"/>
                    <a:pt x="23724" y="25045"/>
                  </a:cubicBezTo>
                  <a:cubicBezTo>
                    <a:pt x="23443" y="25045"/>
                    <a:pt x="23313" y="24715"/>
                    <a:pt x="23503" y="24525"/>
                  </a:cubicBezTo>
                  <a:cubicBezTo>
                    <a:pt x="23569" y="24459"/>
                    <a:pt x="23648" y="24430"/>
                    <a:pt x="23726" y="24430"/>
                  </a:cubicBezTo>
                  <a:close/>
                  <a:moveTo>
                    <a:pt x="23093" y="24775"/>
                  </a:moveTo>
                  <a:cubicBezTo>
                    <a:pt x="23253" y="24775"/>
                    <a:pt x="23403" y="24896"/>
                    <a:pt x="23403" y="25085"/>
                  </a:cubicBezTo>
                  <a:cubicBezTo>
                    <a:pt x="23403" y="25256"/>
                    <a:pt x="23263" y="25396"/>
                    <a:pt x="23093" y="25396"/>
                  </a:cubicBezTo>
                  <a:cubicBezTo>
                    <a:pt x="22822" y="25396"/>
                    <a:pt x="22682" y="25065"/>
                    <a:pt x="22872" y="24865"/>
                  </a:cubicBezTo>
                  <a:cubicBezTo>
                    <a:pt x="22937" y="24803"/>
                    <a:pt x="23016" y="24775"/>
                    <a:pt x="23093" y="24775"/>
                  </a:cubicBezTo>
                  <a:close/>
                  <a:moveTo>
                    <a:pt x="22470" y="25126"/>
                  </a:moveTo>
                  <a:cubicBezTo>
                    <a:pt x="22626" y="25126"/>
                    <a:pt x="22772" y="25247"/>
                    <a:pt x="22772" y="25436"/>
                  </a:cubicBezTo>
                  <a:cubicBezTo>
                    <a:pt x="22772" y="25596"/>
                    <a:pt x="22642" y="25736"/>
                    <a:pt x="22472" y="25736"/>
                  </a:cubicBezTo>
                  <a:cubicBezTo>
                    <a:pt x="22201" y="25736"/>
                    <a:pt x="22061" y="25406"/>
                    <a:pt x="22252" y="25216"/>
                  </a:cubicBezTo>
                  <a:cubicBezTo>
                    <a:pt x="22317" y="25154"/>
                    <a:pt x="22394" y="25126"/>
                    <a:pt x="22470" y="25126"/>
                  </a:cubicBezTo>
                  <a:close/>
                  <a:moveTo>
                    <a:pt x="21846" y="25476"/>
                  </a:moveTo>
                  <a:cubicBezTo>
                    <a:pt x="22002" y="25476"/>
                    <a:pt x="22151" y="25594"/>
                    <a:pt x="22151" y="25776"/>
                  </a:cubicBezTo>
                  <a:cubicBezTo>
                    <a:pt x="22151" y="25941"/>
                    <a:pt x="22021" y="26077"/>
                    <a:pt x="21858" y="26077"/>
                  </a:cubicBezTo>
                  <a:cubicBezTo>
                    <a:pt x="21852" y="26077"/>
                    <a:pt x="21847" y="26077"/>
                    <a:pt x="21841" y="26077"/>
                  </a:cubicBezTo>
                  <a:cubicBezTo>
                    <a:pt x="21837" y="26077"/>
                    <a:pt x="21833" y="26077"/>
                    <a:pt x="21829" y="26077"/>
                  </a:cubicBezTo>
                  <a:cubicBezTo>
                    <a:pt x="21567" y="26077"/>
                    <a:pt x="21443" y="25754"/>
                    <a:pt x="21631" y="25566"/>
                  </a:cubicBezTo>
                  <a:cubicBezTo>
                    <a:pt x="21693" y="25504"/>
                    <a:pt x="21770" y="25476"/>
                    <a:pt x="21846" y="25476"/>
                  </a:cubicBezTo>
                  <a:close/>
                  <a:moveTo>
                    <a:pt x="21214" y="25819"/>
                  </a:moveTo>
                  <a:cubicBezTo>
                    <a:pt x="21372" y="25819"/>
                    <a:pt x="21521" y="25943"/>
                    <a:pt x="21521" y="26127"/>
                  </a:cubicBezTo>
                  <a:cubicBezTo>
                    <a:pt x="21521" y="26287"/>
                    <a:pt x="21390" y="26427"/>
                    <a:pt x="21220" y="26427"/>
                  </a:cubicBezTo>
                  <a:cubicBezTo>
                    <a:pt x="20950" y="26427"/>
                    <a:pt x="20810" y="26097"/>
                    <a:pt x="21000" y="25907"/>
                  </a:cubicBezTo>
                  <a:cubicBezTo>
                    <a:pt x="21064" y="25846"/>
                    <a:pt x="21140" y="25819"/>
                    <a:pt x="21214" y="25819"/>
                  </a:cubicBezTo>
                  <a:close/>
                  <a:moveTo>
                    <a:pt x="20592" y="26167"/>
                  </a:moveTo>
                  <a:cubicBezTo>
                    <a:pt x="20744" y="26167"/>
                    <a:pt x="20890" y="26285"/>
                    <a:pt x="20890" y="26467"/>
                  </a:cubicBezTo>
                  <a:cubicBezTo>
                    <a:pt x="20890" y="26638"/>
                    <a:pt x="20759" y="26768"/>
                    <a:pt x="20589" y="26768"/>
                  </a:cubicBezTo>
                  <a:cubicBezTo>
                    <a:pt x="20319" y="26768"/>
                    <a:pt x="20189" y="26447"/>
                    <a:pt x="20379" y="26257"/>
                  </a:cubicBezTo>
                  <a:cubicBezTo>
                    <a:pt x="20441" y="26195"/>
                    <a:pt x="20517" y="26167"/>
                    <a:pt x="20592" y="26167"/>
                  </a:cubicBezTo>
                  <a:close/>
                  <a:moveTo>
                    <a:pt x="19966" y="26510"/>
                  </a:moveTo>
                  <a:cubicBezTo>
                    <a:pt x="20121" y="26510"/>
                    <a:pt x="20269" y="26631"/>
                    <a:pt x="20269" y="26808"/>
                  </a:cubicBezTo>
                  <a:cubicBezTo>
                    <a:pt x="20269" y="26978"/>
                    <a:pt x="20129" y="27108"/>
                    <a:pt x="19968" y="27108"/>
                  </a:cubicBezTo>
                  <a:cubicBezTo>
                    <a:pt x="19698" y="27108"/>
                    <a:pt x="19568" y="26788"/>
                    <a:pt x="19758" y="26598"/>
                  </a:cubicBezTo>
                  <a:cubicBezTo>
                    <a:pt x="19819" y="26537"/>
                    <a:pt x="19893" y="26510"/>
                    <a:pt x="19966" y="26510"/>
                  </a:cubicBezTo>
                  <a:close/>
                  <a:moveTo>
                    <a:pt x="19334" y="26855"/>
                  </a:moveTo>
                  <a:cubicBezTo>
                    <a:pt x="19489" y="26855"/>
                    <a:pt x="19638" y="26974"/>
                    <a:pt x="19638" y="27158"/>
                  </a:cubicBezTo>
                  <a:cubicBezTo>
                    <a:pt x="19638" y="27313"/>
                    <a:pt x="19516" y="27449"/>
                    <a:pt x="19355" y="27449"/>
                  </a:cubicBezTo>
                  <a:cubicBezTo>
                    <a:pt x="19349" y="27449"/>
                    <a:pt x="19343" y="27449"/>
                    <a:pt x="19337" y="27449"/>
                  </a:cubicBezTo>
                  <a:cubicBezTo>
                    <a:pt x="19077" y="27449"/>
                    <a:pt x="18937" y="27128"/>
                    <a:pt x="19127" y="26938"/>
                  </a:cubicBezTo>
                  <a:cubicBezTo>
                    <a:pt x="19188" y="26881"/>
                    <a:pt x="19261" y="26855"/>
                    <a:pt x="19334" y="26855"/>
                  </a:cubicBezTo>
                  <a:close/>
                  <a:moveTo>
                    <a:pt x="18719" y="27198"/>
                  </a:moveTo>
                  <a:cubicBezTo>
                    <a:pt x="18872" y="27198"/>
                    <a:pt x="19017" y="27317"/>
                    <a:pt x="19017" y="27499"/>
                  </a:cubicBezTo>
                  <a:cubicBezTo>
                    <a:pt x="19017" y="27659"/>
                    <a:pt x="18877" y="27799"/>
                    <a:pt x="18717" y="27799"/>
                  </a:cubicBezTo>
                  <a:cubicBezTo>
                    <a:pt x="18446" y="27799"/>
                    <a:pt x="18316" y="27479"/>
                    <a:pt x="18506" y="27289"/>
                  </a:cubicBezTo>
                  <a:cubicBezTo>
                    <a:pt x="18568" y="27226"/>
                    <a:pt x="18645" y="27198"/>
                    <a:pt x="18719" y="27198"/>
                  </a:cubicBezTo>
                  <a:close/>
                  <a:moveTo>
                    <a:pt x="18084" y="27541"/>
                  </a:moveTo>
                  <a:cubicBezTo>
                    <a:pt x="18238" y="27541"/>
                    <a:pt x="18386" y="27662"/>
                    <a:pt x="18386" y="27839"/>
                  </a:cubicBezTo>
                  <a:cubicBezTo>
                    <a:pt x="18386" y="28000"/>
                    <a:pt x="18256" y="28140"/>
                    <a:pt x="18086" y="28140"/>
                  </a:cubicBezTo>
                  <a:cubicBezTo>
                    <a:pt x="17825" y="28140"/>
                    <a:pt x="17695" y="27819"/>
                    <a:pt x="17875" y="27629"/>
                  </a:cubicBezTo>
                  <a:cubicBezTo>
                    <a:pt x="17936" y="27568"/>
                    <a:pt x="18011" y="27541"/>
                    <a:pt x="18084" y="27541"/>
                  </a:cubicBezTo>
                  <a:close/>
                  <a:moveTo>
                    <a:pt x="17460" y="27886"/>
                  </a:moveTo>
                  <a:cubicBezTo>
                    <a:pt x="17612" y="27886"/>
                    <a:pt x="17755" y="28003"/>
                    <a:pt x="17755" y="28180"/>
                  </a:cubicBezTo>
                  <a:cubicBezTo>
                    <a:pt x="17755" y="28340"/>
                    <a:pt x="17625" y="28480"/>
                    <a:pt x="17465" y="28480"/>
                  </a:cubicBezTo>
                  <a:cubicBezTo>
                    <a:pt x="17204" y="28470"/>
                    <a:pt x="17074" y="28160"/>
                    <a:pt x="17255" y="27970"/>
                  </a:cubicBezTo>
                  <a:cubicBezTo>
                    <a:pt x="17315" y="27912"/>
                    <a:pt x="17389" y="27886"/>
                    <a:pt x="17460" y="27886"/>
                  </a:cubicBezTo>
                  <a:close/>
                  <a:moveTo>
                    <a:pt x="16835" y="28226"/>
                  </a:moveTo>
                  <a:cubicBezTo>
                    <a:pt x="16986" y="28226"/>
                    <a:pt x="17134" y="28343"/>
                    <a:pt x="17134" y="28520"/>
                  </a:cubicBezTo>
                  <a:cubicBezTo>
                    <a:pt x="17134" y="28681"/>
                    <a:pt x="17004" y="28811"/>
                    <a:pt x="16834" y="28811"/>
                  </a:cubicBezTo>
                  <a:cubicBezTo>
                    <a:pt x="16574" y="28811"/>
                    <a:pt x="16443" y="28500"/>
                    <a:pt x="16634" y="28310"/>
                  </a:cubicBezTo>
                  <a:cubicBezTo>
                    <a:pt x="16691" y="28252"/>
                    <a:pt x="16763" y="28226"/>
                    <a:pt x="16835" y="28226"/>
                  </a:cubicBezTo>
                  <a:close/>
                  <a:moveTo>
                    <a:pt x="16208" y="28567"/>
                  </a:moveTo>
                  <a:cubicBezTo>
                    <a:pt x="16360" y="28567"/>
                    <a:pt x="16503" y="28684"/>
                    <a:pt x="16503" y="28861"/>
                  </a:cubicBezTo>
                  <a:cubicBezTo>
                    <a:pt x="16503" y="29021"/>
                    <a:pt x="16373" y="29151"/>
                    <a:pt x="16213" y="29151"/>
                  </a:cubicBezTo>
                  <a:cubicBezTo>
                    <a:pt x="15953" y="29151"/>
                    <a:pt x="15823" y="28841"/>
                    <a:pt x="16003" y="28650"/>
                  </a:cubicBezTo>
                  <a:cubicBezTo>
                    <a:pt x="16064" y="28593"/>
                    <a:pt x="16137" y="28567"/>
                    <a:pt x="16208" y="28567"/>
                  </a:cubicBezTo>
                  <a:close/>
                  <a:moveTo>
                    <a:pt x="15581" y="28907"/>
                  </a:moveTo>
                  <a:cubicBezTo>
                    <a:pt x="15729" y="28907"/>
                    <a:pt x="15873" y="29024"/>
                    <a:pt x="15873" y="29201"/>
                  </a:cubicBezTo>
                  <a:cubicBezTo>
                    <a:pt x="15873" y="29361"/>
                    <a:pt x="15742" y="29492"/>
                    <a:pt x="15582" y="29492"/>
                  </a:cubicBezTo>
                  <a:cubicBezTo>
                    <a:pt x="15332" y="29492"/>
                    <a:pt x="15202" y="29181"/>
                    <a:pt x="15382" y="28991"/>
                  </a:cubicBezTo>
                  <a:cubicBezTo>
                    <a:pt x="15440" y="28933"/>
                    <a:pt x="15511" y="28907"/>
                    <a:pt x="15581" y="28907"/>
                  </a:cubicBezTo>
                  <a:close/>
                  <a:moveTo>
                    <a:pt x="14957" y="29248"/>
                  </a:moveTo>
                  <a:cubicBezTo>
                    <a:pt x="15108" y="29248"/>
                    <a:pt x="15252" y="29365"/>
                    <a:pt x="15252" y="29542"/>
                  </a:cubicBezTo>
                  <a:cubicBezTo>
                    <a:pt x="15252" y="29702"/>
                    <a:pt x="15122" y="29832"/>
                    <a:pt x="14961" y="29832"/>
                  </a:cubicBezTo>
                  <a:cubicBezTo>
                    <a:pt x="14701" y="29832"/>
                    <a:pt x="14571" y="29512"/>
                    <a:pt x="14751" y="29331"/>
                  </a:cubicBezTo>
                  <a:cubicBezTo>
                    <a:pt x="14812" y="29274"/>
                    <a:pt x="14885" y="29248"/>
                    <a:pt x="14957" y="29248"/>
                  </a:cubicBezTo>
                  <a:close/>
                  <a:moveTo>
                    <a:pt x="14330" y="29588"/>
                  </a:moveTo>
                  <a:cubicBezTo>
                    <a:pt x="14478" y="29588"/>
                    <a:pt x="14621" y="29702"/>
                    <a:pt x="14621" y="29872"/>
                  </a:cubicBezTo>
                  <a:cubicBezTo>
                    <a:pt x="14621" y="30032"/>
                    <a:pt x="14491" y="30163"/>
                    <a:pt x="14330" y="30163"/>
                  </a:cubicBezTo>
                  <a:cubicBezTo>
                    <a:pt x="14080" y="30163"/>
                    <a:pt x="13950" y="29852"/>
                    <a:pt x="14130" y="29672"/>
                  </a:cubicBezTo>
                  <a:cubicBezTo>
                    <a:pt x="14188" y="29614"/>
                    <a:pt x="14260" y="29588"/>
                    <a:pt x="14330" y="29588"/>
                  </a:cubicBezTo>
                  <a:close/>
                  <a:moveTo>
                    <a:pt x="13711" y="29926"/>
                  </a:moveTo>
                  <a:cubicBezTo>
                    <a:pt x="13855" y="29926"/>
                    <a:pt x="13990" y="30038"/>
                    <a:pt x="13990" y="30213"/>
                  </a:cubicBezTo>
                  <a:cubicBezTo>
                    <a:pt x="13990" y="30373"/>
                    <a:pt x="13870" y="30503"/>
                    <a:pt x="13710" y="30503"/>
                  </a:cubicBezTo>
                  <a:cubicBezTo>
                    <a:pt x="13449" y="30503"/>
                    <a:pt x="13329" y="30193"/>
                    <a:pt x="13509" y="30012"/>
                  </a:cubicBezTo>
                  <a:cubicBezTo>
                    <a:pt x="13569" y="29953"/>
                    <a:pt x="13641" y="29926"/>
                    <a:pt x="13711" y="29926"/>
                  </a:cubicBezTo>
                  <a:close/>
                  <a:moveTo>
                    <a:pt x="13077" y="30259"/>
                  </a:moveTo>
                  <a:cubicBezTo>
                    <a:pt x="13226" y="30259"/>
                    <a:pt x="13369" y="30376"/>
                    <a:pt x="13369" y="30553"/>
                  </a:cubicBezTo>
                  <a:cubicBezTo>
                    <a:pt x="13369" y="30703"/>
                    <a:pt x="13239" y="30834"/>
                    <a:pt x="13079" y="30834"/>
                  </a:cubicBezTo>
                  <a:cubicBezTo>
                    <a:pt x="12828" y="30834"/>
                    <a:pt x="12698" y="30523"/>
                    <a:pt x="12878" y="30343"/>
                  </a:cubicBezTo>
                  <a:cubicBezTo>
                    <a:pt x="12936" y="30285"/>
                    <a:pt x="13007" y="30259"/>
                    <a:pt x="13077" y="30259"/>
                  </a:cubicBezTo>
                  <a:close/>
                  <a:moveTo>
                    <a:pt x="12455" y="30599"/>
                  </a:moveTo>
                  <a:cubicBezTo>
                    <a:pt x="12600" y="30599"/>
                    <a:pt x="12738" y="30714"/>
                    <a:pt x="12738" y="30884"/>
                  </a:cubicBezTo>
                  <a:cubicBezTo>
                    <a:pt x="12738" y="31044"/>
                    <a:pt x="12608" y="31164"/>
                    <a:pt x="12458" y="31164"/>
                  </a:cubicBezTo>
                  <a:cubicBezTo>
                    <a:pt x="12207" y="31164"/>
                    <a:pt x="12077" y="30864"/>
                    <a:pt x="12258" y="30683"/>
                  </a:cubicBezTo>
                  <a:cubicBezTo>
                    <a:pt x="12316" y="30625"/>
                    <a:pt x="12386" y="30599"/>
                    <a:pt x="12455" y="30599"/>
                  </a:cubicBezTo>
                  <a:close/>
                  <a:moveTo>
                    <a:pt x="11831" y="30938"/>
                  </a:moveTo>
                  <a:cubicBezTo>
                    <a:pt x="11978" y="30938"/>
                    <a:pt x="12117" y="31049"/>
                    <a:pt x="12117" y="31224"/>
                  </a:cubicBezTo>
                  <a:cubicBezTo>
                    <a:pt x="12117" y="31374"/>
                    <a:pt x="11987" y="31504"/>
                    <a:pt x="11827" y="31504"/>
                  </a:cubicBezTo>
                  <a:cubicBezTo>
                    <a:pt x="11577" y="31504"/>
                    <a:pt x="11456" y="31194"/>
                    <a:pt x="11627" y="31024"/>
                  </a:cubicBezTo>
                  <a:cubicBezTo>
                    <a:pt x="11686" y="30965"/>
                    <a:pt x="11759" y="30938"/>
                    <a:pt x="11831" y="30938"/>
                  </a:cubicBezTo>
                  <a:close/>
                  <a:moveTo>
                    <a:pt x="11203" y="31270"/>
                  </a:moveTo>
                  <a:cubicBezTo>
                    <a:pt x="11348" y="31270"/>
                    <a:pt x="11486" y="31385"/>
                    <a:pt x="11486" y="31555"/>
                  </a:cubicBezTo>
                  <a:cubicBezTo>
                    <a:pt x="11486" y="31705"/>
                    <a:pt x="11356" y="31835"/>
                    <a:pt x="11206" y="31835"/>
                  </a:cubicBezTo>
                  <a:cubicBezTo>
                    <a:pt x="10956" y="31835"/>
                    <a:pt x="10826" y="31534"/>
                    <a:pt x="11006" y="31354"/>
                  </a:cubicBezTo>
                  <a:cubicBezTo>
                    <a:pt x="11064" y="31296"/>
                    <a:pt x="11134" y="31270"/>
                    <a:pt x="11203" y="31270"/>
                  </a:cubicBezTo>
                  <a:close/>
                  <a:moveTo>
                    <a:pt x="10575" y="31605"/>
                  </a:moveTo>
                  <a:cubicBezTo>
                    <a:pt x="10717" y="31605"/>
                    <a:pt x="10856" y="31715"/>
                    <a:pt x="10856" y="31885"/>
                  </a:cubicBezTo>
                  <a:cubicBezTo>
                    <a:pt x="10856" y="32045"/>
                    <a:pt x="10735" y="32165"/>
                    <a:pt x="10575" y="32165"/>
                  </a:cubicBezTo>
                  <a:cubicBezTo>
                    <a:pt x="10335" y="32165"/>
                    <a:pt x="10205" y="31865"/>
                    <a:pt x="10385" y="31685"/>
                  </a:cubicBezTo>
                  <a:cubicBezTo>
                    <a:pt x="10440" y="31630"/>
                    <a:pt x="10508" y="31605"/>
                    <a:pt x="10575" y="31605"/>
                  </a:cubicBezTo>
                  <a:close/>
                  <a:moveTo>
                    <a:pt x="41899" y="0"/>
                  </a:moveTo>
                  <a:lnTo>
                    <a:pt x="9944" y="31945"/>
                  </a:lnTo>
                  <a:cubicBezTo>
                    <a:pt x="10195" y="31945"/>
                    <a:pt x="10315" y="32245"/>
                    <a:pt x="10145" y="32426"/>
                  </a:cubicBezTo>
                  <a:cubicBezTo>
                    <a:pt x="10087" y="32480"/>
                    <a:pt x="10016" y="32505"/>
                    <a:pt x="9947" y="32505"/>
                  </a:cubicBezTo>
                  <a:cubicBezTo>
                    <a:pt x="9802" y="32505"/>
                    <a:pt x="9664" y="32395"/>
                    <a:pt x="9664" y="32225"/>
                  </a:cubicBezTo>
                  <a:lnTo>
                    <a:pt x="9664" y="32215"/>
                  </a:lnTo>
                  <a:lnTo>
                    <a:pt x="9514" y="32366"/>
                  </a:lnTo>
                  <a:cubicBezTo>
                    <a:pt x="9564" y="32416"/>
                    <a:pt x="9594" y="32486"/>
                    <a:pt x="9594" y="32556"/>
                  </a:cubicBezTo>
                  <a:cubicBezTo>
                    <a:pt x="9594" y="32706"/>
                    <a:pt x="9464" y="32836"/>
                    <a:pt x="9313" y="32836"/>
                  </a:cubicBezTo>
                  <a:cubicBezTo>
                    <a:pt x="9243" y="32836"/>
                    <a:pt x="9173" y="32806"/>
                    <a:pt x="9123" y="32756"/>
                  </a:cubicBezTo>
                  <a:lnTo>
                    <a:pt x="8953" y="32926"/>
                  </a:lnTo>
                  <a:cubicBezTo>
                    <a:pt x="8943" y="33047"/>
                    <a:pt x="8843" y="33137"/>
                    <a:pt x="8723" y="33157"/>
                  </a:cubicBezTo>
                  <a:lnTo>
                    <a:pt x="0" y="41889"/>
                  </a:lnTo>
                  <a:lnTo>
                    <a:pt x="8883" y="41889"/>
                  </a:lnTo>
                  <a:lnTo>
                    <a:pt x="28194" y="22578"/>
                  </a:lnTo>
                  <a:lnTo>
                    <a:pt x="28194" y="22578"/>
                  </a:lnTo>
                  <a:cubicBezTo>
                    <a:pt x="28156" y="22594"/>
                    <a:pt x="28114" y="22602"/>
                    <a:pt x="28070" y="22602"/>
                  </a:cubicBezTo>
                  <a:cubicBezTo>
                    <a:pt x="27789" y="22602"/>
                    <a:pt x="27649" y="22262"/>
                    <a:pt x="27849" y="22061"/>
                  </a:cubicBezTo>
                  <a:cubicBezTo>
                    <a:pt x="27915" y="21996"/>
                    <a:pt x="27994" y="21967"/>
                    <a:pt x="28073" y="21967"/>
                  </a:cubicBezTo>
                  <a:cubicBezTo>
                    <a:pt x="28235" y="21967"/>
                    <a:pt x="28390" y="22092"/>
                    <a:pt x="28390" y="22282"/>
                  </a:cubicBezTo>
                  <a:cubicBezTo>
                    <a:pt x="28390" y="22326"/>
                    <a:pt x="28382" y="22368"/>
                    <a:pt x="28366" y="22406"/>
                  </a:cubicBezTo>
                  <a:lnTo>
                    <a:pt x="28366" y="22406"/>
                  </a:lnTo>
                  <a:lnTo>
                    <a:pt x="28540" y="22232"/>
                  </a:lnTo>
                  <a:cubicBezTo>
                    <a:pt x="28320" y="22151"/>
                    <a:pt x="28260" y="21871"/>
                    <a:pt x="28420" y="21711"/>
                  </a:cubicBezTo>
                  <a:cubicBezTo>
                    <a:pt x="28485" y="21646"/>
                    <a:pt x="28566" y="21616"/>
                    <a:pt x="28646" y="21616"/>
                  </a:cubicBezTo>
                  <a:cubicBezTo>
                    <a:pt x="28775" y="21616"/>
                    <a:pt x="28901" y="21695"/>
                    <a:pt x="28951" y="21831"/>
                  </a:cubicBezTo>
                  <a:lnTo>
                    <a:pt x="29001" y="21771"/>
                  </a:lnTo>
                  <a:cubicBezTo>
                    <a:pt x="28961" y="21711"/>
                    <a:pt x="28941" y="21651"/>
                    <a:pt x="28941" y="21581"/>
                  </a:cubicBezTo>
                  <a:cubicBezTo>
                    <a:pt x="28941" y="21400"/>
                    <a:pt x="29091" y="21260"/>
                    <a:pt x="29261" y="21260"/>
                  </a:cubicBezTo>
                  <a:cubicBezTo>
                    <a:pt x="29331" y="21260"/>
                    <a:pt x="29402" y="21280"/>
                    <a:pt x="29452" y="21320"/>
                  </a:cubicBezTo>
                  <a:lnTo>
                    <a:pt x="29562" y="21210"/>
                  </a:lnTo>
                  <a:cubicBezTo>
                    <a:pt x="29562" y="21050"/>
                    <a:pt x="29702" y="20910"/>
                    <a:pt x="29862" y="20910"/>
                  </a:cubicBezTo>
                  <a:lnTo>
                    <a:pt x="45905" y="4877"/>
                  </a:lnTo>
                  <a:lnTo>
                    <a:pt x="45875" y="4847"/>
                  </a:lnTo>
                  <a:cubicBezTo>
                    <a:pt x="43782" y="5799"/>
                    <a:pt x="41468" y="6600"/>
                    <a:pt x="40467" y="6600"/>
                  </a:cubicBezTo>
                  <a:cubicBezTo>
                    <a:pt x="40217" y="6600"/>
                    <a:pt x="40036" y="6550"/>
                    <a:pt x="39976" y="6439"/>
                  </a:cubicBezTo>
                  <a:cubicBezTo>
                    <a:pt x="39726" y="5919"/>
                    <a:pt x="41729" y="4307"/>
                    <a:pt x="43932" y="2915"/>
                  </a:cubicBezTo>
                  <a:cubicBezTo>
                    <a:pt x="43161" y="2013"/>
                    <a:pt x="42480" y="1032"/>
                    <a:pt x="41899" y="0"/>
                  </a:cubicBezTo>
                  <a:close/>
                </a:path>
              </a:pathLst>
            </a:custGeom>
            <a:gradFill>
              <a:gsLst>
                <a:gs pos="0">
                  <a:srgbClr val="FFFFFF"/>
                </a:gs>
                <a:gs pos="100000">
                  <a:srgbClr val="FFFFFF">
                    <a:alpha val="0"/>
                  </a:srgbClr>
                </a:gs>
              </a:gsLst>
              <a:lin ang="10800025" scaled="0"/>
            </a:gra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764" name="Google Shape;1763;p44"/>
            <p:cNvSpPr/>
            <p:nvPr/>
          </p:nvSpPr>
          <p:spPr>
            <a:xfrm>
              <a:off x="7056850" y="1914300"/>
              <a:ext cx="3539" cy="3539"/>
            </a:xfrm>
            <a:custGeom>
              <a:avLst/>
              <a:gdLst/>
              <a:ahLst/>
              <a:cxnLst/>
              <a:rect l="l" t="t" r="r" b="b"/>
              <a:pathLst>
                <a:path w="312" h="312" extrusionOk="0">
                  <a:moveTo>
                    <a:pt x="311" y="1"/>
                  </a:moveTo>
                  <a:lnTo>
                    <a:pt x="311" y="1"/>
                  </a:lnTo>
                  <a:cubicBezTo>
                    <a:pt x="141" y="11"/>
                    <a:pt x="11" y="141"/>
                    <a:pt x="1" y="311"/>
                  </a:cubicBezTo>
                  <a:lnTo>
                    <a:pt x="311" y="1"/>
                  </a:lnTo>
                  <a:close/>
                </a:path>
              </a:pathLst>
            </a:custGeom>
            <a:solidFill>
              <a:srgbClr val="FEFEF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765" name="Google Shape;1764;p44"/>
            <p:cNvSpPr/>
            <p:nvPr/>
          </p:nvSpPr>
          <p:spPr>
            <a:xfrm>
              <a:off x="7049920" y="1918395"/>
              <a:ext cx="5694" cy="5796"/>
            </a:xfrm>
            <a:custGeom>
              <a:avLst/>
              <a:gdLst/>
              <a:ahLst/>
              <a:cxnLst/>
              <a:rect l="l" t="t" r="r" b="b"/>
              <a:pathLst>
                <a:path w="502" h="511" extrusionOk="0">
                  <a:moveTo>
                    <a:pt x="311" y="0"/>
                  </a:moveTo>
                  <a:cubicBezTo>
                    <a:pt x="141" y="0"/>
                    <a:pt x="1" y="140"/>
                    <a:pt x="1" y="321"/>
                  </a:cubicBezTo>
                  <a:cubicBezTo>
                    <a:pt x="1" y="391"/>
                    <a:pt x="21" y="451"/>
                    <a:pt x="61" y="511"/>
                  </a:cubicBezTo>
                  <a:lnTo>
                    <a:pt x="502" y="60"/>
                  </a:lnTo>
                  <a:cubicBezTo>
                    <a:pt x="452" y="20"/>
                    <a:pt x="381" y="0"/>
                    <a:pt x="311" y="0"/>
                  </a:cubicBezTo>
                  <a:close/>
                </a:path>
              </a:pathLst>
            </a:custGeom>
            <a:solidFill>
              <a:srgbClr val="FEFEF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766" name="Google Shape;1765;p44"/>
            <p:cNvSpPr/>
            <p:nvPr/>
          </p:nvSpPr>
          <p:spPr>
            <a:xfrm>
              <a:off x="7041515" y="1922478"/>
              <a:ext cx="8416" cy="6942"/>
            </a:xfrm>
            <a:custGeom>
              <a:avLst/>
              <a:gdLst/>
              <a:ahLst/>
              <a:cxnLst/>
              <a:rect l="l" t="t" r="r" b="b"/>
              <a:pathLst>
                <a:path w="742" h="612" extrusionOk="0">
                  <a:moveTo>
                    <a:pt x="441" y="1"/>
                  </a:moveTo>
                  <a:cubicBezTo>
                    <a:pt x="91" y="1"/>
                    <a:pt x="1" y="491"/>
                    <a:pt x="331" y="612"/>
                  </a:cubicBezTo>
                  <a:lnTo>
                    <a:pt x="742" y="201"/>
                  </a:lnTo>
                  <a:cubicBezTo>
                    <a:pt x="692" y="81"/>
                    <a:pt x="572" y="1"/>
                    <a:pt x="441" y="1"/>
                  </a:cubicBezTo>
                  <a:close/>
                </a:path>
              </a:pathLst>
            </a:custGeom>
            <a:solidFill>
              <a:srgbClr val="FEFEF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767" name="Google Shape;1766;p44"/>
            <p:cNvSpPr/>
            <p:nvPr/>
          </p:nvSpPr>
          <p:spPr>
            <a:xfrm>
              <a:off x="7034710" y="1926460"/>
              <a:ext cx="8416" cy="7214"/>
            </a:xfrm>
            <a:custGeom>
              <a:avLst/>
              <a:gdLst/>
              <a:ahLst/>
              <a:cxnLst/>
              <a:rect l="l" t="t" r="r" b="b"/>
              <a:pathLst>
                <a:path w="742" h="636" extrusionOk="0">
                  <a:moveTo>
                    <a:pt x="421" y="0"/>
                  </a:moveTo>
                  <a:cubicBezTo>
                    <a:pt x="140" y="0"/>
                    <a:pt x="0" y="341"/>
                    <a:pt x="200" y="541"/>
                  </a:cubicBezTo>
                  <a:cubicBezTo>
                    <a:pt x="265" y="606"/>
                    <a:pt x="345" y="635"/>
                    <a:pt x="424" y="635"/>
                  </a:cubicBezTo>
                  <a:cubicBezTo>
                    <a:pt x="586" y="635"/>
                    <a:pt x="741" y="510"/>
                    <a:pt x="741" y="321"/>
                  </a:cubicBezTo>
                  <a:cubicBezTo>
                    <a:pt x="741" y="140"/>
                    <a:pt x="601" y="0"/>
                    <a:pt x="421" y="0"/>
                  </a:cubicBezTo>
                  <a:close/>
                </a:path>
              </a:pathLst>
            </a:custGeom>
            <a:solidFill>
              <a:srgbClr val="FEFEF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768" name="Google Shape;1767;p44"/>
            <p:cNvSpPr/>
            <p:nvPr/>
          </p:nvSpPr>
          <p:spPr>
            <a:xfrm>
              <a:off x="7027666" y="1930429"/>
              <a:ext cx="8416" cy="7214"/>
            </a:xfrm>
            <a:custGeom>
              <a:avLst/>
              <a:gdLst/>
              <a:ahLst/>
              <a:cxnLst/>
              <a:rect l="l" t="t" r="r" b="b"/>
              <a:pathLst>
                <a:path w="742" h="636" extrusionOk="0">
                  <a:moveTo>
                    <a:pt x="431" y="1"/>
                  </a:moveTo>
                  <a:cubicBezTo>
                    <a:pt x="140" y="1"/>
                    <a:pt x="0" y="341"/>
                    <a:pt x="200" y="541"/>
                  </a:cubicBezTo>
                  <a:cubicBezTo>
                    <a:pt x="266" y="607"/>
                    <a:pt x="346" y="636"/>
                    <a:pt x="424" y="636"/>
                  </a:cubicBezTo>
                  <a:cubicBezTo>
                    <a:pt x="586" y="636"/>
                    <a:pt x="741" y="510"/>
                    <a:pt x="741" y="321"/>
                  </a:cubicBezTo>
                  <a:cubicBezTo>
                    <a:pt x="741" y="141"/>
                    <a:pt x="601" y="1"/>
                    <a:pt x="431" y="1"/>
                  </a:cubicBezTo>
                  <a:close/>
                </a:path>
              </a:pathLst>
            </a:custGeom>
            <a:solidFill>
              <a:srgbClr val="FEFEF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769" name="Google Shape;1768;p44"/>
            <p:cNvSpPr/>
            <p:nvPr/>
          </p:nvSpPr>
          <p:spPr>
            <a:xfrm>
              <a:off x="7020736" y="1934524"/>
              <a:ext cx="8303" cy="7100"/>
            </a:xfrm>
            <a:custGeom>
              <a:avLst/>
              <a:gdLst/>
              <a:ahLst/>
              <a:cxnLst/>
              <a:rect l="l" t="t" r="r" b="b"/>
              <a:pathLst>
                <a:path w="732" h="626" extrusionOk="0">
                  <a:moveTo>
                    <a:pt x="421" y="0"/>
                  </a:moveTo>
                  <a:cubicBezTo>
                    <a:pt x="141" y="0"/>
                    <a:pt x="0" y="341"/>
                    <a:pt x="201" y="531"/>
                  </a:cubicBezTo>
                  <a:cubicBezTo>
                    <a:pt x="266" y="596"/>
                    <a:pt x="345" y="625"/>
                    <a:pt x="421" y="625"/>
                  </a:cubicBezTo>
                  <a:cubicBezTo>
                    <a:pt x="581" y="625"/>
                    <a:pt x="731" y="500"/>
                    <a:pt x="731" y="311"/>
                  </a:cubicBezTo>
                  <a:cubicBezTo>
                    <a:pt x="731" y="140"/>
                    <a:pt x="591" y="0"/>
                    <a:pt x="421" y="0"/>
                  </a:cubicBezTo>
                  <a:close/>
                </a:path>
              </a:pathLst>
            </a:custGeom>
            <a:solidFill>
              <a:srgbClr val="FEFEF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770" name="Google Shape;1769;p44"/>
            <p:cNvSpPr/>
            <p:nvPr/>
          </p:nvSpPr>
          <p:spPr>
            <a:xfrm>
              <a:off x="7013692" y="1938494"/>
              <a:ext cx="8303" cy="7100"/>
            </a:xfrm>
            <a:custGeom>
              <a:avLst/>
              <a:gdLst/>
              <a:ahLst/>
              <a:cxnLst/>
              <a:rect l="l" t="t" r="r" b="b"/>
              <a:pathLst>
                <a:path w="732" h="626" extrusionOk="0">
                  <a:moveTo>
                    <a:pt x="421" y="1"/>
                  </a:moveTo>
                  <a:cubicBezTo>
                    <a:pt x="141" y="1"/>
                    <a:pt x="0" y="331"/>
                    <a:pt x="201" y="531"/>
                  </a:cubicBezTo>
                  <a:cubicBezTo>
                    <a:pt x="266" y="597"/>
                    <a:pt x="345" y="626"/>
                    <a:pt x="422" y="626"/>
                  </a:cubicBezTo>
                  <a:cubicBezTo>
                    <a:pt x="581" y="626"/>
                    <a:pt x="731" y="500"/>
                    <a:pt x="731" y="311"/>
                  </a:cubicBezTo>
                  <a:cubicBezTo>
                    <a:pt x="731" y="131"/>
                    <a:pt x="591" y="1"/>
                    <a:pt x="421" y="1"/>
                  </a:cubicBezTo>
                  <a:close/>
                </a:path>
              </a:pathLst>
            </a:custGeom>
            <a:solidFill>
              <a:srgbClr val="FEFEF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771" name="Google Shape;1770;p44"/>
            <p:cNvSpPr/>
            <p:nvPr/>
          </p:nvSpPr>
          <p:spPr>
            <a:xfrm>
              <a:off x="7006762" y="1942475"/>
              <a:ext cx="8189" cy="7100"/>
            </a:xfrm>
            <a:custGeom>
              <a:avLst/>
              <a:gdLst/>
              <a:ahLst/>
              <a:cxnLst/>
              <a:rect l="l" t="t" r="r" b="b"/>
              <a:pathLst>
                <a:path w="722" h="626" extrusionOk="0">
                  <a:moveTo>
                    <a:pt x="411" y="0"/>
                  </a:moveTo>
                  <a:cubicBezTo>
                    <a:pt x="141" y="0"/>
                    <a:pt x="1" y="341"/>
                    <a:pt x="191" y="531"/>
                  </a:cubicBezTo>
                  <a:cubicBezTo>
                    <a:pt x="256" y="596"/>
                    <a:pt x="335" y="625"/>
                    <a:pt x="412" y="625"/>
                  </a:cubicBezTo>
                  <a:cubicBezTo>
                    <a:pt x="571" y="625"/>
                    <a:pt x="722" y="500"/>
                    <a:pt x="722" y="311"/>
                  </a:cubicBezTo>
                  <a:cubicBezTo>
                    <a:pt x="722" y="140"/>
                    <a:pt x="581" y="0"/>
                    <a:pt x="411" y="0"/>
                  </a:cubicBezTo>
                  <a:close/>
                </a:path>
              </a:pathLst>
            </a:custGeom>
            <a:solidFill>
              <a:srgbClr val="FEFEF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772" name="Google Shape;1771;p44"/>
            <p:cNvSpPr/>
            <p:nvPr/>
          </p:nvSpPr>
          <p:spPr>
            <a:xfrm>
              <a:off x="6999718" y="1946445"/>
              <a:ext cx="8189" cy="7100"/>
            </a:xfrm>
            <a:custGeom>
              <a:avLst/>
              <a:gdLst/>
              <a:ahLst/>
              <a:cxnLst/>
              <a:rect l="l" t="t" r="r" b="b"/>
              <a:pathLst>
                <a:path w="722" h="626" extrusionOk="0">
                  <a:moveTo>
                    <a:pt x="411" y="1"/>
                  </a:moveTo>
                  <a:cubicBezTo>
                    <a:pt x="141" y="1"/>
                    <a:pt x="1" y="331"/>
                    <a:pt x="191" y="531"/>
                  </a:cubicBezTo>
                  <a:cubicBezTo>
                    <a:pt x="256" y="596"/>
                    <a:pt x="335" y="626"/>
                    <a:pt x="412" y="626"/>
                  </a:cubicBezTo>
                  <a:cubicBezTo>
                    <a:pt x="571" y="626"/>
                    <a:pt x="722" y="500"/>
                    <a:pt x="722" y="311"/>
                  </a:cubicBezTo>
                  <a:cubicBezTo>
                    <a:pt x="722" y="141"/>
                    <a:pt x="582" y="1"/>
                    <a:pt x="411" y="1"/>
                  </a:cubicBezTo>
                  <a:close/>
                </a:path>
              </a:pathLst>
            </a:custGeom>
            <a:solidFill>
              <a:srgbClr val="FEFEF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773" name="Google Shape;1772;p44"/>
            <p:cNvSpPr/>
            <p:nvPr/>
          </p:nvSpPr>
          <p:spPr>
            <a:xfrm>
              <a:off x="6992674" y="1950426"/>
              <a:ext cx="8189" cy="7044"/>
            </a:xfrm>
            <a:custGeom>
              <a:avLst/>
              <a:gdLst/>
              <a:ahLst/>
              <a:cxnLst/>
              <a:rect l="l" t="t" r="r" b="b"/>
              <a:pathLst>
                <a:path w="722" h="621" extrusionOk="0">
                  <a:moveTo>
                    <a:pt x="411" y="0"/>
                  </a:moveTo>
                  <a:cubicBezTo>
                    <a:pt x="141" y="0"/>
                    <a:pt x="1" y="331"/>
                    <a:pt x="191" y="531"/>
                  </a:cubicBezTo>
                  <a:cubicBezTo>
                    <a:pt x="256" y="593"/>
                    <a:pt x="335" y="621"/>
                    <a:pt x="412" y="621"/>
                  </a:cubicBezTo>
                  <a:cubicBezTo>
                    <a:pt x="571" y="621"/>
                    <a:pt x="722" y="500"/>
                    <a:pt x="722" y="311"/>
                  </a:cubicBezTo>
                  <a:cubicBezTo>
                    <a:pt x="722" y="140"/>
                    <a:pt x="592" y="0"/>
                    <a:pt x="411" y="0"/>
                  </a:cubicBezTo>
                  <a:close/>
                </a:path>
              </a:pathLst>
            </a:custGeom>
            <a:solidFill>
              <a:srgbClr val="FEFEF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774" name="Google Shape;1773;p44"/>
            <p:cNvSpPr/>
            <p:nvPr/>
          </p:nvSpPr>
          <p:spPr>
            <a:xfrm>
              <a:off x="6985744" y="1954396"/>
              <a:ext cx="8076" cy="6987"/>
            </a:xfrm>
            <a:custGeom>
              <a:avLst/>
              <a:gdLst/>
              <a:ahLst/>
              <a:cxnLst/>
              <a:rect l="l" t="t" r="r" b="b"/>
              <a:pathLst>
                <a:path w="712" h="616" extrusionOk="0">
                  <a:moveTo>
                    <a:pt x="412" y="1"/>
                  </a:moveTo>
                  <a:cubicBezTo>
                    <a:pt x="131" y="1"/>
                    <a:pt x="1" y="331"/>
                    <a:pt x="191" y="521"/>
                  </a:cubicBezTo>
                  <a:cubicBezTo>
                    <a:pt x="254" y="587"/>
                    <a:pt x="331" y="616"/>
                    <a:pt x="407" y="616"/>
                  </a:cubicBezTo>
                  <a:cubicBezTo>
                    <a:pt x="562" y="616"/>
                    <a:pt x="712" y="493"/>
                    <a:pt x="712" y="311"/>
                  </a:cubicBezTo>
                  <a:cubicBezTo>
                    <a:pt x="712" y="141"/>
                    <a:pt x="582" y="1"/>
                    <a:pt x="412" y="1"/>
                  </a:cubicBezTo>
                  <a:close/>
                </a:path>
              </a:pathLst>
            </a:custGeom>
            <a:solidFill>
              <a:srgbClr val="FEFEF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775" name="Google Shape;1774;p44"/>
            <p:cNvSpPr/>
            <p:nvPr/>
          </p:nvSpPr>
          <p:spPr>
            <a:xfrm>
              <a:off x="6978621" y="1958366"/>
              <a:ext cx="8167" cy="6942"/>
            </a:xfrm>
            <a:custGeom>
              <a:avLst/>
              <a:gdLst/>
              <a:ahLst/>
              <a:cxnLst/>
              <a:rect l="l" t="t" r="r" b="b"/>
              <a:pathLst>
                <a:path w="720" h="612" extrusionOk="0">
                  <a:moveTo>
                    <a:pt x="407" y="1"/>
                  </a:moveTo>
                  <a:cubicBezTo>
                    <a:pt x="134" y="1"/>
                    <a:pt x="1" y="334"/>
                    <a:pt x="198" y="522"/>
                  </a:cubicBezTo>
                  <a:cubicBezTo>
                    <a:pt x="260" y="584"/>
                    <a:pt x="337" y="612"/>
                    <a:pt x="412" y="612"/>
                  </a:cubicBezTo>
                  <a:cubicBezTo>
                    <a:pt x="569" y="612"/>
                    <a:pt x="719" y="491"/>
                    <a:pt x="719" y="301"/>
                  </a:cubicBezTo>
                  <a:cubicBezTo>
                    <a:pt x="719" y="131"/>
                    <a:pt x="589" y="1"/>
                    <a:pt x="419" y="1"/>
                  </a:cubicBezTo>
                  <a:cubicBezTo>
                    <a:pt x="415" y="1"/>
                    <a:pt x="411" y="1"/>
                    <a:pt x="407" y="1"/>
                  </a:cubicBezTo>
                  <a:close/>
                </a:path>
              </a:pathLst>
            </a:custGeom>
            <a:solidFill>
              <a:srgbClr val="FEFEF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776" name="Google Shape;1775;p44"/>
            <p:cNvSpPr/>
            <p:nvPr/>
          </p:nvSpPr>
          <p:spPr>
            <a:xfrm>
              <a:off x="6971668" y="1962347"/>
              <a:ext cx="8189" cy="6908"/>
            </a:xfrm>
            <a:custGeom>
              <a:avLst/>
              <a:gdLst/>
              <a:ahLst/>
              <a:cxnLst/>
              <a:rect l="l" t="t" r="r" b="b"/>
              <a:pathLst>
                <a:path w="722" h="609" extrusionOk="0">
                  <a:moveTo>
                    <a:pt x="411" y="1"/>
                  </a:moveTo>
                  <a:cubicBezTo>
                    <a:pt x="140" y="1"/>
                    <a:pt x="0" y="321"/>
                    <a:pt x="191" y="521"/>
                  </a:cubicBezTo>
                  <a:cubicBezTo>
                    <a:pt x="254" y="582"/>
                    <a:pt x="331" y="609"/>
                    <a:pt x="407" y="609"/>
                  </a:cubicBezTo>
                  <a:cubicBezTo>
                    <a:pt x="568" y="609"/>
                    <a:pt x="721" y="485"/>
                    <a:pt x="721" y="301"/>
                  </a:cubicBezTo>
                  <a:cubicBezTo>
                    <a:pt x="721" y="131"/>
                    <a:pt x="581" y="1"/>
                    <a:pt x="411" y="1"/>
                  </a:cubicBezTo>
                  <a:close/>
                </a:path>
              </a:pathLst>
            </a:custGeom>
            <a:solidFill>
              <a:srgbClr val="FEFEF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777" name="Google Shape;1776;p44"/>
            <p:cNvSpPr/>
            <p:nvPr/>
          </p:nvSpPr>
          <p:spPr>
            <a:xfrm>
              <a:off x="6964624" y="1966215"/>
              <a:ext cx="8076" cy="6930"/>
            </a:xfrm>
            <a:custGeom>
              <a:avLst/>
              <a:gdLst/>
              <a:ahLst/>
              <a:cxnLst/>
              <a:rect l="l" t="t" r="r" b="b"/>
              <a:pathLst>
                <a:path w="712" h="611" extrusionOk="0">
                  <a:moveTo>
                    <a:pt x="411" y="0"/>
                  </a:moveTo>
                  <a:cubicBezTo>
                    <a:pt x="131" y="0"/>
                    <a:pt x="0" y="330"/>
                    <a:pt x="191" y="521"/>
                  </a:cubicBezTo>
                  <a:cubicBezTo>
                    <a:pt x="253" y="583"/>
                    <a:pt x="330" y="611"/>
                    <a:pt x="406" y="611"/>
                  </a:cubicBezTo>
                  <a:cubicBezTo>
                    <a:pt x="562" y="611"/>
                    <a:pt x="711" y="492"/>
                    <a:pt x="711" y="310"/>
                  </a:cubicBezTo>
                  <a:cubicBezTo>
                    <a:pt x="711" y="140"/>
                    <a:pt x="571" y="0"/>
                    <a:pt x="411" y="0"/>
                  </a:cubicBezTo>
                  <a:close/>
                </a:path>
              </a:pathLst>
            </a:custGeom>
            <a:solidFill>
              <a:srgbClr val="FEFEF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778" name="Google Shape;1777;p44"/>
            <p:cNvSpPr/>
            <p:nvPr/>
          </p:nvSpPr>
          <p:spPr>
            <a:xfrm>
              <a:off x="6957581" y="1970185"/>
              <a:ext cx="7962" cy="6908"/>
            </a:xfrm>
            <a:custGeom>
              <a:avLst/>
              <a:gdLst/>
              <a:ahLst/>
              <a:cxnLst/>
              <a:rect l="l" t="t" r="r" b="b"/>
              <a:pathLst>
                <a:path w="702" h="609" extrusionOk="0">
                  <a:moveTo>
                    <a:pt x="401" y="1"/>
                  </a:moveTo>
                  <a:cubicBezTo>
                    <a:pt x="131" y="1"/>
                    <a:pt x="1" y="331"/>
                    <a:pt x="191" y="521"/>
                  </a:cubicBezTo>
                  <a:cubicBezTo>
                    <a:pt x="251" y="582"/>
                    <a:pt x="325" y="609"/>
                    <a:pt x="398" y="609"/>
                  </a:cubicBezTo>
                  <a:cubicBezTo>
                    <a:pt x="553" y="609"/>
                    <a:pt x="701" y="485"/>
                    <a:pt x="701" y="301"/>
                  </a:cubicBezTo>
                  <a:cubicBezTo>
                    <a:pt x="701" y="131"/>
                    <a:pt x="571" y="1"/>
                    <a:pt x="401" y="1"/>
                  </a:cubicBezTo>
                  <a:close/>
                </a:path>
              </a:pathLst>
            </a:custGeom>
            <a:solidFill>
              <a:srgbClr val="FEFEF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779" name="Google Shape;1778;p44"/>
            <p:cNvSpPr/>
            <p:nvPr/>
          </p:nvSpPr>
          <p:spPr>
            <a:xfrm>
              <a:off x="6950571" y="1974155"/>
              <a:ext cx="7928" cy="6806"/>
            </a:xfrm>
            <a:custGeom>
              <a:avLst/>
              <a:gdLst/>
              <a:ahLst/>
              <a:cxnLst/>
              <a:rect l="l" t="t" r="r" b="b"/>
              <a:pathLst>
                <a:path w="699" h="600" extrusionOk="0">
                  <a:moveTo>
                    <a:pt x="386" y="1"/>
                  </a:moveTo>
                  <a:cubicBezTo>
                    <a:pt x="124" y="1"/>
                    <a:pt x="0" y="324"/>
                    <a:pt x="188" y="512"/>
                  </a:cubicBezTo>
                  <a:cubicBezTo>
                    <a:pt x="249" y="573"/>
                    <a:pt x="323" y="600"/>
                    <a:pt x="396" y="600"/>
                  </a:cubicBezTo>
                  <a:cubicBezTo>
                    <a:pt x="551" y="600"/>
                    <a:pt x="699" y="478"/>
                    <a:pt x="699" y="301"/>
                  </a:cubicBezTo>
                  <a:cubicBezTo>
                    <a:pt x="699" y="131"/>
                    <a:pt x="568" y="1"/>
                    <a:pt x="398" y="1"/>
                  </a:cubicBezTo>
                  <a:cubicBezTo>
                    <a:pt x="394" y="1"/>
                    <a:pt x="390" y="1"/>
                    <a:pt x="386" y="1"/>
                  </a:cubicBezTo>
                  <a:close/>
                </a:path>
              </a:pathLst>
            </a:custGeom>
            <a:solidFill>
              <a:srgbClr val="FEFEF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780" name="Google Shape;1779;p44"/>
            <p:cNvSpPr/>
            <p:nvPr/>
          </p:nvSpPr>
          <p:spPr>
            <a:xfrm>
              <a:off x="6943493" y="1978023"/>
              <a:ext cx="7962" cy="6828"/>
            </a:xfrm>
            <a:custGeom>
              <a:avLst/>
              <a:gdLst/>
              <a:ahLst/>
              <a:cxnLst/>
              <a:rect l="l" t="t" r="r" b="b"/>
              <a:pathLst>
                <a:path w="702" h="602" extrusionOk="0">
                  <a:moveTo>
                    <a:pt x="401" y="0"/>
                  </a:moveTo>
                  <a:cubicBezTo>
                    <a:pt x="131" y="0"/>
                    <a:pt x="1" y="321"/>
                    <a:pt x="191" y="511"/>
                  </a:cubicBezTo>
                  <a:cubicBezTo>
                    <a:pt x="253" y="573"/>
                    <a:pt x="329" y="601"/>
                    <a:pt x="404" y="601"/>
                  </a:cubicBezTo>
                  <a:cubicBezTo>
                    <a:pt x="557" y="601"/>
                    <a:pt x="702" y="483"/>
                    <a:pt x="702" y="301"/>
                  </a:cubicBezTo>
                  <a:cubicBezTo>
                    <a:pt x="702" y="131"/>
                    <a:pt x="572" y="0"/>
                    <a:pt x="401" y="0"/>
                  </a:cubicBezTo>
                  <a:close/>
                </a:path>
              </a:pathLst>
            </a:custGeom>
            <a:solidFill>
              <a:srgbClr val="FEFEF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781" name="Google Shape;1780;p44"/>
            <p:cNvSpPr/>
            <p:nvPr/>
          </p:nvSpPr>
          <p:spPr>
            <a:xfrm>
              <a:off x="6936450" y="1981879"/>
              <a:ext cx="7962" cy="6828"/>
            </a:xfrm>
            <a:custGeom>
              <a:avLst/>
              <a:gdLst/>
              <a:ahLst/>
              <a:cxnLst/>
              <a:rect l="l" t="t" r="r" b="b"/>
              <a:pathLst>
                <a:path w="702" h="602" extrusionOk="0">
                  <a:moveTo>
                    <a:pt x="401" y="1"/>
                  </a:moveTo>
                  <a:cubicBezTo>
                    <a:pt x="131" y="1"/>
                    <a:pt x="1" y="331"/>
                    <a:pt x="191" y="512"/>
                  </a:cubicBezTo>
                  <a:cubicBezTo>
                    <a:pt x="250" y="574"/>
                    <a:pt x="325" y="602"/>
                    <a:pt x="399" y="602"/>
                  </a:cubicBezTo>
                  <a:cubicBezTo>
                    <a:pt x="552" y="602"/>
                    <a:pt x="702" y="483"/>
                    <a:pt x="702" y="301"/>
                  </a:cubicBezTo>
                  <a:cubicBezTo>
                    <a:pt x="702" y="141"/>
                    <a:pt x="562" y="1"/>
                    <a:pt x="401" y="1"/>
                  </a:cubicBezTo>
                  <a:close/>
                </a:path>
              </a:pathLst>
            </a:custGeom>
            <a:solidFill>
              <a:srgbClr val="FEFEF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782" name="Google Shape;1781;p44"/>
            <p:cNvSpPr/>
            <p:nvPr/>
          </p:nvSpPr>
          <p:spPr>
            <a:xfrm>
              <a:off x="6929417" y="1985860"/>
              <a:ext cx="7838" cy="6749"/>
            </a:xfrm>
            <a:custGeom>
              <a:avLst/>
              <a:gdLst/>
              <a:ahLst/>
              <a:cxnLst/>
              <a:rect l="l" t="t" r="r" b="b"/>
              <a:pathLst>
                <a:path w="691" h="595" extrusionOk="0">
                  <a:moveTo>
                    <a:pt x="391" y="0"/>
                  </a:moveTo>
                  <a:cubicBezTo>
                    <a:pt x="130" y="0"/>
                    <a:pt x="0" y="321"/>
                    <a:pt x="190" y="511"/>
                  </a:cubicBezTo>
                  <a:cubicBezTo>
                    <a:pt x="248" y="568"/>
                    <a:pt x="319" y="594"/>
                    <a:pt x="390" y="594"/>
                  </a:cubicBezTo>
                  <a:cubicBezTo>
                    <a:pt x="542" y="594"/>
                    <a:pt x="691" y="475"/>
                    <a:pt x="691" y="291"/>
                  </a:cubicBezTo>
                  <a:cubicBezTo>
                    <a:pt x="691" y="131"/>
                    <a:pt x="561" y="0"/>
                    <a:pt x="391" y="0"/>
                  </a:cubicBezTo>
                  <a:close/>
                </a:path>
              </a:pathLst>
            </a:custGeom>
            <a:solidFill>
              <a:srgbClr val="FEFEF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783" name="Google Shape;1782;p44"/>
            <p:cNvSpPr/>
            <p:nvPr/>
          </p:nvSpPr>
          <p:spPr>
            <a:xfrm>
              <a:off x="6922260" y="1989717"/>
              <a:ext cx="7962" cy="6760"/>
            </a:xfrm>
            <a:custGeom>
              <a:avLst/>
              <a:gdLst/>
              <a:ahLst/>
              <a:cxnLst/>
              <a:rect l="l" t="t" r="r" b="b"/>
              <a:pathLst>
                <a:path w="702" h="596" extrusionOk="0">
                  <a:moveTo>
                    <a:pt x="401" y="1"/>
                  </a:moveTo>
                  <a:cubicBezTo>
                    <a:pt x="140" y="1"/>
                    <a:pt x="0" y="321"/>
                    <a:pt x="190" y="512"/>
                  </a:cubicBezTo>
                  <a:cubicBezTo>
                    <a:pt x="251" y="569"/>
                    <a:pt x="326" y="595"/>
                    <a:pt x="398" y="595"/>
                  </a:cubicBezTo>
                  <a:cubicBezTo>
                    <a:pt x="553" y="595"/>
                    <a:pt x="701" y="478"/>
                    <a:pt x="701" y="301"/>
                  </a:cubicBezTo>
                  <a:cubicBezTo>
                    <a:pt x="701" y="131"/>
                    <a:pt x="571" y="1"/>
                    <a:pt x="401" y="1"/>
                  </a:cubicBezTo>
                  <a:close/>
                </a:path>
              </a:pathLst>
            </a:custGeom>
            <a:solidFill>
              <a:srgbClr val="FEFEF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784" name="Google Shape;1783;p44"/>
            <p:cNvSpPr/>
            <p:nvPr/>
          </p:nvSpPr>
          <p:spPr>
            <a:xfrm>
              <a:off x="6915330" y="1993584"/>
              <a:ext cx="7736" cy="6715"/>
            </a:xfrm>
            <a:custGeom>
              <a:avLst/>
              <a:gdLst/>
              <a:ahLst/>
              <a:cxnLst/>
              <a:rect l="l" t="t" r="r" b="b"/>
              <a:pathLst>
                <a:path w="682" h="592" extrusionOk="0">
                  <a:moveTo>
                    <a:pt x="391" y="0"/>
                  </a:moveTo>
                  <a:cubicBezTo>
                    <a:pt x="130" y="0"/>
                    <a:pt x="0" y="321"/>
                    <a:pt x="181" y="501"/>
                  </a:cubicBezTo>
                  <a:cubicBezTo>
                    <a:pt x="243" y="564"/>
                    <a:pt x="319" y="592"/>
                    <a:pt x="392" y="592"/>
                  </a:cubicBezTo>
                  <a:cubicBezTo>
                    <a:pt x="541" y="592"/>
                    <a:pt x="681" y="476"/>
                    <a:pt x="681" y="301"/>
                  </a:cubicBezTo>
                  <a:cubicBezTo>
                    <a:pt x="681" y="131"/>
                    <a:pt x="551" y="0"/>
                    <a:pt x="391" y="0"/>
                  </a:cubicBezTo>
                  <a:close/>
                </a:path>
              </a:pathLst>
            </a:custGeom>
            <a:solidFill>
              <a:srgbClr val="FEFEF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785" name="Google Shape;1784;p44"/>
            <p:cNvSpPr/>
            <p:nvPr/>
          </p:nvSpPr>
          <p:spPr>
            <a:xfrm>
              <a:off x="6908173" y="1997441"/>
              <a:ext cx="7849" cy="6726"/>
            </a:xfrm>
            <a:custGeom>
              <a:avLst/>
              <a:gdLst/>
              <a:ahLst/>
              <a:cxnLst/>
              <a:rect l="l" t="t" r="r" b="b"/>
              <a:pathLst>
                <a:path w="692" h="593" extrusionOk="0">
                  <a:moveTo>
                    <a:pt x="401" y="1"/>
                  </a:moveTo>
                  <a:cubicBezTo>
                    <a:pt x="131" y="1"/>
                    <a:pt x="0" y="321"/>
                    <a:pt x="191" y="502"/>
                  </a:cubicBezTo>
                  <a:cubicBezTo>
                    <a:pt x="250" y="564"/>
                    <a:pt x="324" y="592"/>
                    <a:pt x="398" y="592"/>
                  </a:cubicBezTo>
                  <a:cubicBezTo>
                    <a:pt x="547" y="592"/>
                    <a:pt x="691" y="476"/>
                    <a:pt x="691" y="301"/>
                  </a:cubicBezTo>
                  <a:cubicBezTo>
                    <a:pt x="691" y="131"/>
                    <a:pt x="561" y="1"/>
                    <a:pt x="401" y="1"/>
                  </a:cubicBezTo>
                  <a:close/>
                </a:path>
              </a:pathLst>
            </a:custGeom>
            <a:solidFill>
              <a:srgbClr val="FEFEF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786" name="Google Shape;1785;p44"/>
            <p:cNvSpPr/>
            <p:nvPr/>
          </p:nvSpPr>
          <p:spPr>
            <a:xfrm>
              <a:off x="6901129" y="2001309"/>
              <a:ext cx="7736" cy="6635"/>
            </a:xfrm>
            <a:custGeom>
              <a:avLst/>
              <a:gdLst/>
              <a:ahLst/>
              <a:cxnLst/>
              <a:rect l="l" t="t" r="r" b="b"/>
              <a:pathLst>
                <a:path w="682" h="585" extrusionOk="0">
                  <a:moveTo>
                    <a:pt x="391" y="0"/>
                  </a:moveTo>
                  <a:cubicBezTo>
                    <a:pt x="131" y="0"/>
                    <a:pt x="1" y="321"/>
                    <a:pt x="191" y="501"/>
                  </a:cubicBezTo>
                  <a:cubicBezTo>
                    <a:pt x="249" y="559"/>
                    <a:pt x="320" y="585"/>
                    <a:pt x="391" y="585"/>
                  </a:cubicBezTo>
                  <a:cubicBezTo>
                    <a:pt x="539" y="585"/>
                    <a:pt x="681" y="470"/>
                    <a:pt x="681" y="301"/>
                  </a:cubicBezTo>
                  <a:cubicBezTo>
                    <a:pt x="681" y="131"/>
                    <a:pt x="551" y="0"/>
                    <a:pt x="391" y="0"/>
                  </a:cubicBezTo>
                  <a:close/>
                </a:path>
              </a:pathLst>
            </a:custGeom>
            <a:solidFill>
              <a:srgbClr val="FEFEF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787" name="Google Shape;1786;p44"/>
            <p:cNvSpPr/>
            <p:nvPr/>
          </p:nvSpPr>
          <p:spPr>
            <a:xfrm>
              <a:off x="6894085" y="2005165"/>
              <a:ext cx="7736" cy="6647"/>
            </a:xfrm>
            <a:custGeom>
              <a:avLst/>
              <a:gdLst/>
              <a:ahLst/>
              <a:cxnLst/>
              <a:rect l="l" t="t" r="r" b="b"/>
              <a:pathLst>
                <a:path w="682" h="586" extrusionOk="0">
                  <a:moveTo>
                    <a:pt x="391" y="1"/>
                  </a:moveTo>
                  <a:cubicBezTo>
                    <a:pt x="131" y="1"/>
                    <a:pt x="1" y="311"/>
                    <a:pt x="181" y="502"/>
                  </a:cubicBezTo>
                  <a:cubicBezTo>
                    <a:pt x="239" y="559"/>
                    <a:pt x="311" y="585"/>
                    <a:pt x="382" y="585"/>
                  </a:cubicBezTo>
                  <a:cubicBezTo>
                    <a:pt x="533" y="585"/>
                    <a:pt x="682" y="468"/>
                    <a:pt x="682" y="291"/>
                  </a:cubicBezTo>
                  <a:cubicBezTo>
                    <a:pt x="682" y="131"/>
                    <a:pt x="551" y="1"/>
                    <a:pt x="391" y="1"/>
                  </a:cubicBezTo>
                  <a:close/>
                </a:path>
              </a:pathLst>
            </a:custGeom>
            <a:solidFill>
              <a:srgbClr val="FEFEF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788" name="Google Shape;1787;p44"/>
            <p:cNvSpPr/>
            <p:nvPr/>
          </p:nvSpPr>
          <p:spPr>
            <a:xfrm>
              <a:off x="6887042" y="2009033"/>
              <a:ext cx="7622" cy="6635"/>
            </a:xfrm>
            <a:custGeom>
              <a:avLst/>
              <a:gdLst/>
              <a:ahLst/>
              <a:cxnLst/>
              <a:rect l="l" t="t" r="r" b="b"/>
              <a:pathLst>
                <a:path w="672" h="585" extrusionOk="0">
                  <a:moveTo>
                    <a:pt x="381" y="0"/>
                  </a:moveTo>
                  <a:cubicBezTo>
                    <a:pt x="121" y="0"/>
                    <a:pt x="1" y="311"/>
                    <a:pt x="181" y="501"/>
                  </a:cubicBezTo>
                  <a:cubicBezTo>
                    <a:pt x="239" y="559"/>
                    <a:pt x="310" y="585"/>
                    <a:pt x="380" y="585"/>
                  </a:cubicBezTo>
                  <a:cubicBezTo>
                    <a:pt x="528" y="585"/>
                    <a:pt x="672" y="468"/>
                    <a:pt x="672" y="291"/>
                  </a:cubicBezTo>
                  <a:cubicBezTo>
                    <a:pt x="672" y="130"/>
                    <a:pt x="542" y="0"/>
                    <a:pt x="381" y="0"/>
                  </a:cubicBezTo>
                  <a:close/>
                </a:path>
              </a:pathLst>
            </a:custGeom>
            <a:solidFill>
              <a:srgbClr val="FEFEF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789" name="Google Shape;1788;p44"/>
            <p:cNvSpPr/>
            <p:nvPr/>
          </p:nvSpPr>
          <p:spPr>
            <a:xfrm>
              <a:off x="6879885" y="2012889"/>
              <a:ext cx="7622" cy="6556"/>
            </a:xfrm>
            <a:custGeom>
              <a:avLst/>
              <a:gdLst/>
              <a:ahLst/>
              <a:cxnLst/>
              <a:rect l="l" t="t" r="r" b="b"/>
              <a:pathLst>
                <a:path w="672" h="578" extrusionOk="0">
                  <a:moveTo>
                    <a:pt x="391" y="1"/>
                  </a:moveTo>
                  <a:cubicBezTo>
                    <a:pt x="131" y="1"/>
                    <a:pt x="1" y="311"/>
                    <a:pt x="181" y="491"/>
                  </a:cubicBezTo>
                  <a:cubicBezTo>
                    <a:pt x="240" y="551"/>
                    <a:pt x="314" y="578"/>
                    <a:pt x="386" y="578"/>
                  </a:cubicBezTo>
                  <a:cubicBezTo>
                    <a:pt x="532" y="578"/>
                    <a:pt x="672" y="466"/>
                    <a:pt x="672" y="291"/>
                  </a:cubicBezTo>
                  <a:cubicBezTo>
                    <a:pt x="672" y="131"/>
                    <a:pt x="542" y="1"/>
                    <a:pt x="391" y="1"/>
                  </a:cubicBezTo>
                  <a:close/>
                </a:path>
              </a:pathLst>
            </a:custGeom>
            <a:solidFill>
              <a:srgbClr val="FEFEF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790" name="Google Shape;1789;p44"/>
            <p:cNvSpPr/>
            <p:nvPr/>
          </p:nvSpPr>
          <p:spPr>
            <a:xfrm>
              <a:off x="6872852" y="2016757"/>
              <a:ext cx="7611" cy="6522"/>
            </a:xfrm>
            <a:custGeom>
              <a:avLst/>
              <a:gdLst/>
              <a:ahLst/>
              <a:cxnLst/>
              <a:rect l="l" t="t" r="r" b="b"/>
              <a:pathLst>
                <a:path w="671" h="575" extrusionOk="0">
                  <a:moveTo>
                    <a:pt x="381" y="0"/>
                  </a:moveTo>
                  <a:cubicBezTo>
                    <a:pt x="120" y="0"/>
                    <a:pt x="0" y="311"/>
                    <a:pt x="180" y="491"/>
                  </a:cubicBezTo>
                  <a:cubicBezTo>
                    <a:pt x="238" y="549"/>
                    <a:pt x="309" y="575"/>
                    <a:pt x="379" y="575"/>
                  </a:cubicBezTo>
                  <a:cubicBezTo>
                    <a:pt x="527" y="575"/>
                    <a:pt x="671" y="458"/>
                    <a:pt x="671" y="281"/>
                  </a:cubicBezTo>
                  <a:cubicBezTo>
                    <a:pt x="671" y="130"/>
                    <a:pt x="541" y="0"/>
                    <a:pt x="381" y="0"/>
                  </a:cubicBezTo>
                  <a:close/>
                </a:path>
              </a:pathLst>
            </a:custGeom>
            <a:solidFill>
              <a:srgbClr val="FEFEF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791" name="Google Shape;1790;p44"/>
            <p:cNvSpPr/>
            <p:nvPr/>
          </p:nvSpPr>
          <p:spPr>
            <a:xfrm>
              <a:off x="6865695" y="2020614"/>
              <a:ext cx="7622" cy="6443"/>
            </a:xfrm>
            <a:custGeom>
              <a:avLst/>
              <a:gdLst/>
              <a:ahLst/>
              <a:cxnLst/>
              <a:rect l="l" t="t" r="r" b="b"/>
              <a:pathLst>
                <a:path w="672" h="568" extrusionOk="0">
                  <a:moveTo>
                    <a:pt x="381" y="1"/>
                  </a:moveTo>
                  <a:cubicBezTo>
                    <a:pt x="130" y="1"/>
                    <a:pt x="0" y="301"/>
                    <a:pt x="180" y="481"/>
                  </a:cubicBezTo>
                  <a:cubicBezTo>
                    <a:pt x="240" y="541"/>
                    <a:pt x="313" y="567"/>
                    <a:pt x="385" y="567"/>
                  </a:cubicBezTo>
                  <a:cubicBezTo>
                    <a:pt x="531" y="567"/>
                    <a:pt x="671" y="456"/>
                    <a:pt x="671" y="281"/>
                  </a:cubicBezTo>
                  <a:cubicBezTo>
                    <a:pt x="671" y="121"/>
                    <a:pt x="541" y="1"/>
                    <a:pt x="381" y="1"/>
                  </a:cubicBezTo>
                  <a:close/>
                </a:path>
              </a:pathLst>
            </a:custGeom>
            <a:solidFill>
              <a:srgbClr val="FEFEF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792" name="Google Shape;1791;p44"/>
            <p:cNvSpPr/>
            <p:nvPr/>
          </p:nvSpPr>
          <p:spPr>
            <a:xfrm>
              <a:off x="6858651" y="2024368"/>
              <a:ext cx="7509" cy="6522"/>
            </a:xfrm>
            <a:custGeom>
              <a:avLst/>
              <a:gdLst/>
              <a:ahLst/>
              <a:cxnLst/>
              <a:rect l="l" t="t" r="r" b="b"/>
              <a:pathLst>
                <a:path w="662" h="575" extrusionOk="0">
                  <a:moveTo>
                    <a:pt x="381" y="0"/>
                  </a:moveTo>
                  <a:cubicBezTo>
                    <a:pt x="120" y="0"/>
                    <a:pt x="0" y="311"/>
                    <a:pt x="181" y="491"/>
                  </a:cubicBezTo>
                  <a:cubicBezTo>
                    <a:pt x="235" y="549"/>
                    <a:pt x="305" y="575"/>
                    <a:pt x="374" y="575"/>
                  </a:cubicBezTo>
                  <a:cubicBezTo>
                    <a:pt x="519" y="575"/>
                    <a:pt x="661" y="460"/>
                    <a:pt x="661" y="291"/>
                  </a:cubicBezTo>
                  <a:cubicBezTo>
                    <a:pt x="661" y="130"/>
                    <a:pt x="531" y="0"/>
                    <a:pt x="381" y="0"/>
                  </a:cubicBezTo>
                  <a:close/>
                </a:path>
              </a:pathLst>
            </a:custGeom>
            <a:solidFill>
              <a:srgbClr val="FEFEF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793" name="Google Shape;1792;p44"/>
            <p:cNvSpPr/>
            <p:nvPr/>
          </p:nvSpPr>
          <p:spPr>
            <a:xfrm>
              <a:off x="6851494" y="2028224"/>
              <a:ext cx="7509" cy="6420"/>
            </a:xfrm>
            <a:custGeom>
              <a:avLst/>
              <a:gdLst/>
              <a:ahLst/>
              <a:cxnLst/>
              <a:rect l="l" t="t" r="r" b="b"/>
              <a:pathLst>
                <a:path w="662" h="566" extrusionOk="0">
                  <a:moveTo>
                    <a:pt x="381" y="1"/>
                  </a:moveTo>
                  <a:cubicBezTo>
                    <a:pt x="131" y="1"/>
                    <a:pt x="0" y="301"/>
                    <a:pt x="181" y="481"/>
                  </a:cubicBezTo>
                  <a:cubicBezTo>
                    <a:pt x="239" y="539"/>
                    <a:pt x="309" y="565"/>
                    <a:pt x="378" y="565"/>
                  </a:cubicBezTo>
                  <a:cubicBezTo>
                    <a:pt x="523" y="565"/>
                    <a:pt x="661" y="451"/>
                    <a:pt x="661" y="281"/>
                  </a:cubicBezTo>
                  <a:cubicBezTo>
                    <a:pt x="661" y="121"/>
                    <a:pt x="541" y="1"/>
                    <a:pt x="381" y="1"/>
                  </a:cubicBezTo>
                  <a:close/>
                </a:path>
              </a:pathLst>
            </a:custGeom>
            <a:solidFill>
              <a:srgbClr val="FEFEF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794" name="Google Shape;1793;p44"/>
            <p:cNvSpPr/>
            <p:nvPr/>
          </p:nvSpPr>
          <p:spPr>
            <a:xfrm>
              <a:off x="6844451" y="2031979"/>
              <a:ext cx="7395" cy="6409"/>
            </a:xfrm>
            <a:custGeom>
              <a:avLst/>
              <a:gdLst/>
              <a:ahLst/>
              <a:cxnLst/>
              <a:rect l="l" t="t" r="r" b="b"/>
              <a:pathLst>
                <a:path w="652" h="565" extrusionOk="0">
                  <a:moveTo>
                    <a:pt x="371" y="0"/>
                  </a:moveTo>
                  <a:cubicBezTo>
                    <a:pt x="121" y="0"/>
                    <a:pt x="1" y="311"/>
                    <a:pt x="171" y="481"/>
                  </a:cubicBezTo>
                  <a:cubicBezTo>
                    <a:pt x="229" y="539"/>
                    <a:pt x="299" y="565"/>
                    <a:pt x="368" y="565"/>
                  </a:cubicBezTo>
                  <a:cubicBezTo>
                    <a:pt x="513" y="565"/>
                    <a:pt x="651" y="450"/>
                    <a:pt x="651" y="281"/>
                  </a:cubicBezTo>
                  <a:cubicBezTo>
                    <a:pt x="651" y="130"/>
                    <a:pt x="531" y="0"/>
                    <a:pt x="371" y="0"/>
                  </a:cubicBezTo>
                  <a:close/>
                </a:path>
              </a:pathLst>
            </a:custGeom>
            <a:solidFill>
              <a:srgbClr val="FEFEF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795" name="Google Shape;1794;p44"/>
            <p:cNvSpPr/>
            <p:nvPr/>
          </p:nvSpPr>
          <p:spPr>
            <a:xfrm>
              <a:off x="6837294" y="2035835"/>
              <a:ext cx="7395" cy="6306"/>
            </a:xfrm>
            <a:custGeom>
              <a:avLst/>
              <a:gdLst/>
              <a:ahLst/>
              <a:cxnLst/>
              <a:rect l="l" t="t" r="r" b="b"/>
              <a:pathLst>
                <a:path w="652" h="556" extrusionOk="0">
                  <a:moveTo>
                    <a:pt x="371" y="1"/>
                  </a:moveTo>
                  <a:cubicBezTo>
                    <a:pt x="131" y="1"/>
                    <a:pt x="1" y="301"/>
                    <a:pt x="181" y="471"/>
                  </a:cubicBezTo>
                  <a:cubicBezTo>
                    <a:pt x="236" y="530"/>
                    <a:pt x="305" y="556"/>
                    <a:pt x="373" y="556"/>
                  </a:cubicBezTo>
                  <a:cubicBezTo>
                    <a:pt x="514" y="556"/>
                    <a:pt x="652" y="443"/>
                    <a:pt x="652" y="281"/>
                  </a:cubicBezTo>
                  <a:cubicBezTo>
                    <a:pt x="652" y="121"/>
                    <a:pt x="531" y="1"/>
                    <a:pt x="371" y="1"/>
                  </a:cubicBezTo>
                  <a:close/>
                </a:path>
              </a:pathLst>
            </a:custGeom>
            <a:solidFill>
              <a:srgbClr val="FEFEF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796" name="Google Shape;1795;p44"/>
            <p:cNvSpPr/>
            <p:nvPr/>
          </p:nvSpPr>
          <p:spPr>
            <a:xfrm>
              <a:off x="6831271" y="2039590"/>
              <a:ext cx="7395" cy="6295"/>
            </a:xfrm>
            <a:custGeom>
              <a:avLst/>
              <a:gdLst/>
              <a:ahLst/>
              <a:cxnLst/>
              <a:rect l="l" t="t" r="r" b="b"/>
              <a:pathLst>
                <a:path w="652" h="555" extrusionOk="0">
                  <a:moveTo>
                    <a:pt x="281" y="0"/>
                  </a:moveTo>
                  <a:lnTo>
                    <a:pt x="1" y="270"/>
                  </a:lnTo>
                  <a:lnTo>
                    <a:pt x="1" y="280"/>
                  </a:lnTo>
                  <a:cubicBezTo>
                    <a:pt x="1" y="443"/>
                    <a:pt x="138" y="555"/>
                    <a:pt x="283" y="555"/>
                  </a:cubicBezTo>
                  <a:cubicBezTo>
                    <a:pt x="352" y="555"/>
                    <a:pt x="423" y="529"/>
                    <a:pt x="482" y="471"/>
                  </a:cubicBezTo>
                  <a:cubicBezTo>
                    <a:pt x="652" y="300"/>
                    <a:pt x="532" y="0"/>
                    <a:pt x="281" y="0"/>
                  </a:cubicBezTo>
                  <a:close/>
                </a:path>
              </a:pathLst>
            </a:custGeom>
            <a:solidFill>
              <a:srgbClr val="FEFEF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797" name="Google Shape;1796;p44"/>
            <p:cNvSpPr/>
            <p:nvPr/>
          </p:nvSpPr>
          <p:spPr>
            <a:xfrm>
              <a:off x="6825146" y="2044354"/>
              <a:ext cx="5229" cy="5354"/>
            </a:xfrm>
            <a:custGeom>
              <a:avLst/>
              <a:gdLst/>
              <a:ahLst/>
              <a:cxnLst/>
              <a:rect l="l" t="t" r="r" b="b"/>
              <a:pathLst>
                <a:path w="461" h="472" extrusionOk="0">
                  <a:moveTo>
                    <a:pt x="391" y="1"/>
                  </a:moveTo>
                  <a:lnTo>
                    <a:pt x="0" y="391"/>
                  </a:lnTo>
                  <a:cubicBezTo>
                    <a:pt x="50" y="441"/>
                    <a:pt x="120" y="471"/>
                    <a:pt x="190" y="471"/>
                  </a:cubicBezTo>
                  <a:cubicBezTo>
                    <a:pt x="341" y="471"/>
                    <a:pt x="461" y="341"/>
                    <a:pt x="461" y="191"/>
                  </a:cubicBezTo>
                  <a:cubicBezTo>
                    <a:pt x="461" y="121"/>
                    <a:pt x="441" y="51"/>
                    <a:pt x="391" y="1"/>
                  </a:cubicBezTo>
                  <a:close/>
                </a:path>
              </a:pathLst>
            </a:custGeom>
            <a:solidFill>
              <a:srgbClr val="FEFEF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798" name="Google Shape;1797;p44"/>
            <p:cNvSpPr/>
            <p:nvPr/>
          </p:nvSpPr>
          <p:spPr>
            <a:xfrm>
              <a:off x="6820597" y="2050717"/>
              <a:ext cx="2620" cy="2620"/>
            </a:xfrm>
            <a:custGeom>
              <a:avLst/>
              <a:gdLst/>
              <a:ahLst/>
              <a:cxnLst/>
              <a:rect l="l" t="t" r="r" b="b"/>
              <a:pathLst>
                <a:path w="231" h="231" extrusionOk="0">
                  <a:moveTo>
                    <a:pt x="231" y="0"/>
                  </a:moveTo>
                  <a:lnTo>
                    <a:pt x="1" y="231"/>
                  </a:lnTo>
                  <a:cubicBezTo>
                    <a:pt x="121" y="211"/>
                    <a:pt x="211" y="121"/>
                    <a:pt x="231" y="0"/>
                  </a:cubicBezTo>
                  <a:close/>
                </a:path>
              </a:pathLst>
            </a:custGeom>
            <a:solidFill>
              <a:srgbClr val="FEFEF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799" name="Google Shape;1798;p44"/>
            <p:cNvSpPr/>
            <p:nvPr/>
          </p:nvSpPr>
          <p:spPr>
            <a:xfrm>
              <a:off x="7196794" y="1671571"/>
              <a:ext cx="106438" cy="60898"/>
            </a:xfrm>
            <a:custGeom>
              <a:avLst/>
              <a:gdLst/>
              <a:ahLst/>
              <a:cxnLst/>
              <a:rect l="l" t="t" r="r" b="b"/>
              <a:pathLst>
                <a:path w="9384" h="5369" extrusionOk="0">
                  <a:moveTo>
                    <a:pt x="501" y="1"/>
                  </a:moveTo>
                  <a:lnTo>
                    <a:pt x="0" y="501"/>
                  </a:lnTo>
                  <a:cubicBezTo>
                    <a:pt x="571" y="1533"/>
                    <a:pt x="1252" y="2504"/>
                    <a:pt x="2023" y="3406"/>
                  </a:cubicBezTo>
                  <a:cubicBezTo>
                    <a:pt x="2764" y="2945"/>
                    <a:pt x="3515" y="2504"/>
                    <a:pt x="4216" y="2134"/>
                  </a:cubicBezTo>
                  <a:cubicBezTo>
                    <a:pt x="5718" y="1343"/>
                    <a:pt x="6669" y="1042"/>
                    <a:pt x="7280" y="1042"/>
                  </a:cubicBezTo>
                  <a:cubicBezTo>
                    <a:pt x="7295" y="1042"/>
                    <a:pt x="7309" y="1041"/>
                    <a:pt x="7324" y="1041"/>
                  </a:cubicBezTo>
                  <a:cubicBezTo>
                    <a:pt x="7598" y="1041"/>
                    <a:pt x="7862" y="1132"/>
                    <a:pt x="8061" y="1313"/>
                  </a:cubicBezTo>
                  <a:lnTo>
                    <a:pt x="9383" y="1"/>
                  </a:lnTo>
                  <a:close/>
                  <a:moveTo>
                    <a:pt x="4086" y="5288"/>
                  </a:moveTo>
                  <a:lnTo>
                    <a:pt x="3976" y="5348"/>
                  </a:lnTo>
                  <a:lnTo>
                    <a:pt x="4006" y="5368"/>
                  </a:lnTo>
                  <a:lnTo>
                    <a:pt x="4086" y="5288"/>
                  </a:lnTo>
                  <a:close/>
                </a:path>
              </a:pathLst>
            </a:custGeom>
            <a:solidFill>
              <a:srgbClr val="F7BD9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800" name="Google Shape;1799;p44"/>
            <p:cNvSpPr/>
            <p:nvPr/>
          </p:nvSpPr>
          <p:spPr>
            <a:xfrm>
              <a:off x="7172135" y="1683276"/>
              <a:ext cx="116215" cy="68724"/>
            </a:xfrm>
            <a:custGeom>
              <a:avLst/>
              <a:gdLst/>
              <a:ahLst/>
              <a:cxnLst/>
              <a:rect l="l" t="t" r="r" b="b"/>
              <a:pathLst>
                <a:path w="10246" h="6059" extrusionOk="0">
                  <a:moveTo>
                    <a:pt x="6260" y="4256"/>
                  </a:moveTo>
                  <a:lnTo>
                    <a:pt x="6150" y="4306"/>
                  </a:lnTo>
                  <a:cubicBezTo>
                    <a:pt x="5409" y="4643"/>
                    <a:pt x="4641" y="4961"/>
                    <a:pt x="3913" y="5231"/>
                  </a:cubicBezTo>
                  <a:lnTo>
                    <a:pt x="3913" y="5231"/>
                  </a:lnTo>
                  <a:cubicBezTo>
                    <a:pt x="4679" y="4947"/>
                    <a:pt x="5488" y="4611"/>
                    <a:pt x="6260" y="4256"/>
                  </a:cubicBezTo>
                  <a:close/>
                  <a:moveTo>
                    <a:pt x="9464" y="0"/>
                  </a:moveTo>
                  <a:cubicBezTo>
                    <a:pt x="8853" y="0"/>
                    <a:pt x="7902" y="301"/>
                    <a:pt x="6390" y="1092"/>
                  </a:cubicBezTo>
                  <a:cubicBezTo>
                    <a:pt x="5689" y="1452"/>
                    <a:pt x="4938" y="1893"/>
                    <a:pt x="4207" y="2364"/>
                  </a:cubicBezTo>
                  <a:cubicBezTo>
                    <a:pt x="2004" y="3755"/>
                    <a:pt x="1" y="5368"/>
                    <a:pt x="251" y="5888"/>
                  </a:cubicBezTo>
                  <a:cubicBezTo>
                    <a:pt x="251" y="5878"/>
                    <a:pt x="251" y="5858"/>
                    <a:pt x="241" y="5848"/>
                  </a:cubicBezTo>
                  <a:lnTo>
                    <a:pt x="9554" y="972"/>
                  </a:lnTo>
                  <a:lnTo>
                    <a:pt x="10245" y="281"/>
                  </a:lnTo>
                  <a:cubicBezTo>
                    <a:pt x="10044" y="106"/>
                    <a:pt x="9791" y="8"/>
                    <a:pt x="9535" y="8"/>
                  </a:cubicBezTo>
                  <a:cubicBezTo>
                    <a:pt x="9511" y="8"/>
                    <a:pt x="9488" y="9"/>
                    <a:pt x="9464" y="10"/>
                  </a:cubicBezTo>
                  <a:lnTo>
                    <a:pt x="9464" y="0"/>
                  </a:lnTo>
                  <a:close/>
                  <a:moveTo>
                    <a:pt x="3913" y="5231"/>
                  </a:moveTo>
                  <a:lnTo>
                    <a:pt x="3913" y="5231"/>
                  </a:lnTo>
                  <a:cubicBezTo>
                    <a:pt x="2583" y="5724"/>
                    <a:pt x="1384" y="6059"/>
                    <a:pt x="742" y="6059"/>
                  </a:cubicBezTo>
                  <a:cubicBezTo>
                    <a:pt x="1389" y="6059"/>
                    <a:pt x="2584" y="5724"/>
                    <a:pt x="3913" y="5231"/>
                  </a:cubicBezTo>
                  <a:close/>
                </a:path>
              </a:pathLst>
            </a:custGeom>
            <a:solidFill>
              <a:srgbClr val="8599C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801" name="Google Shape;1800;p44"/>
            <p:cNvSpPr/>
            <p:nvPr/>
          </p:nvSpPr>
          <p:spPr>
            <a:xfrm>
              <a:off x="7174869" y="1694290"/>
              <a:ext cx="105644" cy="57711"/>
            </a:xfrm>
            <a:custGeom>
              <a:avLst/>
              <a:gdLst/>
              <a:ahLst/>
              <a:cxnLst/>
              <a:rect l="l" t="t" r="r" b="b"/>
              <a:pathLst>
                <a:path w="9314" h="5088" extrusionOk="0">
                  <a:moveTo>
                    <a:pt x="9313" y="1"/>
                  </a:moveTo>
                  <a:lnTo>
                    <a:pt x="0" y="4887"/>
                  </a:lnTo>
                  <a:cubicBezTo>
                    <a:pt x="0" y="4897"/>
                    <a:pt x="0" y="4917"/>
                    <a:pt x="10" y="4927"/>
                  </a:cubicBezTo>
                  <a:cubicBezTo>
                    <a:pt x="70" y="5038"/>
                    <a:pt x="241" y="5088"/>
                    <a:pt x="491" y="5088"/>
                  </a:cubicBezTo>
                  <a:cubicBezTo>
                    <a:pt x="1512" y="5088"/>
                    <a:pt x="3906" y="4257"/>
                    <a:pt x="6019" y="3285"/>
                  </a:cubicBezTo>
                  <a:lnTo>
                    <a:pt x="9313" y="1"/>
                  </a:lnTo>
                  <a:close/>
                </a:path>
              </a:pathLst>
            </a:custGeom>
            <a:solidFill>
              <a:srgbClr val="748AB7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802" name="Google Shape;1801;p44"/>
            <p:cNvSpPr/>
            <p:nvPr/>
          </p:nvSpPr>
          <p:spPr>
            <a:xfrm>
              <a:off x="7603082" y="1671457"/>
              <a:ext cx="581666" cy="480922"/>
            </a:xfrm>
            <a:custGeom>
              <a:avLst/>
              <a:gdLst/>
              <a:ahLst/>
              <a:cxnLst/>
              <a:rect l="l" t="t" r="r" b="b"/>
              <a:pathLst>
                <a:path w="51282" h="42400" extrusionOk="0">
                  <a:moveTo>
                    <a:pt x="42400" y="1"/>
                  </a:moveTo>
                  <a:lnTo>
                    <a:pt x="0" y="42400"/>
                  </a:lnTo>
                  <a:lnTo>
                    <a:pt x="8883" y="42400"/>
                  </a:lnTo>
                  <a:lnTo>
                    <a:pt x="51282" y="1"/>
                  </a:lnTo>
                  <a:close/>
                </a:path>
              </a:pathLst>
            </a:custGeom>
            <a:gradFill>
              <a:gsLst>
                <a:gs pos="0">
                  <a:srgbClr val="FFFFFF"/>
                </a:gs>
                <a:gs pos="100000">
                  <a:srgbClr val="FFFFFF">
                    <a:alpha val="0"/>
                  </a:srgbClr>
                </a:gs>
              </a:gsLst>
              <a:lin ang="10800025" scaled="0"/>
            </a:gra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803" name="Google Shape;1802;p44"/>
            <p:cNvSpPr/>
            <p:nvPr/>
          </p:nvSpPr>
          <p:spPr>
            <a:xfrm>
              <a:off x="7802642" y="1671457"/>
              <a:ext cx="581564" cy="480922"/>
            </a:xfrm>
            <a:custGeom>
              <a:avLst/>
              <a:gdLst/>
              <a:ahLst/>
              <a:cxnLst/>
              <a:rect l="l" t="t" r="r" b="b"/>
              <a:pathLst>
                <a:path w="51273" h="42400" extrusionOk="0">
                  <a:moveTo>
                    <a:pt x="42390" y="1"/>
                  </a:moveTo>
                  <a:lnTo>
                    <a:pt x="1" y="42400"/>
                  </a:lnTo>
                  <a:lnTo>
                    <a:pt x="8883" y="42400"/>
                  </a:lnTo>
                  <a:lnTo>
                    <a:pt x="51273" y="1"/>
                  </a:lnTo>
                  <a:close/>
                </a:path>
              </a:pathLst>
            </a:custGeom>
            <a:gradFill>
              <a:gsLst>
                <a:gs pos="0">
                  <a:srgbClr val="FFFFFF"/>
                </a:gs>
                <a:gs pos="100000">
                  <a:srgbClr val="FFFFFF">
                    <a:alpha val="0"/>
                  </a:srgbClr>
                </a:gs>
              </a:gsLst>
              <a:lin ang="10800025" scaled="0"/>
            </a:gra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7061164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="" xmlns:a16="http://schemas.microsoft.com/office/drawing/2014/main" id="{6BC84229-6A84-4CE9-A7C0-15B21C092D2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06630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86"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="" xmlns:a16="http://schemas.microsoft.com/office/drawing/2014/main" id="{6BC84229-6A84-4CE9-A7C0-15B21C092D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="" xmlns:a16="http://schemas.microsoft.com/office/drawing/2014/main" id="{6CCFE24E-F75E-454F-BB7B-69AD676DC59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US" sz="240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4" name="Rectangle: Diagonal Corners Snipped 103">
            <a:extLst>
              <a:ext uri="{FF2B5EF4-FFF2-40B4-BE49-F238E27FC236}">
                <a16:creationId xmlns="" xmlns:a16="http://schemas.microsoft.com/office/drawing/2014/main" id="{A9968308-D96C-4EBF-9EF7-7669037102C6}"/>
              </a:ext>
            </a:extLst>
          </p:cNvPr>
          <p:cNvSpPr/>
          <p:nvPr/>
        </p:nvSpPr>
        <p:spPr>
          <a:xfrm>
            <a:off x="356590" y="3336987"/>
            <a:ext cx="1938000" cy="295897"/>
          </a:xfrm>
          <a:prstGeom prst="snip2DiagRect">
            <a:avLst/>
          </a:prstGeom>
          <a:solidFill>
            <a:schemeClr val="tx2">
              <a:lumMod val="25000"/>
              <a:lumOff val="75000"/>
            </a:schemeClr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r>
              <a:rPr lang="en-US" sz="1200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Age</a:t>
            </a:r>
          </a:p>
        </p:txBody>
      </p:sp>
      <p:sp>
        <p:nvSpPr>
          <p:cNvPr id="105" name="Rectangle: Diagonal Corners Snipped 104">
            <a:extLst>
              <a:ext uri="{FF2B5EF4-FFF2-40B4-BE49-F238E27FC236}">
                <a16:creationId xmlns="" xmlns:a16="http://schemas.microsoft.com/office/drawing/2014/main" id="{132059BC-6C75-47FC-8E8A-0753635D3483}"/>
              </a:ext>
            </a:extLst>
          </p:cNvPr>
          <p:cNvSpPr/>
          <p:nvPr/>
        </p:nvSpPr>
        <p:spPr>
          <a:xfrm>
            <a:off x="356590" y="3735943"/>
            <a:ext cx="1938000" cy="295897"/>
          </a:xfrm>
          <a:prstGeom prst="snip2DiagRect">
            <a:avLst/>
          </a:prstGeom>
          <a:solidFill>
            <a:schemeClr val="tx2">
              <a:lumMod val="25000"/>
              <a:lumOff val="75000"/>
            </a:schemeClr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r>
              <a:rPr lang="en-US" sz="1200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Flight Distance</a:t>
            </a:r>
          </a:p>
        </p:txBody>
      </p:sp>
      <p:sp>
        <p:nvSpPr>
          <p:cNvPr id="106" name="Rectangle: Diagonal Corners Snipped 105">
            <a:extLst>
              <a:ext uri="{FF2B5EF4-FFF2-40B4-BE49-F238E27FC236}">
                <a16:creationId xmlns="" xmlns:a16="http://schemas.microsoft.com/office/drawing/2014/main" id="{4E61B929-69A0-46ED-A229-7DB6167CCD65}"/>
              </a:ext>
            </a:extLst>
          </p:cNvPr>
          <p:cNvSpPr/>
          <p:nvPr/>
        </p:nvSpPr>
        <p:spPr>
          <a:xfrm>
            <a:off x="356590" y="4134899"/>
            <a:ext cx="1938000" cy="295897"/>
          </a:xfrm>
          <a:prstGeom prst="snip2DiagRect">
            <a:avLst/>
          </a:prstGeom>
          <a:solidFill>
            <a:schemeClr val="tx2">
              <a:lumMod val="25000"/>
              <a:lumOff val="75000"/>
            </a:schemeClr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r>
              <a:rPr lang="en-US" sz="1200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Departure Delay</a:t>
            </a:r>
          </a:p>
        </p:txBody>
      </p:sp>
      <p:sp>
        <p:nvSpPr>
          <p:cNvPr id="107" name="Rectangle: Diagonal Corners Snipped 106">
            <a:extLst>
              <a:ext uri="{FF2B5EF4-FFF2-40B4-BE49-F238E27FC236}">
                <a16:creationId xmlns="" xmlns:a16="http://schemas.microsoft.com/office/drawing/2014/main" id="{82C46696-B3D0-487E-BCFE-F9A80EE8AABD}"/>
              </a:ext>
            </a:extLst>
          </p:cNvPr>
          <p:cNvSpPr/>
          <p:nvPr/>
        </p:nvSpPr>
        <p:spPr>
          <a:xfrm>
            <a:off x="356590" y="4533855"/>
            <a:ext cx="1938000" cy="295897"/>
          </a:xfrm>
          <a:prstGeom prst="snip2DiagRect">
            <a:avLst/>
          </a:prstGeom>
          <a:solidFill>
            <a:schemeClr val="tx2">
              <a:lumMod val="25000"/>
              <a:lumOff val="75000"/>
            </a:schemeClr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r>
              <a:rPr lang="en-US" sz="1200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Arrival Delay</a:t>
            </a:r>
          </a:p>
        </p:txBody>
      </p:sp>
      <p:sp>
        <p:nvSpPr>
          <p:cNvPr id="96" name="Rectangle: Diagonal Corners Snipped 95">
            <a:extLst>
              <a:ext uri="{FF2B5EF4-FFF2-40B4-BE49-F238E27FC236}">
                <a16:creationId xmlns="" xmlns:a16="http://schemas.microsoft.com/office/drawing/2014/main" id="{2A1C84AB-D0B1-4DEE-B584-8DDF5C707E06}"/>
              </a:ext>
            </a:extLst>
          </p:cNvPr>
          <p:cNvSpPr/>
          <p:nvPr/>
        </p:nvSpPr>
        <p:spPr>
          <a:xfrm>
            <a:off x="2518755" y="3336987"/>
            <a:ext cx="1938000" cy="295897"/>
          </a:xfrm>
          <a:prstGeom prst="snip2DiagRect">
            <a:avLst/>
          </a:prstGeom>
          <a:solidFill>
            <a:schemeClr val="tx2">
              <a:lumMod val="25000"/>
              <a:lumOff val="75000"/>
            </a:schemeClr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r>
              <a:rPr lang="en-US" sz="1200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Gender</a:t>
            </a:r>
          </a:p>
        </p:txBody>
      </p:sp>
      <p:sp>
        <p:nvSpPr>
          <p:cNvPr id="97" name="Rectangle: Diagonal Corners Snipped 96">
            <a:extLst>
              <a:ext uri="{FF2B5EF4-FFF2-40B4-BE49-F238E27FC236}">
                <a16:creationId xmlns="" xmlns:a16="http://schemas.microsoft.com/office/drawing/2014/main" id="{5EB6BE84-081F-4568-9913-E7D04D3AE1B6}"/>
              </a:ext>
            </a:extLst>
          </p:cNvPr>
          <p:cNvSpPr/>
          <p:nvPr/>
        </p:nvSpPr>
        <p:spPr>
          <a:xfrm>
            <a:off x="2518755" y="3735943"/>
            <a:ext cx="1938000" cy="295897"/>
          </a:xfrm>
          <a:prstGeom prst="snip2DiagRect">
            <a:avLst/>
          </a:prstGeom>
          <a:solidFill>
            <a:schemeClr val="tx2">
              <a:lumMod val="25000"/>
              <a:lumOff val="75000"/>
            </a:schemeClr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r>
              <a:rPr lang="en-US" sz="1200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Customer Type</a:t>
            </a:r>
          </a:p>
        </p:txBody>
      </p:sp>
      <p:sp>
        <p:nvSpPr>
          <p:cNvPr id="98" name="Rectangle: Diagonal Corners Snipped 97">
            <a:extLst>
              <a:ext uri="{FF2B5EF4-FFF2-40B4-BE49-F238E27FC236}">
                <a16:creationId xmlns="" xmlns:a16="http://schemas.microsoft.com/office/drawing/2014/main" id="{0F1BB345-FF46-4CDB-8043-31056B0964AE}"/>
              </a:ext>
            </a:extLst>
          </p:cNvPr>
          <p:cNvSpPr/>
          <p:nvPr/>
        </p:nvSpPr>
        <p:spPr>
          <a:xfrm>
            <a:off x="2518755" y="4134899"/>
            <a:ext cx="1938000" cy="295897"/>
          </a:xfrm>
          <a:prstGeom prst="snip2DiagRect">
            <a:avLst/>
          </a:prstGeom>
          <a:solidFill>
            <a:schemeClr val="tx2">
              <a:lumMod val="25000"/>
              <a:lumOff val="75000"/>
            </a:schemeClr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r>
              <a:rPr lang="en-US" sz="1200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Travel Type</a:t>
            </a:r>
          </a:p>
        </p:txBody>
      </p:sp>
      <p:sp>
        <p:nvSpPr>
          <p:cNvPr id="99" name="Rectangle: Diagonal Corners Snipped 98">
            <a:extLst>
              <a:ext uri="{FF2B5EF4-FFF2-40B4-BE49-F238E27FC236}">
                <a16:creationId xmlns="" xmlns:a16="http://schemas.microsoft.com/office/drawing/2014/main" id="{78E8BD8B-3594-4F2B-AD54-C3101D3F25F9}"/>
              </a:ext>
            </a:extLst>
          </p:cNvPr>
          <p:cNvSpPr/>
          <p:nvPr/>
        </p:nvSpPr>
        <p:spPr>
          <a:xfrm>
            <a:off x="2518755" y="4533855"/>
            <a:ext cx="1938000" cy="295897"/>
          </a:xfrm>
          <a:prstGeom prst="snip2DiagRect">
            <a:avLst/>
          </a:prstGeom>
          <a:solidFill>
            <a:schemeClr val="tx2">
              <a:lumMod val="25000"/>
              <a:lumOff val="75000"/>
            </a:schemeClr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r>
              <a:rPr lang="en-US" sz="1200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Class Type</a:t>
            </a:r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62FC6C75-5873-41DF-B5E1-4688D7B0BC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4507" y="493495"/>
            <a:ext cx="7604094" cy="338554"/>
          </a:xfrm>
        </p:spPr>
        <p:txBody>
          <a:bodyPr/>
          <a:lstStyle/>
          <a:p>
            <a:r>
              <a:rPr lang="en-US" b="1" dirty="0"/>
              <a:t>Problem Definition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="" xmlns:a16="http://schemas.microsoft.com/office/drawing/2014/main" id="{B3958C2D-2203-43B6-B375-638669E7322A}"/>
              </a:ext>
            </a:extLst>
          </p:cNvPr>
          <p:cNvSpPr/>
          <p:nvPr/>
        </p:nvSpPr>
        <p:spPr>
          <a:xfrm>
            <a:off x="630227" y="1654982"/>
            <a:ext cx="8262947" cy="791779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100000">
                <a:schemeClr val="tx2">
                  <a:lumMod val="10000"/>
                  <a:lumOff val="90000"/>
                </a:schemeClr>
              </a:gs>
            </a:gsLst>
            <a:lin ang="10800000" scaled="1"/>
            <a:tileRect/>
          </a:gra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8640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13414" indent="-113414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The dataset used in this project is retrieved from </a:t>
            </a:r>
            <a:r>
              <a:rPr lang="en-US" sz="1200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Kaggle</a:t>
            </a:r>
            <a:r>
              <a:rPr lang="en-US" sz="12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, consisting of approx. </a:t>
            </a:r>
            <a:r>
              <a:rPr lang="en-US" sz="1200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26,000 entries</a:t>
            </a:r>
            <a:r>
              <a:rPr lang="en-US" sz="12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and </a:t>
            </a:r>
            <a:r>
              <a:rPr lang="en-US" sz="1200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25 columns</a:t>
            </a:r>
          </a:p>
          <a:p>
            <a:pPr marL="113414" indent="-113414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12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It is based </a:t>
            </a:r>
            <a:r>
              <a:rPr lang="en-US" sz="12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on a US airline passenger survey aimed at </a:t>
            </a:r>
            <a:r>
              <a:rPr lang="en-US" sz="12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understanding various factors </a:t>
            </a:r>
            <a:r>
              <a:rPr lang="en-US" sz="12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affecting attrition rates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="" xmlns:a16="http://schemas.microsoft.com/office/drawing/2014/main" id="{B2965642-DCEF-430F-A96C-0FDB1F9540E6}"/>
              </a:ext>
            </a:extLst>
          </p:cNvPr>
          <p:cNvGrpSpPr/>
          <p:nvPr/>
        </p:nvGrpSpPr>
        <p:grpSpPr>
          <a:xfrm>
            <a:off x="244475" y="1631229"/>
            <a:ext cx="831183" cy="839285"/>
            <a:chOff x="290983" y="1361707"/>
            <a:chExt cx="831183" cy="839285"/>
          </a:xfrm>
          <a:solidFill>
            <a:schemeClr val="bg2"/>
          </a:solidFill>
        </p:grpSpPr>
        <p:sp>
          <p:nvSpPr>
            <p:cNvPr id="7" name="Freeform: Shape 6">
              <a:extLst>
                <a:ext uri="{FF2B5EF4-FFF2-40B4-BE49-F238E27FC236}">
                  <a16:creationId xmlns="" xmlns:a16="http://schemas.microsoft.com/office/drawing/2014/main" id="{5E2A8B53-4E77-40B9-8C91-4679D2345B5E}"/>
                </a:ext>
              </a:extLst>
            </p:cNvPr>
            <p:cNvSpPr>
              <a:spLocks/>
            </p:cNvSpPr>
            <p:nvPr/>
          </p:nvSpPr>
          <p:spPr bwMode="auto">
            <a:xfrm>
              <a:off x="290983" y="1361707"/>
              <a:ext cx="831183" cy="839285"/>
            </a:xfrm>
            <a:custGeom>
              <a:avLst/>
              <a:gdLst>
                <a:gd name="connsiteX0" fmla="*/ 990953 w 1959884"/>
                <a:gd name="connsiteY0" fmla="*/ 0 h 1799084"/>
                <a:gd name="connsiteX1" fmla="*/ 1088930 w 1959884"/>
                <a:gd name="connsiteY1" fmla="*/ 4646 h 1799084"/>
                <a:gd name="connsiteX2" fmla="*/ 1093436 w 1959884"/>
                <a:gd name="connsiteY2" fmla="*/ 5297 h 1799084"/>
                <a:gd name="connsiteX3" fmla="*/ 1096305 w 1959884"/>
                <a:gd name="connsiteY3" fmla="*/ 34832 h 1799084"/>
                <a:gd name="connsiteX4" fmla="*/ 1351369 w 1959884"/>
                <a:gd name="connsiteY4" fmla="*/ 250560 h 1799084"/>
                <a:gd name="connsiteX5" fmla="*/ 1535468 w 1959884"/>
                <a:gd name="connsiteY5" fmla="*/ 171427 h 1799084"/>
                <a:gd name="connsiteX6" fmla="*/ 1538563 w 1959884"/>
                <a:gd name="connsiteY6" fmla="*/ 167533 h 1799084"/>
                <a:gd name="connsiteX7" fmla="*/ 1673609 w 1959884"/>
                <a:gd name="connsiteY7" fmla="*/ 279858 h 1799084"/>
                <a:gd name="connsiteX8" fmla="*/ 1714326 w 1959884"/>
                <a:gd name="connsiteY8" fmla="*/ 324510 h 1799084"/>
                <a:gd name="connsiteX9" fmla="*/ 1651613 w 1959884"/>
                <a:gd name="connsiteY9" fmla="*/ 397459 h 1799084"/>
                <a:gd name="connsiteX10" fmla="*/ 1620409 w 1959884"/>
                <a:gd name="connsiteY10" fmla="*/ 496187 h 1799084"/>
                <a:gd name="connsiteX11" fmla="*/ 1863359 w 1959884"/>
                <a:gd name="connsiteY11" fmla="*/ 782116 h 1799084"/>
                <a:gd name="connsiteX12" fmla="*/ 1918065 w 1959884"/>
                <a:gd name="connsiteY12" fmla="*/ 782268 h 1799084"/>
                <a:gd name="connsiteX13" fmla="*/ 1948914 w 1959884"/>
                <a:gd name="connsiteY13" fmla="*/ 776301 h 1799084"/>
                <a:gd name="connsiteX14" fmla="*/ 1954809 w 1959884"/>
                <a:gd name="connsiteY14" fmla="*/ 810603 h 1799084"/>
                <a:gd name="connsiteX15" fmla="*/ 1959884 w 1959884"/>
                <a:gd name="connsiteY15" fmla="*/ 899542 h 1799084"/>
                <a:gd name="connsiteX16" fmla="*/ 1954809 w 1959884"/>
                <a:gd name="connsiteY16" fmla="*/ 988481 h 1799084"/>
                <a:gd name="connsiteX17" fmla="*/ 1952657 w 1959884"/>
                <a:gd name="connsiteY17" fmla="*/ 1001005 h 1799084"/>
                <a:gd name="connsiteX18" fmla="*/ 1939671 w 1959884"/>
                <a:gd name="connsiteY18" fmla="*/ 998421 h 1799084"/>
                <a:gd name="connsiteX19" fmla="*/ 1644943 w 1959884"/>
                <a:gd name="connsiteY19" fmla="*/ 1230619 h 1799084"/>
                <a:gd name="connsiteX20" fmla="*/ 1705378 w 1959884"/>
                <a:gd name="connsiteY20" fmla="*/ 1421674 h 1799084"/>
                <a:gd name="connsiteX21" fmla="*/ 1735690 w 1959884"/>
                <a:gd name="connsiteY21" fmla="*/ 1451145 h 1799084"/>
                <a:gd name="connsiteX22" fmla="*/ 1673609 w 1959884"/>
                <a:gd name="connsiteY22" fmla="*/ 1519227 h 1799084"/>
                <a:gd name="connsiteX23" fmla="*/ 1604535 w 1959884"/>
                <a:gd name="connsiteY23" fmla="*/ 1582905 h 1799084"/>
                <a:gd name="connsiteX24" fmla="*/ 1544579 w 1959884"/>
                <a:gd name="connsiteY24" fmla="*/ 1627779 h 1799084"/>
                <a:gd name="connsiteX25" fmla="*/ 1536910 w 1959884"/>
                <a:gd name="connsiteY25" fmla="*/ 1618133 h 1799084"/>
                <a:gd name="connsiteX26" fmla="*/ 1352811 w 1959884"/>
                <a:gd name="connsiteY26" fmla="*/ 1538999 h 1799084"/>
                <a:gd name="connsiteX27" fmla="*/ 1097747 w 1959884"/>
                <a:gd name="connsiteY27" fmla="*/ 1754727 h 1799084"/>
                <a:gd name="connsiteX28" fmla="*/ 1093960 w 1959884"/>
                <a:gd name="connsiteY28" fmla="*/ 1793711 h 1799084"/>
                <a:gd name="connsiteX29" fmla="*/ 1088930 w 1959884"/>
                <a:gd name="connsiteY29" fmla="*/ 1794438 h 1799084"/>
                <a:gd name="connsiteX30" fmla="*/ 990953 w 1959884"/>
                <a:gd name="connsiteY30" fmla="*/ 1799084 h 1799084"/>
                <a:gd name="connsiteX31" fmla="*/ 892030 w 1959884"/>
                <a:gd name="connsiteY31" fmla="*/ 1794438 h 1799084"/>
                <a:gd name="connsiteX32" fmla="*/ 880611 w 1959884"/>
                <a:gd name="connsiteY32" fmla="*/ 1792830 h 1799084"/>
                <a:gd name="connsiteX33" fmla="*/ 876910 w 1959884"/>
                <a:gd name="connsiteY33" fmla="*/ 1754727 h 1799084"/>
                <a:gd name="connsiteX34" fmla="*/ 621845 w 1959884"/>
                <a:gd name="connsiteY34" fmla="*/ 1538999 h 1799084"/>
                <a:gd name="connsiteX35" fmla="*/ 437747 w 1959884"/>
                <a:gd name="connsiteY35" fmla="*/ 1618133 h 1799084"/>
                <a:gd name="connsiteX36" fmla="*/ 425756 w 1959884"/>
                <a:gd name="connsiteY36" fmla="*/ 1633214 h 1799084"/>
                <a:gd name="connsiteX37" fmla="*/ 356296 w 1959884"/>
                <a:gd name="connsiteY37" fmla="*/ 1582905 h 1799084"/>
                <a:gd name="connsiteX38" fmla="*/ 286275 w 1959884"/>
                <a:gd name="connsiteY38" fmla="*/ 1519227 h 1799084"/>
                <a:gd name="connsiteX39" fmla="*/ 249155 w 1959884"/>
                <a:gd name="connsiteY39" fmla="*/ 1478519 h 1799084"/>
                <a:gd name="connsiteX40" fmla="*/ 314455 w 1959884"/>
                <a:gd name="connsiteY40" fmla="*/ 1402563 h 1799084"/>
                <a:gd name="connsiteX41" fmla="*/ 345659 w 1959884"/>
                <a:gd name="connsiteY41" fmla="*/ 1303834 h 1799084"/>
                <a:gd name="connsiteX42" fmla="*/ 102709 w 1959884"/>
                <a:gd name="connsiteY42" fmla="*/ 1017905 h 1799084"/>
                <a:gd name="connsiteX43" fmla="*/ 48002 w 1959884"/>
                <a:gd name="connsiteY43" fmla="*/ 1017754 h 1799084"/>
                <a:gd name="connsiteX44" fmla="*/ 11325 w 1959884"/>
                <a:gd name="connsiteY44" fmla="*/ 1024848 h 1799084"/>
                <a:gd name="connsiteX45" fmla="*/ 5075 w 1959884"/>
                <a:gd name="connsiteY45" fmla="*/ 988481 h 1799084"/>
                <a:gd name="connsiteX46" fmla="*/ 0 w 1959884"/>
                <a:gd name="connsiteY46" fmla="*/ 899542 h 1799084"/>
                <a:gd name="connsiteX47" fmla="*/ 5075 w 1959884"/>
                <a:gd name="connsiteY47" fmla="*/ 810603 h 1799084"/>
                <a:gd name="connsiteX48" fmla="*/ 11469 w 1959884"/>
                <a:gd name="connsiteY48" fmla="*/ 773401 h 1799084"/>
                <a:gd name="connsiteX49" fmla="*/ 55262 w 1959884"/>
                <a:gd name="connsiteY49" fmla="*/ 782116 h 1799084"/>
                <a:gd name="connsiteX50" fmla="*/ 349990 w 1959884"/>
                <a:gd name="connsiteY50" fmla="*/ 549918 h 1799084"/>
                <a:gd name="connsiteX51" fmla="*/ 252929 w 1959884"/>
                <a:gd name="connsiteY51" fmla="*/ 323254 h 1799084"/>
                <a:gd name="connsiteX52" fmla="*/ 249037 w 1959884"/>
                <a:gd name="connsiteY52" fmla="*/ 320695 h 1799084"/>
                <a:gd name="connsiteX53" fmla="*/ 286275 w 1959884"/>
                <a:gd name="connsiteY53" fmla="*/ 279858 h 1799084"/>
                <a:gd name="connsiteX54" fmla="*/ 356296 w 1959884"/>
                <a:gd name="connsiteY54" fmla="*/ 216179 h 1799084"/>
                <a:gd name="connsiteX55" fmla="*/ 412318 w 1959884"/>
                <a:gd name="connsiteY55" fmla="*/ 175603 h 1799084"/>
                <a:gd name="connsiteX56" fmla="*/ 445972 w 1959884"/>
                <a:gd name="connsiteY56" fmla="*/ 204418 h 1799084"/>
                <a:gd name="connsiteX57" fmla="*/ 591538 w 1959884"/>
                <a:gd name="connsiteY57" fmla="*/ 250560 h 1799084"/>
                <a:gd name="connsiteX58" fmla="*/ 846603 w 1959884"/>
                <a:gd name="connsiteY58" fmla="*/ 34832 h 1799084"/>
                <a:gd name="connsiteX59" fmla="*/ 848946 w 1959884"/>
                <a:gd name="connsiteY59" fmla="*/ 10712 h 1799084"/>
                <a:gd name="connsiteX60" fmla="*/ 892030 w 1959884"/>
                <a:gd name="connsiteY60" fmla="*/ 4646 h 1799084"/>
                <a:gd name="connsiteX61" fmla="*/ 990953 w 1959884"/>
                <a:gd name="connsiteY61" fmla="*/ 0 h 17990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</a:cxnLst>
              <a:rect l="l" t="t" r="r" b="b"/>
              <a:pathLst>
                <a:path w="1959884" h="1799084">
                  <a:moveTo>
                    <a:pt x="990953" y="0"/>
                  </a:moveTo>
                  <a:cubicBezTo>
                    <a:pt x="1023984" y="0"/>
                    <a:pt x="1056672" y="1562"/>
                    <a:pt x="1088930" y="4646"/>
                  </a:cubicBezTo>
                  <a:lnTo>
                    <a:pt x="1093436" y="5297"/>
                  </a:lnTo>
                  <a:lnTo>
                    <a:pt x="1096305" y="34832"/>
                  </a:lnTo>
                  <a:cubicBezTo>
                    <a:pt x="1120582" y="157948"/>
                    <a:pt x="1225553" y="250560"/>
                    <a:pt x="1351369" y="250560"/>
                  </a:cubicBezTo>
                  <a:cubicBezTo>
                    <a:pt x="1423264" y="250560"/>
                    <a:pt x="1488353" y="220319"/>
                    <a:pt x="1535468" y="171427"/>
                  </a:cubicBezTo>
                  <a:lnTo>
                    <a:pt x="1538563" y="167533"/>
                  </a:lnTo>
                  <a:lnTo>
                    <a:pt x="1673609" y="279858"/>
                  </a:lnTo>
                  <a:lnTo>
                    <a:pt x="1714326" y="324510"/>
                  </a:lnTo>
                  <a:lnTo>
                    <a:pt x="1651613" y="397459"/>
                  </a:lnTo>
                  <a:cubicBezTo>
                    <a:pt x="1634911" y="427093"/>
                    <a:pt x="1623983" y="460418"/>
                    <a:pt x="1620409" y="496187"/>
                  </a:cubicBezTo>
                  <a:cubicBezTo>
                    <a:pt x="1606111" y="639264"/>
                    <a:pt x="1714884" y="767279"/>
                    <a:pt x="1863359" y="782116"/>
                  </a:cubicBezTo>
                  <a:cubicBezTo>
                    <a:pt x="1881918" y="783971"/>
                    <a:pt x="1900219" y="783970"/>
                    <a:pt x="1918065" y="782268"/>
                  </a:cubicBezTo>
                  <a:lnTo>
                    <a:pt x="1948914" y="776301"/>
                  </a:lnTo>
                  <a:lnTo>
                    <a:pt x="1954809" y="810603"/>
                  </a:lnTo>
                  <a:cubicBezTo>
                    <a:pt x="1958164" y="839885"/>
                    <a:pt x="1959884" y="869557"/>
                    <a:pt x="1959884" y="899542"/>
                  </a:cubicBezTo>
                  <a:cubicBezTo>
                    <a:pt x="1959884" y="929527"/>
                    <a:pt x="1958164" y="959199"/>
                    <a:pt x="1954809" y="988481"/>
                  </a:cubicBezTo>
                  <a:lnTo>
                    <a:pt x="1952657" y="1001005"/>
                  </a:lnTo>
                  <a:lnTo>
                    <a:pt x="1939671" y="998421"/>
                  </a:lnTo>
                  <a:cubicBezTo>
                    <a:pt x="1791195" y="983583"/>
                    <a:pt x="1659241" y="1087542"/>
                    <a:pt x="1644943" y="1230619"/>
                  </a:cubicBezTo>
                  <a:cubicBezTo>
                    <a:pt x="1637794" y="1302158"/>
                    <a:pt x="1661413" y="1369931"/>
                    <a:pt x="1705378" y="1421674"/>
                  </a:cubicBezTo>
                  <a:lnTo>
                    <a:pt x="1735690" y="1451145"/>
                  </a:lnTo>
                  <a:lnTo>
                    <a:pt x="1673609" y="1519227"/>
                  </a:lnTo>
                  <a:cubicBezTo>
                    <a:pt x="1651588" y="1541715"/>
                    <a:pt x="1628535" y="1562954"/>
                    <a:pt x="1604535" y="1582905"/>
                  </a:cubicBezTo>
                  <a:lnTo>
                    <a:pt x="1544579" y="1627779"/>
                  </a:lnTo>
                  <a:lnTo>
                    <a:pt x="1536910" y="1618133"/>
                  </a:lnTo>
                  <a:cubicBezTo>
                    <a:pt x="1489795" y="1569240"/>
                    <a:pt x="1424706" y="1538999"/>
                    <a:pt x="1352811" y="1538999"/>
                  </a:cubicBezTo>
                  <a:cubicBezTo>
                    <a:pt x="1226995" y="1538999"/>
                    <a:pt x="1122024" y="1631611"/>
                    <a:pt x="1097747" y="1754727"/>
                  </a:cubicBezTo>
                  <a:lnTo>
                    <a:pt x="1093960" y="1793711"/>
                  </a:lnTo>
                  <a:lnTo>
                    <a:pt x="1088930" y="1794438"/>
                  </a:lnTo>
                  <a:cubicBezTo>
                    <a:pt x="1056672" y="1797522"/>
                    <a:pt x="1023984" y="1799084"/>
                    <a:pt x="990953" y="1799084"/>
                  </a:cubicBezTo>
                  <a:cubicBezTo>
                    <a:pt x="957921" y="1799084"/>
                    <a:pt x="924889" y="1797522"/>
                    <a:pt x="892030" y="1794438"/>
                  </a:cubicBezTo>
                  <a:lnTo>
                    <a:pt x="880611" y="1792830"/>
                  </a:lnTo>
                  <a:lnTo>
                    <a:pt x="876910" y="1754727"/>
                  </a:lnTo>
                  <a:cubicBezTo>
                    <a:pt x="852633" y="1631611"/>
                    <a:pt x="747662" y="1538999"/>
                    <a:pt x="621845" y="1538999"/>
                  </a:cubicBezTo>
                  <a:cubicBezTo>
                    <a:pt x="549950" y="1538999"/>
                    <a:pt x="484862" y="1569240"/>
                    <a:pt x="437747" y="1618133"/>
                  </a:cubicBezTo>
                  <a:lnTo>
                    <a:pt x="425756" y="1633214"/>
                  </a:lnTo>
                  <a:lnTo>
                    <a:pt x="356296" y="1582905"/>
                  </a:lnTo>
                  <a:cubicBezTo>
                    <a:pt x="331694" y="1562954"/>
                    <a:pt x="308296" y="1541715"/>
                    <a:pt x="286275" y="1519227"/>
                  </a:cubicBezTo>
                  <a:lnTo>
                    <a:pt x="249155" y="1478519"/>
                  </a:lnTo>
                  <a:lnTo>
                    <a:pt x="314455" y="1402563"/>
                  </a:lnTo>
                  <a:cubicBezTo>
                    <a:pt x="331156" y="1372928"/>
                    <a:pt x="342084" y="1339604"/>
                    <a:pt x="345659" y="1303834"/>
                  </a:cubicBezTo>
                  <a:cubicBezTo>
                    <a:pt x="359957" y="1160757"/>
                    <a:pt x="251184" y="1032742"/>
                    <a:pt x="102709" y="1017905"/>
                  </a:cubicBezTo>
                  <a:cubicBezTo>
                    <a:pt x="84149" y="1016050"/>
                    <a:pt x="65848" y="1016052"/>
                    <a:pt x="48002" y="1017754"/>
                  </a:cubicBezTo>
                  <a:lnTo>
                    <a:pt x="11325" y="1024848"/>
                  </a:lnTo>
                  <a:lnTo>
                    <a:pt x="5075" y="988481"/>
                  </a:lnTo>
                  <a:cubicBezTo>
                    <a:pt x="1721" y="959199"/>
                    <a:pt x="0" y="929527"/>
                    <a:pt x="0" y="899542"/>
                  </a:cubicBezTo>
                  <a:cubicBezTo>
                    <a:pt x="0" y="869557"/>
                    <a:pt x="1721" y="839885"/>
                    <a:pt x="5075" y="810603"/>
                  </a:cubicBezTo>
                  <a:lnTo>
                    <a:pt x="11469" y="773401"/>
                  </a:lnTo>
                  <a:lnTo>
                    <a:pt x="55262" y="782116"/>
                  </a:lnTo>
                  <a:cubicBezTo>
                    <a:pt x="203737" y="796954"/>
                    <a:pt x="335692" y="692996"/>
                    <a:pt x="349990" y="549918"/>
                  </a:cubicBezTo>
                  <a:cubicBezTo>
                    <a:pt x="358926" y="460495"/>
                    <a:pt x="319788" y="376956"/>
                    <a:pt x="252929" y="323254"/>
                  </a:cubicBezTo>
                  <a:lnTo>
                    <a:pt x="249037" y="320695"/>
                  </a:lnTo>
                  <a:lnTo>
                    <a:pt x="286275" y="279858"/>
                  </a:lnTo>
                  <a:cubicBezTo>
                    <a:pt x="308296" y="257369"/>
                    <a:pt x="331694" y="236130"/>
                    <a:pt x="356296" y="216179"/>
                  </a:cubicBezTo>
                  <a:lnTo>
                    <a:pt x="412318" y="175603"/>
                  </a:lnTo>
                  <a:lnTo>
                    <a:pt x="445972" y="204418"/>
                  </a:lnTo>
                  <a:cubicBezTo>
                    <a:pt x="487524" y="233550"/>
                    <a:pt x="537617" y="250560"/>
                    <a:pt x="591538" y="250560"/>
                  </a:cubicBezTo>
                  <a:cubicBezTo>
                    <a:pt x="717355" y="250560"/>
                    <a:pt x="822326" y="157948"/>
                    <a:pt x="846603" y="34832"/>
                  </a:cubicBezTo>
                  <a:lnTo>
                    <a:pt x="848946" y="10712"/>
                  </a:lnTo>
                  <a:lnTo>
                    <a:pt x="892030" y="4646"/>
                  </a:lnTo>
                  <a:cubicBezTo>
                    <a:pt x="924889" y="1562"/>
                    <a:pt x="957921" y="0"/>
                    <a:pt x="990953" y="0"/>
                  </a:cubicBezTo>
                  <a:close/>
                </a:path>
              </a:pathLst>
            </a:custGeom>
            <a:grpFill/>
            <a:ln w="2857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wrap="square">
              <a:noAutofit/>
            </a:bodyPr>
            <a:lstStyle/>
            <a:p>
              <a:endParaRPr lang="en-GB" dirty="0"/>
            </a:p>
          </p:txBody>
        </p:sp>
        <p:pic>
          <p:nvPicPr>
            <p:cNvPr id="8" name="Graphic 7">
              <a:extLst>
                <a:ext uri="{FF2B5EF4-FFF2-40B4-BE49-F238E27FC236}">
                  <a16:creationId xmlns="" xmlns:a16="http://schemas.microsoft.com/office/drawing/2014/main" id="{4B935014-C018-44BB-B414-B9498884405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>
              <a:extLst>
                <a:ext uri="{96DAC541-7B7A-43D3-8B79-37D633B846F1}">
                  <asvg:svgBlip xmlns="" xmlns:asvg="http://schemas.microsoft.com/office/drawing/2016/SVG/main" r:embed="rId9"/>
                </a:ext>
              </a:extLst>
            </a:blip>
            <a:srcRect t="17025" b="18431"/>
            <a:stretch/>
          </p:blipFill>
          <p:spPr>
            <a:xfrm>
              <a:off x="437744" y="1607835"/>
              <a:ext cx="537661" cy="347028"/>
            </a:xfrm>
            <a:prstGeom prst="rect">
              <a:avLst/>
            </a:prstGeom>
          </p:spPr>
        </p:pic>
      </p:grpSp>
      <p:sp>
        <p:nvSpPr>
          <p:cNvPr id="9" name="Rectangle 8">
            <a:extLst>
              <a:ext uri="{FF2B5EF4-FFF2-40B4-BE49-F238E27FC236}">
                <a16:creationId xmlns="" xmlns:a16="http://schemas.microsoft.com/office/drawing/2014/main" id="{1F3950C2-DC34-4FE7-B9F5-D7B371DF994B}"/>
              </a:ext>
            </a:extLst>
          </p:cNvPr>
          <p:cNvSpPr/>
          <p:nvPr/>
        </p:nvSpPr>
        <p:spPr>
          <a:xfrm>
            <a:off x="3755241" y="2594725"/>
            <a:ext cx="98441" cy="92689"/>
          </a:xfrm>
          <a:prstGeom prst="rect">
            <a:avLst/>
          </a:prstGeom>
          <a:noFill/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US" sz="1400" dirty="0" err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="" xmlns:a16="http://schemas.microsoft.com/office/drawing/2014/main" id="{59744304-7F9D-4392-B42E-D2CB9275614E}"/>
              </a:ext>
            </a:extLst>
          </p:cNvPr>
          <p:cNvSpPr/>
          <p:nvPr/>
        </p:nvSpPr>
        <p:spPr>
          <a:xfrm flipH="1">
            <a:off x="5296661" y="2594725"/>
            <a:ext cx="0" cy="0"/>
          </a:xfrm>
          <a:prstGeom prst="rect">
            <a:avLst/>
          </a:prstGeom>
          <a:noFill/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US" sz="1400" dirty="0" err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3" name="Graphic 12">
            <a:extLst>
              <a:ext uri="{FF2B5EF4-FFF2-40B4-BE49-F238E27FC236}">
                <a16:creationId xmlns="" xmlns:a16="http://schemas.microsoft.com/office/drawing/2014/main" id="{2A1417D0-2465-4849-9D64-2BC0808EC4E1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=""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443182" y="1833987"/>
            <a:ext cx="433768" cy="433768"/>
          </a:xfrm>
          <a:prstGeom prst="rect">
            <a:avLst/>
          </a:prstGeom>
        </p:spPr>
      </p:pic>
      <p:grpSp>
        <p:nvGrpSpPr>
          <p:cNvPr id="40" name="Group 39">
            <a:extLst>
              <a:ext uri="{FF2B5EF4-FFF2-40B4-BE49-F238E27FC236}">
                <a16:creationId xmlns="" xmlns:a16="http://schemas.microsoft.com/office/drawing/2014/main" id="{271F5587-521D-47AD-A4B4-EE2B8BC708C1}"/>
              </a:ext>
            </a:extLst>
          </p:cNvPr>
          <p:cNvGrpSpPr/>
          <p:nvPr/>
        </p:nvGrpSpPr>
        <p:grpSpPr>
          <a:xfrm>
            <a:off x="7883769" y="1225848"/>
            <a:ext cx="931421" cy="385342"/>
            <a:chOff x="1724152" y="1905538"/>
            <a:chExt cx="931421" cy="385342"/>
          </a:xfrm>
        </p:grpSpPr>
        <p:sp>
          <p:nvSpPr>
            <p:cNvPr id="41" name="Oval 40">
              <a:extLst>
                <a:ext uri="{FF2B5EF4-FFF2-40B4-BE49-F238E27FC236}">
                  <a16:creationId xmlns="" xmlns:a16="http://schemas.microsoft.com/office/drawing/2014/main" id="{9BE91BFE-5D94-4F32-89AF-904FEF42A239}"/>
                </a:ext>
              </a:extLst>
            </p:cNvPr>
            <p:cNvSpPr/>
            <p:nvPr/>
          </p:nvSpPr>
          <p:spPr>
            <a:xfrm>
              <a:off x="2370418" y="2029002"/>
              <a:ext cx="212364" cy="212364"/>
            </a:xfrm>
            <a:prstGeom prst="ellipse">
              <a:avLst/>
            </a:prstGeom>
            <a:solidFill>
              <a:schemeClr val="accent5"/>
            </a:solidFill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ot="0" spcFirstLastPara="0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42" name="Oval 41">
              <a:extLst>
                <a:ext uri="{FF2B5EF4-FFF2-40B4-BE49-F238E27FC236}">
                  <a16:creationId xmlns="" xmlns:a16="http://schemas.microsoft.com/office/drawing/2014/main" id="{C6D8D292-3DAC-48EF-9638-AB21C73B4651}"/>
                </a:ext>
              </a:extLst>
            </p:cNvPr>
            <p:cNvSpPr/>
            <p:nvPr/>
          </p:nvSpPr>
          <p:spPr>
            <a:xfrm>
              <a:off x="2065481" y="1924047"/>
              <a:ext cx="212364" cy="212364"/>
            </a:xfrm>
            <a:prstGeom prst="ellipse">
              <a:avLst/>
            </a:prstGeom>
            <a:solidFill>
              <a:schemeClr val="accent1"/>
            </a:solidFill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ot="0" spcFirstLastPara="0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43" name="Arc 42">
              <a:extLst>
                <a:ext uri="{FF2B5EF4-FFF2-40B4-BE49-F238E27FC236}">
                  <a16:creationId xmlns="" xmlns:a16="http://schemas.microsoft.com/office/drawing/2014/main" id="{F4D2FB46-0845-436D-A6EC-23D9C5A54AC4}"/>
                </a:ext>
              </a:extLst>
            </p:cNvPr>
            <p:cNvSpPr/>
            <p:nvPr/>
          </p:nvSpPr>
          <p:spPr bwMode="gray">
            <a:xfrm>
              <a:off x="2326958" y="1947656"/>
              <a:ext cx="283644" cy="247796"/>
            </a:xfrm>
            <a:prstGeom prst="arc">
              <a:avLst>
                <a:gd name="adj1" fmla="val 11178900"/>
                <a:gd name="adj2" fmla="val 21075396"/>
              </a:avLst>
            </a:prstGeom>
            <a:ln w="19050" cap="flat">
              <a:solidFill>
                <a:schemeClr val="accent5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100" dirty="0"/>
            </a:p>
          </p:txBody>
        </p:sp>
        <p:sp>
          <p:nvSpPr>
            <p:cNvPr id="44" name="Isosceles Triangle 43">
              <a:extLst>
                <a:ext uri="{FF2B5EF4-FFF2-40B4-BE49-F238E27FC236}">
                  <a16:creationId xmlns="" xmlns:a16="http://schemas.microsoft.com/office/drawing/2014/main" id="{B9AC52F7-A264-4AF7-A7A6-AC32B6A68BA8}"/>
                </a:ext>
              </a:extLst>
            </p:cNvPr>
            <p:cNvSpPr>
              <a:spLocks noChangeAspect="1"/>
            </p:cNvSpPr>
            <p:nvPr/>
          </p:nvSpPr>
          <p:spPr bwMode="gray">
            <a:xfrm rot="9927096">
              <a:off x="2575172" y="2027619"/>
              <a:ext cx="73611" cy="63458"/>
            </a:xfrm>
            <a:prstGeom prst="triangle">
              <a:avLst/>
            </a:prstGeom>
            <a:solidFill>
              <a:schemeClr val="accent5"/>
            </a:solidFill>
            <a:ln w="952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050" dirty="0">
                <a:solidFill>
                  <a:schemeClr val="tx1"/>
                </a:solidFill>
              </a:endParaRPr>
            </a:p>
          </p:txBody>
        </p:sp>
        <p:sp>
          <p:nvSpPr>
            <p:cNvPr id="45" name="Arc 44">
              <a:extLst>
                <a:ext uri="{FF2B5EF4-FFF2-40B4-BE49-F238E27FC236}">
                  <a16:creationId xmlns="" xmlns:a16="http://schemas.microsoft.com/office/drawing/2014/main" id="{AC6C2662-9288-4B4D-973C-EE2356648F7F}"/>
                </a:ext>
              </a:extLst>
            </p:cNvPr>
            <p:cNvSpPr/>
            <p:nvPr/>
          </p:nvSpPr>
          <p:spPr bwMode="gray">
            <a:xfrm flipV="1">
              <a:off x="2024478" y="1993671"/>
              <a:ext cx="283644" cy="247373"/>
            </a:xfrm>
            <a:prstGeom prst="arc">
              <a:avLst>
                <a:gd name="adj1" fmla="val 11178900"/>
                <a:gd name="adj2" fmla="val 21075396"/>
              </a:avLst>
            </a:prstGeom>
            <a:ln w="19050" cap="flat">
              <a:solidFill>
                <a:schemeClr val="accent1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100" dirty="0"/>
            </a:p>
          </p:txBody>
        </p:sp>
        <p:sp>
          <p:nvSpPr>
            <p:cNvPr id="46" name="Isosceles Triangle 45">
              <a:extLst>
                <a:ext uri="{FF2B5EF4-FFF2-40B4-BE49-F238E27FC236}">
                  <a16:creationId xmlns="" xmlns:a16="http://schemas.microsoft.com/office/drawing/2014/main" id="{BF53ED47-BC0B-45B8-92B2-1D60929D1D57}"/>
                </a:ext>
              </a:extLst>
            </p:cNvPr>
            <p:cNvSpPr>
              <a:spLocks noChangeAspect="1"/>
            </p:cNvSpPr>
            <p:nvPr/>
          </p:nvSpPr>
          <p:spPr bwMode="gray">
            <a:xfrm rot="11672904" flipV="1">
              <a:off x="2272693" y="2097869"/>
              <a:ext cx="73611" cy="63349"/>
            </a:xfrm>
            <a:prstGeom prst="triangle">
              <a:avLst/>
            </a:prstGeom>
            <a:solidFill>
              <a:schemeClr val="accent1"/>
            </a:solidFill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050" dirty="0">
                <a:solidFill>
                  <a:schemeClr val="tx1"/>
                </a:solidFill>
              </a:endParaRPr>
            </a:p>
          </p:txBody>
        </p:sp>
        <p:sp>
          <p:nvSpPr>
            <p:cNvPr id="47" name="Oval 46">
              <a:extLst>
                <a:ext uri="{FF2B5EF4-FFF2-40B4-BE49-F238E27FC236}">
                  <a16:creationId xmlns="" xmlns:a16="http://schemas.microsoft.com/office/drawing/2014/main" id="{A1BFDD9A-FB97-4FB1-8D83-32FD5536E942}"/>
                </a:ext>
              </a:extLst>
            </p:cNvPr>
            <p:cNvSpPr/>
            <p:nvPr/>
          </p:nvSpPr>
          <p:spPr>
            <a:xfrm>
              <a:off x="2146537" y="2216785"/>
              <a:ext cx="50253" cy="50252"/>
            </a:xfrm>
            <a:prstGeom prst="ellipse">
              <a:avLst/>
            </a:prstGeom>
            <a:solidFill>
              <a:schemeClr val="accent1"/>
            </a:solidFill>
            <a:ln w="12700" cap="flat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 b="1" dirty="0">
                <a:solidFill>
                  <a:schemeClr val="bg1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48" name="Oval 47">
              <a:extLst>
                <a:ext uri="{FF2B5EF4-FFF2-40B4-BE49-F238E27FC236}">
                  <a16:creationId xmlns="" xmlns:a16="http://schemas.microsoft.com/office/drawing/2014/main" id="{1A832C90-D8E3-4603-9AFF-9B4DCC2C5344}"/>
                </a:ext>
              </a:extLst>
            </p:cNvPr>
            <p:cNvSpPr/>
            <p:nvPr/>
          </p:nvSpPr>
          <p:spPr>
            <a:xfrm>
              <a:off x="2451474" y="1923542"/>
              <a:ext cx="50253" cy="50252"/>
            </a:xfrm>
            <a:prstGeom prst="ellipse">
              <a:avLst/>
            </a:prstGeom>
            <a:solidFill>
              <a:schemeClr val="accent5"/>
            </a:solidFill>
            <a:ln w="12700" cap="flat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 b="1" dirty="0">
                <a:solidFill>
                  <a:schemeClr val="bg1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49" name="Rectangle 48">
              <a:extLst>
                <a:ext uri="{FF2B5EF4-FFF2-40B4-BE49-F238E27FC236}">
                  <a16:creationId xmlns="" xmlns:a16="http://schemas.microsoft.com/office/drawing/2014/main" id="{9A0BF4AA-623E-493B-BE05-6927EBDFBC35}"/>
                </a:ext>
              </a:extLst>
            </p:cNvPr>
            <p:cNvSpPr/>
            <p:nvPr/>
          </p:nvSpPr>
          <p:spPr>
            <a:xfrm>
              <a:off x="2012136" y="1905538"/>
              <a:ext cx="643437" cy="385342"/>
            </a:xfrm>
            <a:prstGeom prst="rect">
              <a:avLst/>
            </a:prstGeom>
            <a:solidFill>
              <a:schemeClr val="bg1">
                <a:alpha val="80000"/>
              </a:schemeClr>
            </a:solidFill>
            <a:ln w="6350" cap="flat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900"/>
                </a:spcBef>
              </a:pPr>
              <a:endParaRPr lang="en-US" sz="140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50" name="Isosceles Triangle 49">
              <a:extLst>
                <a:ext uri="{FF2B5EF4-FFF2-40B4-BE49-F238E27FC236}">
                  <a16:creationId xmlns="" xmlns:a16="http://schemas.microsoft.com/office/drawing/2014/main" id="{DACFC068-91CB-41E4-AE46-EF6E38D75D51}"/>
                </a:ext>
              </a:extLst>
            </p:cNvPr>
            <p:cNvSpPr>
              <a:spLocks noChangeAspect="1"/>
            </p:cNvSpPr>
            <p:nvPr/>
          </p:nvSpPr>
          <p:spPr bwMode="gray">
            <a:xfrm rot="9927096">
              <a:off x="1973290" y="2029335"/>
              <a:ext cx="73611" cy="63458"/>
            </a:xfrm>
            <a:prstGeom prst="triangle">
              <a:avLst/>
            </a:prstGeom>
            <a:solidFill>
              <a:schemeClr val="bg2"/>
            </a:solidFill>
            <a:ln w="9525">
              <a:solidFill>
                <a:srgbClr val="007F7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050" dirty="0">
                <a:solidFill>
                  <a:schemeClr val="tx1"/>
                </a:solidFill>
              </a:endParaRPr>
            </a:p>
          </p:txBody>
        </p:sp>
        <p:sp>
          <p:nvSpPr>
            <p:cNvPr id="51" name="Oval 50">
              <a:extLst>
                <a:ext uri="{FF2B5EF4-FFF2-40B4-BE49-F238E27FC236}">
                  <a16:creationId xmlns="" xmlns:a16="http://schemas.microsoft.com/office/drawing/2014/main" id="{94F95ECD-ED41-415F-8760-DEBAE131CE85}"/>
                </a:ext>
              </a:extLst>
            </p:cNvPr>
            <p:cNvSpPr/>
            <p:nvPr/>
          </p:nvSpPr>
          <p:spPr>
            <a:xfrm>
              <a:off x="1761962" y="2029002"/>
              <a:ext cx="212364" cy="212364"/>
            </a:xfrm>
            <a:prstGeom prst="ellipse">
              <a:avLst/>
            </a:prstGeom>
            <a:solidFill>
              <a:schemeClr val="bg2"/>
            </a:solidFill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ot="0" spcFirstLastPara="0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52" name="Arc 51">
              <a:extLst>
                <a:ext uri="{FF2B5EF4-FFF2-40B4-BE49-F238E27FC236}">
                  <a16:creationId xmlns="" xmlns:a16="http://schemas.microsoft.com/office/drawing/2014/main" id="{6BD66169-9CC2-4CB3-9DBD-A015835C58ED}"/>
                </a:ext>
              </a:extLst>
            </p:cNvPr>
            <p:cNvSpPr/>
            <p:nvPr/>
          </p:nvSpPr>
          <p:spPr bwMode="gray">
            <a:xfrm>
              <a:off x="1724152" y="1947656"/>
              <a:ext cx="283644" cy="247796"/>
            </a:xfrm>
            <a:prstGeom prst="arc">
              <a:avLst>
                <a:gd name="adj1" fmla="val 11178900"/>
                <a:gd name="adj2" fmla="val 21075396"/>
              </a:avLst>
            </a:prstGeom>
            <a:ln w="19050" cap="flat">
              <a:solidFill>
                <a:schemeClr val="bg2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100" dirty="0"/>
            </a:p>
          </p:txBody>
        </p:sp>
        <p:sp>
          <p:nvSpPr>
            <p:cNvPr id="53" name="Oval 52">
              <a:extLst>
                <a:ext uri="{FF2B5EF4-FFF2-40B4-BE49-F238E27FC236}">
                  <a16:creationId xmlns="" xmlns:a16="http://schemas.microsoft.com/office/drawing/2014/main" id="{2EFE3DAD-7699-440F-B03C-4ACB04EA017C}"/>
                </a:ext>
              </a:extLst>
            </p:cNvPr>
            <p:cNvSpPr/>
            <p:nvPr/>
          </p:nvSpPr>
          <p:spPr>
            <a:xfrm>
              <a:off x="1843018" y="1923542"/>
              <a:ext cx="50253" cy="50252"/>
            </a:xfrm>
            <a:prstGeom prst="ellipse">
              <a:avLst/>
            </a:prstGeom>
            <a:solidFill>
              <a:schemeClr val="bg2"/>
            </a:solidFill>
            <a:ln w="12700" cap="flat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 b="1" dirty="0">
                <a:solidFill>
                  <a:schemeClr val="bg1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</p:grpSp>
      <p:sp>
        <p:nvSpPr>
          <p:cNvPr id="54" name="Rectangle 53">
            <a:extLst>
              <a:ext uri="{FF2B5EF4-FFF2-40B4-BE49-F238E27FC236}">
                <a16:creationId xmlns="" xmlns:a16="http://schemas.microsoft.com/office/drawing/2014/main" id="{05748591-DED1-4E01-B39F-3211D961BFDC}"/>
              </a:ext>
            </a:extLst>
          </p:cNvPr>
          <p:cNvSpPr/>
          <p:nvPr/>
        </p:nvSpPr>
        <p:spPr>
          <a:xfrm>
            <a:off x="356590" y="2893691"/>
            <a:ext cx="1938000" cy="295897"/>
          </a:xfrm>
          <a:prstGeom prst="rect">
            <a:avLst/>
          </a:prstGeom>
          <a:noFill/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r>
              <a:rPr lang="en-US" sz="1200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Numerical Variables</a:t>
            </a:r>
          </a:p>
        </p:txBody>
      </p:sp>
      <p:sp>
        <p:nvSpPr>
          <p:cNvPr id="55" name="Rectangle 54">
            <a:extLst>
              <a:ext uri="{FF2B5EF4-FFF2-40B4-BE49-F238E27FC236}">
                <a16:creationId xmlns="" xmlns:a16="http://schemas.microsoft.com/office/drawing/2014/main" id="{3C5AE5AC-4200-4B03-9A80-F2C1703A538F}"/>
              </a:ext>
            </a:extLst>
          </p:cNvPr>
          <p:cNvSpPr/>
          <p:nvPr/>
        </p:nvSpPr>
        <p:spPr>
          <a:xfrm>
            <a:off x="2518757" y="2893691"/>
            <a:ext cx="1938000" cy="295897"/>
          </a:xfrm>
          <a:prstGeom prst="rect">
            <a:avLst/>
          </a:prstGeom>
          <a:noFill/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r>
              <a:rPr lang="en-US" sz="1200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Nominal Categorical Variables</a:t>
            </a:r>
          </a:p>
        </p:txBody>
      </p:sp>
      <p:sp>
        <p:nvSpPr>
          <p:cNvPr id="56" name="Rectangle 55">
            <a:extLst>
              <a:ext uri="{FF2B5EF4-FFF2-40B4-BE49-F238E27FC236}">
                <a16:creationId xmlns="" xmlns:a16="http://schemas.microsoft.com/office/drawing/2014/main" id="{704E51A5-4C8D-439B-899E-70B0EAB12E87}"/>
              </a:ext>
            </a:extLst>
          </p:cNvPr>
          <p:cNvSpPr/>
          <p:nvPr/>
        </p:nvSpPr>
        <p:spPr>
          <a:xfrm>
            <a:off x="4680923" y="2893691"/>
            <a:ext cx="4100167" cy="295897"/>
          </a:xfrm>
          <a:prstGeom prst="rect">
            <a:avLst/>
          </a:prstGeom>
          <a:noFill/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r>
              <a:rPr lang="en-US" sz="1200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Ordinal Categorical Variables</a:t>
            </a:r>
          </a:p>
        </p:txBody>
      </p:sp>
      <p:cxnSp>
        <p:nvCxnSpPr>
          <p:cNvPr id="62" name="Straight Connector 61">
            <a:extLst>
              <a:ext uri="{FF2B5EF4-FFF2-40B4-BE49-F238E27FC236}">
                <a16:creationId xmlns="" xmlns:a16="http://schemas.microsoft.com/office/drawing/2014/main" id="{B2C0B1A8-0CB4-47E9-9506-FDDF7D5DA574}"/>
              </a:ext>
            </a:extLst>
          </p:cNvPr>
          <p:cNvCxnSpPr>
            <a:cxnSpLocks/>
          </p:cNvCxnSpPr>
          <p:nvPr/>
        </p:nvCxnSpPr>
        <p:spPr>
          <a:xfrm>
            <a:off x="244507" y="2687414"/>
            <a:ext cx="8525712" cy="0"/>
          </a:xfrm>
          <a:prstGeom prst="line">
            <a:avLst/>
          </a:prstGeom>
          <a:ln w="22225" cap="flat">
            <a:solidFill>
              <a:schemeClr val="bg2"/>
            </a:solidFill>
            <a:prstDash val="sysDot"/>
            <a:miter lim="800000"/>
            <a:headEnd type="diamond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Rectangle 62">
            <a:extLst>
              <a:ext uri="{FF2B5EF4-FFF2-40B4-BE49-F238E27FC236}">
                <a16:creationId xmlns="" xmlns:a16="http://schemas.microsoft.com/office/drawing/2014/main" id="{487B633C-AF59-4FB8-B23A-FAC8FC8C7FE2}"/>
              </a:ext>
            </a:extLst>
          </p:cNvPr>
          <p:cNvSpPr/>
          <p:nvPr/>
        </p:nvSpPr>
        <p:spPr>
          <a:xfrm>
            <a:off x="459948" y="2569403"/>
            <a:ext cx="1195728" cy="244543"/>
          </a:xfrm>
          <a:prstGeom prst="rect">
            <a:avLst/>
          </a:prstGeom>
          <a:solidFill>
            <a:schemeClr val="bg1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spcBef>
                <a:spcPts val="900"/>
              </a:spcBef>
            </a:pPr>
            <a:r>
              <a:rPr lang="en-US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Features</a:t>
            </a:r>
          </a:p>
        </p:txBody>
      </p:sp>
      <p:sp>
        <p:nvSpPr>
          <p:cNvPr id="65" name="Rectangle: Diagonal Corners Snipped 64">
            <a:extLst>
              <a:ext uri="{FF2B5EF4-FFF2-40B4-BE49-F238E27FC236}">
                <a16:creationId xmlns="" xmlns:a16="http://schemas.microsoft.com/office/drawing/2014/main" id="{6AD30640-0C81-40BC-957B-ED6929B5498D}"/>
              </a:ext>
            </a:extLst>
          </p:cNvPr>
          <p:cNvSpPr/>
          <p:nvPr/>
        </p:nvSpPr>
        <p:spPr>
          <a:xfrm>
            <a:off x="6843091" y="3336987"/>
            <a:ext cx="1938000" cy="295897"/>
          </a:xfrm>
          <a:prstGeom prst="snip2DiagRect">
            <a:avLst/>
          </a:prstGeom>
          <a:solidFill>
            <a:schemeClr val="tx2">
              <a:lumMod val="25000"/>
              <a:lumOff val="75000"/>
            </a:schemeClr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r>
              <a:rPr lang="en-US" sz="1200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Online Boarding</a:t>
            </a:r>
          </a:p>
        </p:txBody>
      </p:sp>
      <p:cxnSp>
        <p:nvCxnSpPr>
          <p:cNvPr id="72" name="Straight Connector 71">
            <a:extLst>
              <a:ext uri="{FF2B5EF4-FFF2-40B4-BE49-F238E27FC236}">
                <a16:creationId xmlns="" xmlns:a16="http://schemas.microsoft.com/office/drawing/2014/main" id="{B9B9BB04-397E-4EFC-AFF0-EEBB79B8E376}"/>
              </a:ext>
            </a:extLst>
          </p:cNvPr>
          <p:cNvCxnSpPr/>
          <p:nvPr/>
        </p:nvCxnSpPr>
        <p:spPr>
          <a:xfrm>
            <a:off x="511702" y="3200400"/>
            <a:ext cx="1627776" cy="0"/>
          </a:xfrm>
          <a:prstGeom prst="line">
            <a:avLst/>
          </a:prstGeom>
          <a:ln w="12700" cap="flat">
            <a:solidFill>
              <a:schemeClr val="tx1"/>
            </a:solidFill>
            <a:miter lim="800000"/>
            <a:headEnd type="diamond" w="med" len="med"/>
            <a:tailEnd type="diamond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Straight Connector 72">
            <a:extLst>
              <a:ext uri="{FF2B5EF4-FFF2-40B4-BE49-F238E27FC236}">
                <a16:creationId xmlns="" xmlns:a16="http://schemas.microsoft.com/office/drawing/2014/main" id="{DA499BC1-FB58-4550-9DCD-D97DA8A5FD8A}"/>
              </a:ext>
            </a:extLst>
          </p:cNvPr>
          <p:cNvCxnSpPr/>
          <p:nvPr/>
        </p:nvCxnSpPr>
        <p:spPr>
          <a:xfrm>
            <a:off x="2518755" y="3200400"/>
            <a:ext cx="1938000" cy="0"/>
          </a:xfrm>
          <a:prstGeom prst="line">
            <a:avLst/>
          </a:prstGeom>
          <a:ln w="12700" cap="flat">
            <a:solidFill>
              <a:schemeClr val="tx1"/>
            </a:solidFill>
            <a:miter lim="800000"/>
            <a:headEnd type="diamond" w="med" len="med"/>
            <a:tailEnd type="diamond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Straight Connector 73">
            <a:extLst>
              <a:ext uri="{FF2B5EF4-FFF2-40B4-BE49-F238E27FC236}">
                <a16:creationId xmlns="" xmlns:a16="http://schemas.microsoft.com/office/drawing/2014/main" id="{69D3F269-28BE-4482-A92A-8F6308C24A34}"/>
              </a:ext>
            </a:extLst>
          </p:cNvPr>
          <p:cNvCxnSpPr/>
          <p:nvPr/>
        </p:nvCxnSpPr>
        <p:spPr>
          <a:xfrm>
            <a:off x="4680923" y="3200400"/>
            <a:ext cx="4100168" cy="0"/>
          </a:xfrm>
          <a:prstGeom prst="line">
            <a:avLst/>
          </a:prstGeom>
          <a:ln w="12700" cap="flat">
            <a:solidFill>
              <a:schemeClr val="tx1"/>
            </a:solidFill>
            <a:miter lim="800000"/>
            <a:headEnd type="diamond" w="med" len="med"/>
            <a:tailEnd type="diamond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" name="Rectangle: Diagonal Corners Snipped 76">
            <a:extLst>
              <a:ext uri="{FF2B5EF4-FFF2-40B4-BE49-F238E27FC236}">
                <a16:creationId xmlns="" xmlns:a16="http://schemas.microsoft.com/office/drawing/2014/main" id="{B68AD362-7BD8-4CA6-A63E-3118000FD235}"/>
              </a:ext>
            </a:extLst>
          </p:cNvPr>
          <p:cNvSpPr/>
          <p:nvPr/>
        </p:nvSpPr>
        <p:spPr>
          <a:xfrm>
            <a:off x="6843091" y="3735943"/>
            <a:ext cx="1938000" cy="295897"/>
          </a:xfrm>
          <a:prstGeom prst="snip2DiagRect">
            <a:avLst/>
          </a:prstGeom>
          <a:solidFill>
            <a:schemeClr val="tx2">
              <a:lumMod val="25000"/>
              <a:lumOff val="75000"/>
            </a:schemeClr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r>
              <a:rPr lang="en-US" sz="1200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Seat Comfort</a:t>
            </a:r>
          </a:p>
        </p:txBody>
      </p:sp>
      <p:sp>
        <p:nvSpPr>
          <p:cNvPr id="80" name="Rectangle: Diagonal Corners Snipped 79">
            <a:extLst>
              <a:ext uri="{FF2B5EF4-FFF2-40B4-BE49-F238E27FC236}">
                <a16:creationId xmlns="" xmlns:a16="http://schemas.microsoft.com/office/drawing/2014/main" id="{62A4A01D-3EED-490B-BC96-63CE1A316FC1}"/>
              </a:ext>
            </a:extLst>
          </p:cNvPr>
          <p:cNvSpPr/>
          <p:nvPr/>
        </p:nvSpPr>
        <p:spPr>
          <a:xfrm>
            <a:off x="6843091" y="4134899"/>
            <a:ext cx="1938000" cy="295897"/>
          </a:xfrm>
          <a:prstGeom prst="snip2DiagRect">
            <a:avLst/>
          </a:prstGeom>
          <a:solidFill>
            <a:schemeClr val="tx2">
              <a:lumMod val="25000"/>
              <a:lumOff val="75000"/>
            </a:schemeClr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r>
              <a:rPr lang="en-US" sz="1200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In-flight Entertainment</a:t>
            </a:r>
          </a:p>
        </p:txBody>
      </p:sp>
      <p:sp>
        <p:nvSpPr>
          <p:cNvPr id="83" name="Rectangle: Diagonal Corners Snipped 82">
            <a:extLst>
              <a:ext uri="{FF2B5EF4-FFF2-40B4-BE49-F238E27FC236}">
                <a16:creationId xmlns="" xmlns:a16="http://schemas.microsoft.com/office/drawing/2014/main" id="{7E80A03A-F04C-49C0-96CD-057D91E8C7C7}"/>
              </a:ext>
            </a:extLst>
          </p:cNvPr>
          <p:cNvSpPr/>
          <p:nvPr/>
        </p:nvSpPr>
        <p:spPr>
          <a:xfrm>
            <a:off x="6843091" y="4533855"/>
            <a:ext cx="1938000" cy="295897"/>
          </a:xfrm>
          <a:prstGeom prst="snip2DiagRect">
            <a:avLst/>
          </a:prstGeom>
          <a:solidFill>
            <a:schemeClr val="tx2">
              <a:lumMod val="25000"/>
              <a:lumOff val="75000"/>
            </a:schemeClr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r>
              <a:rPr lang="en-US" sz="1200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On-board Service</a:t>
            </a:r>
          </a:p>
        </p:txBody>
      </p:sp>
      <p:sp>
        <p:nvSpPr>
          <p:cNvPr id="86" name="Rectangle: Diagonal Corners Snipped 85">
            <a:extLst>
              <a:ext uri="{FF2B5EF4-FFF2-40B4-BE49-F238E27FC236}">
                <a16:creationId xmlns="" xmlns:a16="http://schemas.microsoft.com/office/drawing/2014/main" id="{83907D43-D5B7-4792-B220-810BEAFCDB50}"/>
              </a:ext>
            </a:extLst>
          </p:cNvPr>
          <p:cNvSpPr/>
          <p:nvPr/>
        </p:nvSpPr>
        <p:spPr>
          <a:xfrm>
            <a:off x="6843091" y="4932811"/>
            <a:ext cx="1938000" cy="295897"/>
          </a:xfrm>
          <a:prstGeom prst="snip2DiagRect">
            <a:avLst/>
          </a:prstGeom>
          <a:solidFill>
            <a:schemeClr val="tx2">
              <a:lumMod val="25000"/>
              <a:lumOff val="75000"/>
            </a:schemeClr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r>
              <a:rPr lang="en-US" sz="1200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Leg Room Service</a:t>
            </a:r>
          </a:p>
        </p:txBody>
      </p:sp>
      <p:sp>
        <p:nvSpPr>
          <p:cNvPr id="89" name="Rectangle: Diagonal Corners Snipped 88">
            <a:extLst>
              <a:ext uri="{FF2B5EF4-FFF2-40B4-BE49-F238E27FC236}">
                <a16:creationId xmlns="" xmlns:a16="http://schemas.microsoft.com/office/drawing/2014/main" id="{08080C60-DF71-4C09-A33E-8D7DB3569EB0}"/>
              </a:ext>
            </a:extLst>
          </p:cNvPr>
          <p:cNvSpPr/>
          <p:nvPr/>
        </p:nvSpPr>
        <p:spPr>
          <a:xfrm>
            <a:off x="6843091" y="5331767"/>
            <a:ext cx="1938000" cy="295897"/>
          </a:xfrm>
          <a:prstGeom prst="snip2DiagRect">
            <a:avLst/>
          </a:prstGeom>
          <a:solidFill>
            <a:schemeClr val="tx2">
              <a:lumMod val="25000"/>
              <a:lumOff val="75000"/>
            </a:schemeClr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r>
              <a:rPr lang="en-US" sz="1200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Baggage Handling</a:t>
            </a:r>
          </a:p>
        </p:txBody>
      </p:sp>
      <p:sp>
        <p:nvSpPr>
          <p:cNvPr id="92" name="Rectangle: Diagonal Corners Snipped 91">
            <a:extLst>
              <a:ext uri="{FF2B5EF4-FFF2-40B4-BE49-F238E27FC236}">
                <a16:creationId xmlns="" xmlns:a16="http://schemas.microsoft.com/office/drawing/2014/main" id="{7840228D-ECE1-4B71-BD65-65691FD3E9F4}"/>
              </a:ext>
            </a:extLst>
          </p:cNvPr>
          <p:cNvSpPr/>
          <p:nvPr/>
        </p:nvSpPr>
        <p:spPr>
          <a:xfrm>
            <a:off x="6843091" y="5730724"/>
            <a:ext cx="1938000" cy="295897"/>
          </a:xfrm>
          <a:prstGeom prst="snip2DiagRect">
            <a:avLst/>
          </a:prstGeom>
          <a:solidFill>
            <a:schemeClr val="tx2">
              <a:lumMod val="25000"/>
              <a:lumOff val="75000"/>
            </a:schemeClr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r>
              <a:rPr lang="en-US" sz="1200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In-flight Service</a:t>
            </a:r>
          </a:p>
        </p:txBody>
      </p:sp>
      <p:sp>
        <p:nvSpPr>
          <p:cNvPr id="68" name="Rectangle: Diagonal Corners Snipped 67">
            <a:extLst>
              <a:ext uri="{FF2B5EF4-FFF2-40B4-BE49-F238E27FC236}">
                <a16:creationId xmlns="" xmlns:a16="http://schemas.microsoft.com/office/drawing/2014/main" id="{70CC420E-03CA-4E85-95FF-5FEB8B18FCD4}"/>
              </a:ext>
            </a:extLst>
          </p:cNvPr>
          <p:cNvSpPr/>
          <p:nvPr/>
        </p:nvSpPr>
        <p:spPr>
          <a:xfrm>
            <a:off x="4680923" y="3336987"/>
            <a:ext cx="1938000" cy="295897"/>
          </a:xfrm>
          <a:prstGeom prst="snip2DiagRect">
            <a:avLst/>
          </a:prstGeom>
          <a:solidFill>
            <a:schemeClr val="tx2">
              <a:lumMod val="25000"/>
              <a:lumOff val="75000"/>
            </a:schemeClr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r>
              <a:rPr lang="en-US" sz="1200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In-flight Wi-fi</a:t>
            </a:r>
          </a:p>
        </p:txBody>
      </p:sp>
      <p:sp>
        <p:nvSpPr>
          <p:cNvPr id="78" name="Rectangle: Diagonal Corners Snipped 77">
            <a:extLst>
              <a:ext uri="{FF2B5EF4-FFF2-40B4-BE49-F238E27FC236}">
                <a16:creationId xmlns="" xmlns:a16="http://schemas.microsoft.com/office/drawing/2014/main" id="{0306B0BC-AABC-4662-B3D3-479557C312A2}"/>
              </a:ext>
            </a:extLst>
          </p:cNvPr>
          <p:cNvSpPr/>
          <p:nvPr/>
        </p:nvSpPr>
        <p:spPr>
          <a:xfrm>
            <a:off x="4680923" y="3735943"/>
            <a:ext cx="1938000" cy="295897"/>
          </a:xfrm>
          <a:prstGeom prst="snip2DiagRect">
            <a:avLst/>
          </a:prstGeom>
          <a:solidFill>
            <a:schemeClr val="tx2">
              <a:lumMod val="25000"/>
              <a:lumOff val="75000"/>
            </a:schemeClr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r>
              <a:rPr lang="en-US" sz="1200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Time Convenience</a:t>
            </a:r>
          </a:p>
        </p:txBody>
      </p:sp>
      <p:sp>
        <p:nvSpPr>
          <p:cNvPr id="81" name="Rectangle: Diagonal Corners Snipped 80">
            <a:extLst>
              <a:ext uri="{FF2B5EF4-FFF2-40B4-BE49-F238E27FC236}">
                <a16:creationId xmlns="" xmlns:a16="http://schemas.microsoft.com/office/drawing/2014/main" id="{EAD94CE2-2D65-4E30-AB07-AB27A3430DEC}"/>
              </a:ext>
            </a:extLst>
          </p:cNvPr>
          <p:cNvSpPr/>
          <p:nvPr/>
        </p:nvSpPr>
        <p:spPr>
          <a:xfrm>
            <a:off x="4680923" y="4134899"/>
            <a:ext cx="1938000" cy="295897"/>
          </a:xfrm>
          <a:prstGeom prst="snip2DiagRect">
            <a:avLst/>
          </a:prstGeom>
          <a:solidFill>
            <a:schemeClr val="tx2">
              <a:lumMod val="25000"/>
              <a:lumOff val="75000"/>
            </a:schemeClr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r>
              <a:rPr lang="en-US" sz="1200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Online Booking</a:t>
            </a:r>
          </a:p>
        </p:txBody>
      </p:sp>
      <p:sp>
        <p:nvSpPr>
          <p:cNvPr id="84" name="Rectangle: Diagonal Corners Snipped 83">
            <a:extLst>
              <a:ext uri="{FF2B5EF4-FFF2-40B4-BE49-F238E27FC236}">
                <a16:creationId xmlns="" xmlns:a16="http://schemas.microsoft.com/office/drawing/2014/main" id="{E27752F7-B380-4B41-B64C-2F346CBCE518}"/>
              </a:ext>
            </a:extLst>
          </p:cNvPr>
          <p:cNvSpPr/>
          <p:nvPr/>
        </p:nvSpPr>
        <p:spPr>
          <a:xfrm>
            <a:off x="4680923" y="4533855"/>
            <a:ext cx="1938000" cy="295897"/>
          </a:xfrm>
          <a:prstGeom prst="snip2DiagRect">
            <a:avLst/>
          </a:prstGeom>
          <a:solidFill>
            <a:schemeClr val="tx2">
              <a:lumMod val="25000"/>
              <a:lumOff val="75000"/>
            </a:schemeClr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r>
              <a:rPr lang="en-US" sz="1200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Gate Location</a:t>
            </a:r>
          </a:p>
        </p:txBody>
      </p:sp>
      <p:sp>
        <p:nvSpPr>
          <p:cNvPr id="87" name="Rectangle: Diagonal Corners Snipped 86">
            <a:extLst>
              <a:ext uri="{FF2B5EF4-FFF2-40B4-BE49-F238E27FC236}">
                <a16:creationId xmlns="" xmlns:a16="http://schemas.microsoft.com/office/drawing/2014/main" id="{9F437E6D-1CFF-454C-8FA8-4B6E6353774B}"/>
              </a:ext>
            </a:extLst>
          </p:cNvPr>
          <p:cNvSpPr/>
          <p:nvPr/>
        </p:nvSpPr>
        <p:spPr>
          <a:xfrm>
            <a:off x="4680923" y="4932811"/>
            <a:ext cx="1938000" cy="295897"/>
          </a:xfrm>
          <a:prstGeom prst="snip2DiagRect">
            <a:avLst/>
          </a:prstGeom>
          <a:solidFill>
            <a:schemeClr val="tx2">
              <a:lumMod val="25000"/>
              <a:lumOff val="75000"/>
            </a:schemeClr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r>
              <a:rPr lang="en-US" sz="1200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Food &amp; Drink</a:t>
            </a:r>
          </a:p>
        </p:txBody>
      </p:sp>
      <p:sp>
        <p:nvSpPr>
          <p:cNvPr id="90" name="Rectangle: Diagonal Corners Snipped 89">
            <a:extLst>
              <a:ext uri="{FF2B5EF4-FFF2-40B4-BE49-F238E27FC236}">
                <a16:creationId xmlns="" xmlns:a16="http://schemas.microsoft.com/office/drawing/2014/main" id="{0383EA32-E4A9-46FA-BB83-12EEF0D8E928}"/>
              </a:ext>
            </a:extLst>
          </p:cNvPr>
          <p:cNvSpPr/>
          <p:nvPr/>
        </p:nvSpPr>
        <p:spPr>
          <a:xfrm>
            <a:off x="4680923" y="5331767"/>
            <a:ext cx="1938000" cy="295897"/>
          </a:xfrm>
          <a:prstGeom prst="snip2DiagRect">
            <a:avLst/>
          </a:prstGeom>
          <a:solidFill>
            <a:schemeClr val="tx2">
              <a:lumMod val="25000"/>
              <a:lumOff val="75000"/>
            </a:schemeClr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r>
              <a:rPr lang="en-US" sz="1200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Check-in Service</a:t>
            </a:r>
          </a:p>
        </p:txBody>
      </p:sp>
      <p:sp>
        <p:nvSpPr>
          <p:cNvPr id="93" name="Rectangle: Diagonal Corners Snipped 92">
            <a:extLst>
              <a:ext uri="{FF2B5EF4-FFF2-40B4-BE49-F238E27FC236}">
                <a16:creationId xmlns="" xmlns:a16="http://schemas.microsoft.com/office/drawing/2014/main" id="{B572445B-2D84-453D-B886-FC24387D8511}"/>
              </a:ext>
            </a:extLst>
          </p:cNvPr>
          <p:cNvSpPr/>
          <p:nvPr/>
        </p:nvSpPr>
        <p:spPr>
          <a:xfrm>
            <a:off x="4680923" y="5730724"/>
            <a:ext cx="1938000" cy="295897"/>
          </a:xfrm>
          <a:prstGeom prst="snip2DiagRect">
            <a:avLst/>
          </a:prstGeom>
          <a:solidFill>
            <a:schemeClr val="tx2">
              <a:lumMod val="25000"/>
              <a:lumOff val="75000"/>
            </a:schemeClr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r>
              <a:rPr lang="en-US" sz="1200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Cleanliness</a:t>
            </a:r>
          </a:p>
        </p:txBody>
      </p:sp>
      <p:sp>
        <p:nvSpPr>
          <p:cNvPr id="111" name="TextBox 110">
            <a:extLst>
              <a:ext uri="{FF2B5EF4-FFF2-40B4-BE49-F238E27FC236}">
                <a16:creationId xmlns="" xmlns:a16="http://schemas.microsoft.com/office/drawing/2014/main" id="{2052E7BB-0536-4C7F-98E6-906E47E71A4A}"/>
              </a:ext>
            </a:extLst>
          </p:cNvPr>
          <p:cNvSpPr txBox="1"/>
          <p:nvPr/>
        </p:nvSpPr>
        <p:spPr>
          <a:xfrm>
            <a:off x="0" y="6224275"/>
            <a:ext cx="9144000" cy="295898"/>
          </a:xfrm>
          <a:prstGeom prst="rect">
            <a:avLst/>
          </a:prstGeom>
          <a:solidFill>
            <a:schemeClr val="bg2"/>
          </a:solidFill>
          <a:ln w="6350" cap="flat">
            <a:noFill/>
            <a:miter lim="800000"/>
          </a:ln>
        </p:spPr>
        <p:txBody>
          <a:bodyPr vert="horz" wrap="square" lIns="252476" tIns="76200" rIns="252476" bIns="7620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2"/>
              </a:buClr>
            </a:pPr>
            <a:r>
              <a:rPr lang="en-US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l the above </a:t>
            </a:r>
            <a:r>
              <a:rPr lang="en-US" sz="16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eatures will </a:t>
            </a:r>
            <a:r>
              <a:rPr lang="en-US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e considered for </a:t>
            </a:r>
            <a:r>
              <a:rPr lang="en-US" sz="16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stomer Churn Rate</a:t>
            </a:r>
            <a:r>
              <a:rPr lang="en-US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predictions</a:t>
            </a:r>
          </a:p>
        </p:txBody>
      </p:sp>
    </p:spTree>
    <p:extLst>
      <p:ext uri="{BB962C8B-B14F-4D97-AF65-F5344CB8AC3E}">
        <p14:creationId xmlns:p14="http://schemas.microsoft.com/office/powerpoint/2010/main" val="417187905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29B3072F-A7DD-44C4-A8E1-D356D70DD4C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062582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10"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="" xmlns:a16="http://schemas.microsoft.com/office/drawing/2014/main" id="{29B3072F-A7DD-44C4-A8E1-D356D70DD4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="" xmlns:a16="http://schemas.microsoft.com/office/drawing/2014/main" id="{66EEE1DB-2F9E-4D92-9B79-9817E296037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US" sz="240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B2369153-628B-4283-97AD-2AD8E1241C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ools &amp; Reference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="" xmlns:a16="http://schemas.microsoft.com/office/drawing/2014/main" id="{FFCBE3A0-66BE-4DA9-9E17-739B2302F27B}"/>
              </a:ext>
            </a:extLst>
          </p:cNvPr>
          <p:cNvSpPr/>
          <p:nvPr/>
        </p:nvSpPr>
        <p:spPr>
          <a:xfrm>
            <a:off x="1350050" y="1781744"/>
            <a:ext cx="1938000" cy="244543"/>
          </a:xfrm>
          <a:prstGeom prst="rect">
            <a:avLst/>
          </a:prstGeom>
          <a:gradFill>
            <a:gsLst>
              <a:gs pos="0">
                <a:schemeClr val="bg1"/>
              </a:gs>
              <a:gs pos="76000">
                <a:schemeClr val="tx2">
                  <a:lumMod val="10000"/>
                  <a:lumOff val="90000"/>
                </a:schemeClr>
              </a:gs>
            </a:gsLst>
            <a:lin ang="10800000" scaled="1"/>
          </a:gra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spcBef>
                <a:spcPts val="900"/>
              </a:spcBef>
            </a:pPr>
            <a:r>
              <a:rPr lang="en-US" sz="1200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Pandas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="" xmlns:a16="http://schemas.microsoft.com/office/drawing/2014/main" id="{CF594A03-885D-40CB-9E2E-F562E4E381B8}"/>
              </a:ext>
            </a:extLst>
          </p:cNvPr>
          <p:cNvSpPr/>
          <p:nvPr/>
        </p:nvSpPr>
        <p:spPr>
          <a:xfrm>
            <a:off x="1350050" y="2240740"/>
            <a:ext cx="1938000" cy="244543"/>
          </a:xfrm>
          <a:prstGeom prst="rect">
            <a:avLst/>
          </a:prstGeom>
          <a:gradFill>
            <a:gsLst>
              <a:gs pos="0">
                <a:schemeClr val="bg1"/>
              </a:gs>
              <a:gs pos="76000">
                <a:schemeClr val="tx2">
                  <a:lumMod val="10000"/>
                  <a:lumOff val="90000"/>
                </a:schemeClr>
              </a:gs>
            </a:gsLst>
            <a:lin ang="10800000" scaled="1"/>
          </a:gra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spcBef>
                <a:spcPts val="900"/>
              </a:spcBef>
            </a:pPr>
            <a:r>
              <a:rPr lang="en-US"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Numpy</a:t>
            </a:r>
            <a:endParaRPr lang="en-US" sz="1200" b="1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="" xmlns:a16="http://schemas.microsoft.com/office/drawing/2014/main" id="{F91D52C1-F40F-4591-B0DF-B28BA1526EAA}"/>
              </a:ext>
            </a:extLst>
          </p:cNvPr>
          <p:cNvSpPr/>
          <p:nvPr/>
        </p:nvSpPr>
        <p:spPr>
          <a:xfrm>
            <a:off x="1350050" y="2636236"/>
            <a:ext cx="1938000" cy="244543"/>
          </a:xfrm>
          <a:prstGeom prst="rect">
            <a:avLst/>
          </a:prstGeom>
          <a:gradFill>
            <a:gsLst>
              <a:gs pos="0">
                <a:schemeClr val="bg1"/>
              </a:gs>
              <a:gs pos="76000">
                <a:schemeClr val="tx2">
                  <a:lumMod val="10000"/>
                  <a:lumOff val="90000"/>
                </a:schemeClr>
              </a:gs>
            </a:gsLst>
            <a:lin ang="10800000" scaled="1"/>
          </a:gra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spcBef>
                <a:spcPts val="900"/>
              </a:spcBef>
            </a:pPr>
            <a:r>
              <a:rPr lang="en-US"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Matplotlib</a:t>
            </a:r>
            <a:endParaRPr lang="en-US" sz="1200" b="1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="" xmlns:a16="http://schemas.microsoft.com/office/drawing/2014/main" id="{242389BE-4AD8-4969-A7AC-FF863CDB5643}"/>
              </a:ext>
            </a:extLst>
          </p:cNvPr>
          <p:cNvSpPr/>
          <p:nvPr/>
        </p:nvSpPr>
        <p:spPr>
          <a:xfrm>
            <a:off x="1350050" y="3031732"/>
            <a:ext cx="1938000" cy="244543"/>
          </a:xfrm>
          <a:prstGeom prst="rect">
            <a:avLst/>
          </a:prstGeom>
          <a:gradFill>
            <a:gsLst>
              <a:gs pos="0">
                <a:schemeClr val="bg1"/>
              </a:gs>
              <a:gs pos="76000">
                <a:schemeClr val="tx2">
                  <a:lumMod val="10000"/>
                  <a:lumOff val="90000"/>
                </a:schemeClr>
              </a:gs>
            </a:gsLst>
            <a:lin ang="10800000" scaled="1"/>
          </a:gra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spcBef>
                <a:spcPts val="900"/>
              </a:spcBef>
            </a:pPr>
            <a:r>
              <a:rPr lang="en-US"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Seaborn</a:t>
            </a:r>
            <a:endParaRPr lang="en-US" sz="1200" b="1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="" xmlns:a16="http://schemas.microsoft.com/office/drawing/2014/main" id="{38ED5DE3-94CC-4D6E-97FC-8D937CD83D38}"/>
              </a:ext>
            </a:extLst>
          </p:cNvPr>
          <p:cNvSpPr/>
          <p:nvPr/>
        </p:nvSpPr>
        <p:spPr>
          <a:xfrm>
            <a:off x="1350050" y="3427228"/>
            <a:ext cx="1938000" cy="244543"/>
          </a:xfrm>
          <a:prstGeom prst="rect">
            <a:avLst/>
          </a:prstGeom>
          <a:gradFill>
            <a:gsLst>
              <a:gs pos="0">
                <a:schemeClr val="bg1"/>
              </a:gs>
              <a:gs pos="76000">
                <a:schemeClr val="tx2">
                  <a:lumMod val="10000"/>
                  <a:lumOff val="90000"/>
                </a:schemeClr>
              </a:gs>
            </a:gsLst>
            <a:lin ang="10800000" scaled="1"/>
          </a:gra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spcBef>
                <a:spcPts val="900"/>
              </a:spcBef>
            </a:pPr>
            <a:r>
              <a:rPr lang="en-US"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Scipy</a:t>
            </a:r>
            <a:endParaRPr lang="en-US" sz="1200" b="1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="" xmlns:a16="http://schemas.microsoft.com/office/drawing/2014/main" id="{4C573780-2BC0-4ADD-B08E-A4B31FC4FBF8}"/>
              </a:ext>
            </a:extLst>
          </p:cNvPr>
          <p:cNvSpPr/>
          <p:nvPr/>
        </p:nvSpPr>
        <p:spPr>
          <a:xfrm>
            <a:off x="1350050" y="3822724"/>
            <a:ext cx="1938000" cy="244543"/>
          </a:xfrm>
          <a:prstGeom prst="rect">
            <a:avLst/>
          </a:prstGeom>
          <a:gradFill>
            <a:gsLst>
              <a:gs pos="0">
                <a:schemeClr val="bg1"/>
              </a:gs>
              <a:gs pos="76000">
                <a:schemeClr val="tx2">
                  <a:lumMod val="10000"/>
                  <a:lumOff val="90000"/>
                </a:schemeClr>
              </a:gs>
            </a:gsLst>
            <a:lin ang="10800000" scaled="1"/>
          </a:gra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spcBef>
                <a:spcPts val="900"/>
              </a:spcBef>
            </a:pPr>
            <a:r>
              <a:rPr lang="en-US"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Sklearn</a:t>
            </a:r>
            <a:endParaRPr lang="en-US" sz="1200" b="1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="" xmlns:a16="http://schemas.microsoft.com/office/drawing/2014/main" id="{4107E1D6-B583-4B3F-8773-6A71BF2A96C1}"/>
              </a:ext>
            </a:extLst>
          </p:cNvPr>
          <p:cNvSpPr/>
          <p:nvPr/>
        </p:nvSpPr>
        <p:spPr>
          <a:xfrm>
            <a:off x="1350050" y="4218220"/>
            <a:ext cx="1938000" cy="244543"/>
          </a:xfrm>
          <a:prstGeom prst="rect">
            <a:avLst/>
          </a:prstGeom>
          <a:gradFill>
            <a:gsLst>
              <a:gs pos="0">
                <a:schemeClr val="bg1"/>
              </a:gs>
              <a:gs pos="76000">
                <a:schemeClr val="tx2">
                  <a:lumMod val="10000"/>
                  <a:lumOff val="90000"/>
                </a:schemeClr>
              </a:gs>
            </a:gsLst>
            <a:lin ang="10800000" scaled="1"/>
          </a:gra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spcBef>
                <a:spcPts val="900"/>
              </a:spcBef>
            </a:pPr>
            <a:r>
              <a:rPr lang="en-US"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Statsmodel</a:t>
            </a:r>
            <a:endParaRPr lang="en-US" sz="1200" b="1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="" xmlns:a16="http://schemas.microsoft.com/office/drawing/2014/main" id="{AFB81487-5C7F-45CC-B60F-BBDEA8B7AC3F}"/>
              </a:ext>
            </a:extLst>
          </p:cNvPr>
          <p:cNvSpPr/>
          <p:nvPr/>
        </p:nvSpPr>
        <p:spPr>
          <a:xfrm>
            <a:off x="1350050" y="4613716"/>
            <a:ext cx="1938000" cy="244543"/>
          </a:xfrm>
          <a:prstGeom prst="rect">
            <a:avLst/>
          </a:prstGeom>
          <a:gradFill>
            <a:gsLst>
              <a:gs pos="0">
                <a:schemeClr val="bg1"/>
              </a:gs>
              <a:gs pos="76000">
                <a:schemeClr val="tx2">
                  <a:lumMod val="10000"/>
                  <a:lumOff val="90000"/>
                </a:schemeClr>
              </a:gs>
            </a:gsLst>
            <a:lin ang="10800000" scaled="1"/>
          </a:gra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spcBef>
                <a:spcPts val="900"/>
              </a:spcBef>
            </a:pPr>
            <a:r>
              <a:rPr lang="en-US"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Kmodes</a:t>
            </a:r>
            <a:endParaRPr lang="en-US" sz="1200" b="1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="" xmlns:a16="http://schemas.microsoft.com/office/drawing/2014/main" id="{4800AF54-6D4B-4A5F-B323-C672FE81AC0A}"/>
              </a:ext>
            </a:extLst>
          </p:cNvPr>
          <p:cNvSpPr/>
          <p:nvPr/>
        </p:nvSpPr>
        <p:spPr>
          <a:xfrm>
            <a:off x="1350050" y="5009212"/>
            <a:ext cx="1938000" cy="244543"/>
          </a:xfrm>
          <a:prstGeom prst="rect">
            <a:avLst/>
          </a:prstGeom>
          <a:gradFill>
            <a:gsLst>
              <a:gs pos="0">
                <a:schemeClr val="bg1"/>
              </a:gs>
              <a:gs pos="76000">
                <a:schemeClr val="tx2">
                  <a:lumMod val="10000"/>
                  <a:lumOff val="90000"/>
                </a:schemeClr>
              </a:gs>
            </a:gsLst>
            <a:lin ang="10800000" scaled="1"/>
          </a:gra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spcBef>
                <a:spcPts val="900"/>
              </a:spcBef>
            </a:pPr>
            <a:r>
              <a:rPr lang="en-US" sz="1200" b="1" dirty="0" err="1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Yellowbrick</a:t>
            </a:r>
            <a:endParaRPr lang="en-US" sz="1200" b="1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="" xmlns:a16="http://schemas.microsoft.com/office/drawing/2014/main" id="{2CD7F1C2-0CEE-4673-A029-270CC07052BC}"/>
              </a:ext>
            </a:extLst>
          </p:cNvPr>
          <p:cNvSpPr/>
          <p:nvPr/>
        </p:nvSpPr>
        <p:spPr>
          <a:xfrm>
            <a:off x="1350050" y="5404708"/>
            <a:ext cx="1938000" cy="244543"/>
          </a:xfrm>
          <a:prstGeom prst="rect">
            <a:avLst/>
          </a:prstGeom>
          <a:gradFill>
            <a:gsLst>
              <a:gs pos="0">
                <a:schemeClr val="bg1"/>
              </a:gs>
              <a:gs pos="76000">
                <a:schemeClr val="tx2">
                  <a:lumMod val="10000"/>
                  <a:lumOff val="90000"/>
                </a:schemeClr>
              </a:gs>
            </a:gsLst>
            <a:lin ang="10800000" scaled="1"/>
          </a:gra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spcBef>
                <a:spcPts val="900"/>
              </a:spcBef>
            </a:pPr>
            <a:r>
              <a:rPr lang="en-US" sz="1200" b="1" dirty="0" err="1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Xgboost</a:t>
            </a:r>
            <a:endParaRPr lang="en-US" sz="1200" b="1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="" xmlns:a16="http://schemas.microsoft.com/office/drawing/2014/main" id="{CBFD8A30-DF77-472D-A599-239843E23C01}"/>
              </a:ext>
            </a:extLst>
          </p:cNvPr>
          <p:cNvSpPr/>
          <p:nvPr/>
        </p:nvSpPr>
        <p:spPr>
          <a:xfrm>
            <a:off x="1350050" y="5800204"/>
            <a:ext cx="1938000" cy="244543"/>
          </a:xfrm>
          <a:prstGeom prst="rect">
            <a:avLst/>
          </a:prstGeom>
          <a:gradFill>
            <a:gsLst>
              <a:gs pos="0">
                <a:schemeClr val="bg1"/>
              </a:gs>
              <a:gs pos="76000">
                <a:schemeClr val="tx2">
                  <a:lumMod val="10000"/>
                  <a:lumOff val="90000"/>
                </a:schemeClr>
              </a:gs>
            </a:gsLst>
            <a:lin ang="10800000" scaled="1"/>
          </a:gra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spcBef>
                <a:spcPts val="900"/>
              </a:spcBef>
            </a:pPr>
            <a:r>
              <a:rPr lang="en-US" sz="1200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Pycaret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="" xmlns:a16="http://schemas.microsoft.com/office/drawing/2014/main" id="{07234681-A179-4DF3-A044-666AF988CB3D}"/>
              </a:ext>
            </a:extLst>
          </p:cNvPr>
          <p:cNvSpPr/>
          <p:nvPr/>
        </p:nvSpPr>
        <p:spPr>
          <a:xfrm>
            <a:off x="241578" y="1781744"/>
            <a:ext cx="874038" cy="244543"/>
          </a:xfrm>
          <a:prstGeom prst="rect">
            <a:avLst/>
          </a:prstGeom>
          <a:noFill/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spcBef>
                <a:spcPts val="900"/>
              </a:spcBef>
            </a:pPr>
            <a:r>
              <a:rPr lang="en-US" sz="1600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Python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="" xmlns:a16="http://schemas.microsoft.com/office/drawing/2014/main" id="{7E04D8DF-C978-4B3E-9DDE-419291011DC3}"/>
              </a:ext>
            </a:extLst>
          </p:cNvPr>
          <p:cNvSpPr/>
          <p:nvPr/>
        </p:nvSpPr>
        <p:spPr>
          <a:xfrm>
            <a:off x="241578" y="6105421"/>
            <a:ext cx="874038" cy="244543"/>
          </a:xfrm>
          <a:prstGeom prst="rect">
            <a:avLst/>
          </a:prstGeom>
          <a:noFill/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spcBef>
                <a:spcPts val="900"/>
              </a:spcBef>
            </a:pPr>
            <a:r>
              <a:rPr lang="en-US" sz="1600" b="1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Spyder</a:t>
            </a:r>
            <a:endParaRPr lang="en-US" sz="1600" b="1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="" xmlns:a16="http://schemas.microsoft.com/office/drawing/2014/main" id="{1EDB90D7-8464-4CF3-9E76-1346A3CC0460}"/>
              </a:ext>
            </a:extLst>
          </p:cNvPr>
          <p:cNvSpPr/>
          <p:nvPr/>
        </p:nvSpPr>
        <p:spPr>
          <a:xfrm>
            <a:off x="241578" y="6497570"/>
            <a:ext cx="874038" cy="244543"/>
          </a:xfrm>
          <a:prstGeom prst="rect">
            <a:avLst/>
          </a:prstGeom>
          <a:noFill/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spcBef>
                <a:spcPts val="900"/>
              </a:spcBef>
            </a:pPr>
            <a:r>
              <a:rPr lang="en-US" sz="1600" b="1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Trello</a:t>
            </a:r>
            <a:endParaRPr lang="en-US" sz="1600" b="1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25" name="Straight Connector 24">
            <a:extLst>
              <a:ext uri="{FF2B5EF4-FFF2-40B4-BE49-F238E27FC236}">
                <a16:creationId xmlns="" xmlns:a16="http://schemas.microsoft.com/office/drawing/2014/main" id="{655C18E8-43BC-4798-A797-62DAFB5FF19E}"/>
              </a:ext>
            </a:extLst>
          </p:cNvPr>
          <p:cNvCxnSpPr/>
          <p:nvPr/>
        </p:nvCxnSpPr>
        <p:spPr>
          <a:xfrm>
            <a:off x="1346103" y="1781744"/>
            <a:ext cx="0" cy="4263003"/>
          </a:xfrm>
          <a:prstGeom prst="line">
            <a:avLst/>
          </a:prstGeom>
          <a:ln w="31750" cap="flat">
            <a:solidFill>
              <a:schemeClr val="bg2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Rectangle 25">
            <a:extLst>
              <a:ext uri="{FF2B5EF4-FFF2-40B4-BE49-F238E27FC236}">
                <a16:creationId xmlns="" xmlns:a16="http://schemas.microsoft.com/office/drawing/2014/main" id="{6F7A3A6C-18EB-4C7B-932D-11DCF2A5A790}"/>
              </a:ext>
            </a:extLst>
          </p:cNvPr>
          <p:cNvSpPr/>
          <p:nvPr/>
        </p:nvSpPr>
        <p:spPr>
          <a:xfrm>
            <a:off x="1258278" y="1330924"/>
            <a:ext cx="1938000" cy="295897"/>
          </a:xfrm>
          <a:prstGeom prst="rect">
            <a:avLst/>
          </a:prstGeom>
          <a:noFill/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r>
              <a:rPr lang="en-US" sz="2000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Tools</a:t>
            </a:r>
          </a:p>
        </p:txBody>
      </p:sp>
      <p:cxnSp>
        <p:nvCxnSpPr>
          <p:cNvPr id="27" name="Straight Connector 26">
            <a:extLst>
              <a:ext uri="{FF2B5EF4-FFF2-40B4-BE49-F238E27FC236}">
                <a16:creationId xmlns="" xmlns:a16="http://schemas.microsoft.com/office/drawing/2014/main" id="{5B01DC22-C0D4-40A1-B8C5-D13171E58AC9}"/>
              </a:ext>
            </a:extLst>
          </p:cNvPr>
          <p:cNvCxnSpPr>
            <a:cxnSpLocks/>
          </p:cNvCxnSpPr>
          <p:nvPr/>
        </p:nvCxnSpPr>
        <p:spPr>
          <a:xfrm>
            <a:off x="244507" y="1628841"/>
            <a:ext cx="3965543" cy="0"/>
          </a:xfrm>
          <a:prstGeom prst="line">
            <a:avLst/>
          </a:prstGeom>
          <a:ln w="15875" cap="flat">
            <a:solidFill>
              <a:schemeClr val="bg2"/>
            </a:solidFill>
            <a:prstDash val="sysDot"/>
            <a:miter lim="800000"/>
            <a:headEnd type="oval"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Rectangle 42">
            <a:extLst>
              <a:ext uri="{FF2B5EF4-FFF2-40B4-BE49-F238E27FC236}">
                <a16:creationId xmlns="" xmlns:a16="http://schemas.microsoft.com/office/drawing/2014/main" id="{9993DCE7-8E92-4B51-9967-55C8FAFB779E}"/>
              </a:ext>
            </a:extLst>
          </p:cNvPr>
          <p:cNvSpPr/>
          <p:nvPr/>
        </p:nvSpPr>
        <p:spPr>
          <a:xfrm>
            <a:off x="4924844" y="1869469"/>
            <a:ext cx="874038" cy="244543"/>
          </a:xfrm>
          <a:prstGeom prst="rect">
            <a:avLst/>
          </a:prstGeom>
          <a:noFill/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spcBef>
                <a:spcPts val="900"/>
              </a:spcBef>
            </a:pPr>
            <a:r>
              <a:rPr lang="en-US" sz="16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International Air Transport Association </a:t>
            </a:r>
            <a:r>
              <a:rPr lang="en-US" sz="12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IATA</a:t>
            </a:r>
            <a:endParaRPr lang="en-US" sz="1200" b="1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7" name="Rectangle 46">
            <a:extLst>
              <a:ext uri="{FF2B5EF4-FFF2-40B4-BE49-F238E27FC236}">
                <a16:creationId xmlns="" xmlns:a16="http://schemas.microsoft.com/office/drawing/2014/main" id="{2A4B4C6F-452D-41C5-AF9E-0910E2CE06FE}"/>
              </a:ext>
            </a:extLst>
          </p:cNvPr>
          <p:cNvSpPr/>
          <p:nvPr/>
        </p:nvSpPr>
        <p:spPr>
          <a:xfrm>
            <a:off x="5941544" y="1330924"/>
            <a:ext cx="1938000" cy="295897"/>
          </a:xfrm>
          <a:prstGeom prst="rect">
            <a:avLst/>
          </a:prstGeom>
          <a:noFill/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r>
              <a:rPr lang="en-US" sz="2000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References</a:t>
            </a:r>
          </a:p>
        </p:txBody>
      </p:sp>
      <p:cxnSp>
        <p:nvCxnSpPr>
          <p:cNvPr id="48" name="Straight Connector 47">
            <a:extLst>
              <a:ext uri="{FF2B5EF4-FFF2-40B4-BE49-F238E27FC236}">
                <a16:creationId xmlns="" xmlns:a16="http://schemas.microsoft.com/office/drawing/2014/main" id="{2A200457-8B76-41BA-BF68-AC52502FBD37}"/>
              </a:ext>
            </a:extLst>
          </p:cNvPr>
          <p:cNvCxnSpPr>
            <a:cxnSpLocks/>
          </p:cNvCxnSpPr>
          <p:nvPr/>
        </p:nvCxnSpPr>
        <p:spPr>
          <a:xfrm>
            <a:off x="4927773" y="1628841"/>
            <a:ext cx="3965543" cy="0"/>
          </a:xfrm>
          <a:prstGeom prst="line">
            <a:avLst/>
          </a:prstGeom>
          <a:ln w="15875" cap="flat">
            <a:solidFill>
              <a:schemeClr val="bg2"/>
            </a:solidFill>
            <a:prstDash val="sysDot"/>
            <a:miter lim="800000"/>
            <a:headEnd type="oval"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Rectangle 49">
            <a:extLst>
              <a:ext uri="{FF2B5EF4-FFF2-40B4-BE49-F238E27FC236}">
                <a16:creationId xmlns="" xmlns:a16="http://schemas.microsoft.com/office/drawing/2014/main" id="{A1DAF773-436B-4B96-AB88-0FEDEE3991D0}"/>
              </a:ext>
            </a:extLst>
          </p:cNvPr>
          <p:cNvSpPr/>
          <p:nvPr/>
        </p:nvSpPr>
        <p:spPr>
          <a:xfrm>
            <a:off x="4924844" y="2369297"/>
            <a:ext cx="874038" cy="244543"/>
          </a:xfrm>
          <a:prstGeom prst="rect">
            <a:avLst/>
          </a:prstGeom>
          <a:noFill/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spcBef>
                <a:spcPts val="900"/>
              </a:spcBef>
            </a:pPr>
            <a:r>
              <a:rPr lang="en-US" sz="1600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Kaggle</a:t>
            </a:r>
          </a:p>
        </p:txBody>
      </p:sp>
      <p:sp>
        <p:nvSpPr>
          <p:cNvPr id="51" name="Rectangle 50">
            <a:extLst>
              <a:ext uri="{FF2B5EF4-FFF2-40B4-BE49-F238E27FC236}">
                <a16:creationId xmlns="" xmlns:a16="http://schemas.microsoft.com/office/drawing/2014/main" id="{2F22C2D0-E1F5-4591-BFDF-48282451D696}"/>
              </a:ext>
            </a:extLst>
          </p:cNvPr>
          <p:cNvSpPr/>
          <p:nvPr/>
        </p:nvSpPr>
        <p:spPr>
          <a:xfrm>
            <a:off x="4924844" y="2869125"/>
            <a:ext cx="874038" cy="244543"/>
          </a:xfrm>
          <a:prstGeom prst="rect">
            <a:avLst/>
          </a:prstGeom>
          <a:noFill/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spcBef>
                <a:spcPts val="900"/>
              </a:spcBef>
            </a:pPr>
            <a:r>
              <a:rPr lang="en-US" sz="1600" b="1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Stack Overflow</a:t>
            </a:r>
            <a:endParaRPr lang="en-US" sz="1600" b="1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2" name="Rectangle 51">
            <a:extLst>
              <a:ext uri="{FF2B5EF4-FFF2-40B4-BE49-F238E27FC236}">
                <a16:creationId xmlns="" xmlns:a16="http://schemas.microsoft.com/office/drawing/2014/main" id="{65ADBD91-38CE-44AF-83E6-E667FCB3D7FE}"/>
              </a:ext>
            </a:extLst>
          </p:cNvPr>
          <p:cNvSpPr/>
          <p:nvPr/>
        </p:nvSpPr>
        <p:spPr>
          <a:xfrm>
            <a:off x="4924844" y="3368953"/>
            <a:ext cx="874038" cy="244543"/>
          </a:xfrm>
          <a:prstGeom prst="rect">
            <a:avLst/>
          </a:prstGeom>
          <a:noFill/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spcBef>
                <a:spcPts val="900"/>
              </a:spcBef>
            </a:pPr>
            <a:r>
              <a:rPr lang="en-US" sz="1600" b="1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Medium</a:t>
            </a:r>
            <a:endParaRPr lang="en-US" sz="1600" b="1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3" name="Rectangle 52">
            <a:extLst>
              <a:ext uri="{FF2B5EF4-FFF2-40B4-BE49-F238E27FC236}">
                <a16:creationId xmlns="" xmlns:a16="http://schemas.microsoft.com/office/drawing/2014/main" id="{350DACE2-474C-441E-81CC-A1B8A5218A36}"/>
              </a:ext>
            </a:extLst>
          </p:cNvPr>
          <p:cNvSpPr/>
          <p:nvPr/>
        </p:nvSpPr>
        <p:spPr>
          <a:xfrm>
            <a:off x="4924844" y="3868781"/>
            <a:ext cx="874038" cy="244543"/>
          </a:xfrm>
          <a:prstGeom prst="rect">
            <a:avLst/>
          </a:prstGeom>
          <a:noFill/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spcBef>
                <a:spcPts val="900"/>
              </a:spcBef>
            </a:pPr>
            <a:r>
              <a:rPr lang="en-US" sz="1600" b="1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Towards Data Science</a:t>
            </a:r>
            <a:endParaRPr lang="en-US" sz="1600" b="1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4" name="Rectangle 53">
            <a:extLst>
              <a:ext uri="{FF2B5EF4-FFF2-40B4-BE49-F238E27FC236}">
                <a16:creationId xmlns="" xmlns:a16="http://schemas.microsoft.com/office/drawing/2014/main" id="{AA71F61A-B633-4262-B471-C660C8FEE99C}"/>
              </a:ext>
            </a:extLst>
          </p:cNvPr>
          <p:cNvSpPr/>
          <p:nvPr/>
        </p:nvSpPr>
        <p:spPr>
          <a:xfrm>
            <a:off x="4924844" y="4368609"/>
            <a:ext cx="874038" cy="244543"/>
          </a:xfrm>
          <a:prstGeom prst="rect">
            <a:avLst/>
          </a:prstGeom>
          <a:noFill/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spcBef>
                <a:spcPts val="900"/>
              </a:spcBef>
            </a:pPr>
            <a:r>
              <a:rPr lang="en-US" sz="1600" b="1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Machine Learning Mastery</a:t>
            </a:r>
            <a:endParaRPr lang="en-US" sz="1600" b="1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5" name="Rectangle 54">
            <a:extLst>
              <a:ext uri="{FF2B5EF4-FFF2-40B4-BE49-F238E27FC236}">
                <a16:creationId xmlns="" xmlns:a16="http://schemas.microsoft.com/office/drawing/2014/main" id="{BF0E2C98-0558-4A4B-8DF1-DAA8E00B8BAA}"/>
              </a:ext>
            </a:extLst>
          </p:cNvPr>
          <p:cNvSpPr/>
          <p:nvPr/>
        </p:nvSpPr>
        <p:spPr>
          <a:xfrm>
            <a:off x="4924844" y="4868437"/>
            <a:ext cx="874038" cy="244543"/>
          </a:xfrm>
          <a:prstGeom prst="rect">
            <a:avLst/>
          </a:prstGeom>
          <a:noFill/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spcBef>
                <a:spcPts val="900"/>
              </a:spcBef>
            </a:pPr>
            <a:r>
              <a:rPr lang="en-US" sz="1600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Python Library’s Documentation</a:t>
            </a:r>
          </a:p>
        </p:txBody>
      </p:sp>
      <p:sp>
        <p:nvSpPr>
          <p:cNvPr id="56" name="Rectangle 55">
            <a:extLst>
              <a:ext uri="{FF2B5EF4-FFF2-40B4-BE49-F238E27FC236}">
                <a16:creationId xmlns="" xmlns:a16="http://schemas.microsoft.com/office/drawing/2014/main" id="{5CEC450A-49A4-4DD9-AC21-00E1D0079670}"/>
              </a:ext>
            </a:extLst>
          </p:cNvPr>
          <p:cNvSpPr/>
          <p:nvPr/>
        </p:nvSpPr>
        <p:spPr>
          <a:xfrm>
            <a:off x="4924844" y="5368265"/>
            <a:ext cx="874038" cy="244543"/>
          </a:xfrm>
          <a:prstGeom prst="rect">
            <a:avLst/>
          </a:prstGeom>
          <a:noFill/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spcBef>
                <a:spcPts val="900"/>
              </a:spcBef>
            </a:pPr>
            <a:r>
              <a:rPr lang="en-US" sz="1600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Github</a:t>
            </a:r>
          </a:p>
        </p:txBody>
      </p:sp>
      <p:grpSp>
        <p:nvGrpSpPr>
          <p:cNvPr id="57" name="Group 56">
            <a:extLst>
              <a:ext uri="{FF2B5EF4-FFF2-40B4-BE49-F238E27FC236}">
                <a16:creationId xmlns="" xmlns:a16="http://schemas.microsoft.com/office/drawing/2014/main" id="{0B9181BF-93D7-4EC7-A266-439EFB5DC3F2}"/>
              </a:ext>
            </a:extLst>
          </p:cNvPr>
          <p:cNvGrpSpPr/>
          <p:nvPr/>
        </p:nvGrpSpPr>
        <p:grpSpPr>
          <a:xfrm>
            <a:off x="7883769" y="1225848"/>
            <a:ext cx="931421" cy="385342"/>
            <a:chOff x="1724152" y="1905538"/>
            <a:chExt cx="931421" cy="385342"/>
          </a:xfrm>
        </p:grpSpPr>
        <p:sp>
          <p:nvSpPr>
            <p:cNvPr id="58" name="Oval 57">
              <a:extLst>
                <a:ext uri="{FF2B5EF4-FFF2-40B4-BE49-F238E27FC236}">
                  <a16:creationId xmlns="" xmlns:a16="http://schemas.microsoft.com/office/drawing/2014/main" id="{19C187B4-BA16-4D67-8787-AFC4D9D3C007}"/>
                </a:ext>
              </a:extLst>
            </p:cNvPr>
            <p:cNvSpPr/>
            <p:nvPr/>
          </p:nvSpPr>
          <p:spPr>
            <a:xfrm>
              <a:off x="2370418" y="2029002"/>
              <a:ext cx="212364" cy="212364"/>
            </a:xfrm>
            <a:prstGeom prst="ellipse">
              <a:avLst/>
            </a:prstGeom>
            <a:solidFill>
              <a:schemeClr val="accent5"/>
            </a:solidFill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ot="0" spcFirstLastPara="0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59" name="Oval 58">
              <a:extLst>
                <a:ext uri="{FF2B5EF4-FFF2-40B4-BE49-F238E27FC236}">
                  <a16:creationId xmlns="" xmlns:a16="http://schemas.microsoft.com/office/drawing/2014/main" id="{D51CD347-1D68-486D-9A78-45FE5321929F}"/>
                </a:ext>
              </a:extLst>
            </p:cNvPr>
            <p:cNvSpPr/>
            <p:nvPr/>
          </p:nvSpPr>
          <p:spPr>
            <a:xfrm>
              <a:off x="2065481" y="1924047"/>
              <a:ext cx="212364" cy="212364"/>
            </a:xfrm>
            <a:prstGeom prst="ellipse">
              <a:avLst/>
            </a:prstGeom>
            <a:solidFill>
              <a:schemeClr val="accent1"/>
            </a:solidFill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ot="0" spcFirstLastPara="0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60" name="Arc 59">
              <a:extLst>
                <a:ext uri="{FF2B5EF4-FFF2-40B4-BE49-F238E27FC236}">
                  <a16:creationId xmlns="" xmlns:a16="http://schemas.microsoft.com/office/drawing/2014/main" id="{93637619-2DB2-436E-9630-12DD67079C71}"/>
                </a:ext>
              </a:extLst>
            </p:cNvPr>
            <p:cNvSpPr/>
            <p:nvPr/>
          </p:nvSpPr>
          <p:spPr bwMode="gray">
            <a:xfrm>
              <a:off x="2326958" y="1947656"/>
              <a:ext cx="283644" cy="247796"/>
            </a:xfrm>
            <a:prstGeom prst="arc">
              <a:avLst>
                <a:gd name="adj1" fmla="val 11178900"/>
                <a:gd name="adj2" fmla="val 21075396"/>
              </a:avLst>
            </a:prstGeom>
            <a:ln w="19050" cap="flat">
              <a:solidFill>
                <a:schemeClr val="accent5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100" dirty="0"/>
            </a:p>
          </p:txBody>
        </p:sp>
        <p:sp>
          <p:nvSpPr>
            <p:cNvPr id="61" name="Isosceles Triangle 60">
              <a:extLst>
                <a:ext uri="{FF2B5EF4-FFF2-40B4-BE49-F238E27FC236}">
                  <a16:creationId xmlns="" xmlns:a16="http://schemas.microsoft.com/office/drawing/2014/main" id="{6F06B7B3-D009-4CEF-B1AC-2671CD5DA620}"/>
                </a:ext>
              </a:extLst>
            </p:cNvPr>
            <p:cNvSpPr>
              <a:spLocks noChangeAspect="1"/>
            </p:cNvSpPr>
            <p:nvPr/>
          </p:nvSpPr>
          <p:spPr bwMode="gray">
            <a:xfrm rot="9927096">
              <a:off x="2575172" y="2027619"/>
              <a:ext cx="73611" cy="63458"/>
            </a:xfrm>
            <a:prstGeom prst="triangle">
              <a:avLst/>
            </a:prstGeom>
            <a:solidFill>
              <a:schemeClr val="accent5"/>
            </a:solidFill>
            <a:ln w="952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050" dirty="0">
                <a:solidFill>
                  <a:schemeClr val="tx1"/>
                </a:solidFill>
              </a:endParaRPr>
            </a:p>
          </p:txBody>
        </p:sp>
        <p:sp>
          <p:nvSpPr>
            <p:cNvPr id="62" name="Arc 61">
              <a:extLst>
                <a:ext uri="{FF2B5EF4-FFF2-40B4-BE49-F238E27FC236}">
                  <a16:creationId xmlns="" xmlns:a16="http://schemas.microsoft.com/office/drawing/2014/main" id="{6EE7E6D4-A5B3-4826-A69D-9E463DBB47EE}"/>
                </a:ext>
              </a:extLst>
            </p:cNvPr>
            <p:cNvSpPr/>
            <p:nvPr/>
          </p:nvSpPr>
          <p:spPr bwMode="gray">
            <a:xfrm flipV="1">
              <a:off x="2024478" y="1993671"/>
              <a:ext cx="283644" cy="247373"/>
            </a:xfrm>
            <a:prstGeom prst="arc">
              <a:avLst>
                <a:gd name="adj1" fmla="val 11178900"/>
                <a:gd name="adj2" fmla="val 21075396"/>
              </a:avLst>
            </a:prstGeom>
            <a:ln w="19050" cap="flat">
              <a:solidFill>
                <a:schemeClr val="accent1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100" dirty="0"/>
            </a:p>
          </p:txBody>
        </p:sp>
        <p:sp>
          <p:nvSpPr>
            <p:cNvPr id="63" name="Isosceles Triangle 62">
              <a:extLst>
                <a:ext uri="{FF2B5EF4-FFF2-40B4-BE49-F238E27FC236}">
                  <a16:creationId xmlns="" xmlns:a16="http://schemas.microsoft.com/office/drawing/2014/main" id="{FB22E568-0486-4685-A2CC-E5C07CBB651C}"/>
                </a:ext>
              </a:extLst>
            </p:cNvPr>
            <p:cNvSpPr>
              <a:spLocks noChangeAspect="1"/>
            </p:cNvSpPr>
            <p:nvPr/>
          </p:nvSpPr>
          <p:spPr bwMode="gray">
            <a:xfrm rot="11672904" flipV="1">
              <a:off x="2272693" y="2097869"/>
              <a:ext cx="73611" cy="63349"/>
            </a:xfrm>
            <a:prstGeom prst="triangle">
              <a:avLst/>
            </a:prstGeom>
            <a:solidFill>
              <a:schemeClr val="accent1"/>
            </a:solidFill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050" dirty="0">
                <a:solidFill>
                  <a:schemeClr val="tx1"/>
                </a:solidFill>
              </a:endParaRPr>
            </a:p>
          </p:txBody>
        </p:sp>
        <p:sp>
          <p:nvSpPr>
            <p:cNvPr id="64" name="Oval 63">
              <a:extLst>
                <a:ext uri="{FF2B5EF4-FFF2-40B4-BE49-F238E27FC236}">
                  <a16:creationId xmlns="" xmlns:a16="http://schemas.microsoft.com/office/drawing/2014/main" id="{81A3C328-2867-4935-BC04-72D98C5AB47C}"/>
                </a:ext>
              </a:extLst>
            </p:cNvPr>
            <p:cNvSpPr/>
            <p:nvPr/>
          </p:nvSpPr>
          <p:spPr>
            <a:xfrm>
              <a:off x="2146537" y="2216785"/>
              <a:ext cx="50253" cy="50252"/>
            </a:xfrm>
            <a:prstGeom prst="ellipse">
              <a:avLst/>
            </a:prstGeom>
            <a:solidFill>
              <a:schemeClr val="accent1"/>
            </a:solidFill>
            <a:ln w="12700" cap="flat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 b="1" dirty="0">
                <a:solidFill>
                  <a:schemeClr val="bg1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65" name="Oval 64">
              <a:extLst>
                <a:ext uri="{FF2B5EF4-FFF2-40B4-BE49-F238E27FC236}">
                  <a16:creationId xmlns="" xmlns:a16="http://schemas.microsoft.com/office/drawing/2014/main" id="{B08BA5CD-9074-430F-9993-C298753DEDDD}"/>
                </a:ext>
              </a:extLst>
            </p:cNvPr>
            <p:cNvSpPr/>
            <p:nvPr/>
          </p:nvSpPr>
          <p:spPr>
            <a:xfrm>
              <a:off x="2451474" y="1923542"/>
              <a:ext cx="50253" cy="50252"/>
            </a:xfrm>
            <a:prstGeom prst="ellipse">
              <a:avLst/>
            </a:prstGeom>
            <a:solidFill>
              <a:schemeClr val="accent5"/>
            </a:solidFill>
            <a:ln w="12700" cap="flat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 b="1" dirty="0">
                <a:solidFill>
                  <a:schemeClr val="bg1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66" name="Rectangle 65">
              <a:extLst>
                <a:ext uri="{FF2B5EF4-FFF2-40B4-BE49-F238E27FC236}">
                  <a16:creationId xmlns="" xmlns:a16="http://schemas.microsoft.com/office/drawing/2014/main" id="{B05392CB-E495-4D33-A1E8-7181BBA438F6}"/>
                </a:ext>
              </a:extLst>
            </p:cNvPr>
            <p:cNvSpPr/>
            <p:nvPr/>
          </p:nvSpPr>
          <p:spPr>
            <a:xfrm>
              <a:off x="2012136" y="1905538"/>
              <a:ext cx="643437" cy="385342"/>
            </a:xfrm>
            <a:prstGeom prst="rect">
              <a:avLst/>
            </a:prstGeom>
            <a:solidFill>
              <a:schemeClr val="bg1">
                <a:alpha val="80000"/>
              </a:schemeClr>
            </a:solidFill>
            <a:ln w="6350" cap="flat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900"/>
                </a:spcBef>
              </a:pPr>
              <a:endParaRPr lang="en-US" sz="140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67" name="Isosceles Triangle 66">
              <a:extLst>
                <a:ext uri="{FF2B5EF4-FFF2-40B4-BE49-F238E27FC236}">
                  <a16:creationId xmlns="" xmlns:a16="http://schemas.microsoft.com/office/drawing/2014/main" id="{03CEABB5-2831-4F21-ABB7-5BF021CB664F}"/>
                </a:ext>
              </a:extLst>
            </p:cNvPr>
            <p:cNvSpPr>
              <a:spLocks noChangeAspect="1"/>
            </p:cNvSpPr>
            <p:nvPr/>
          </p:nvSpPr>
          <p:spPr bwMode="gray">
            <a:xfrm rot="9927096">
              <a:off x="1973290" y="2029335"/>
              <a:ext cx="73611" cy="63458"/>
            </a:xfrm>
            <a:prstGeom prst="triangle">
              <a:avLst/>
            </a:prstGeom>
            <a:solidFill>
              <a:schemeClr val="bg2"/>
            </a:solidFill>
            <a:ln w="9525">
              <a:solidFill>
                <a:srgbClr val="007F7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050" dirty="0">
                <a:solidFill>
                  <a:schemeClr val="tx1"/>
                </a:solidFill>
              </a:endParaRPr>
            </a:p>
          </p:txBody>
        </p:sp>
        <p:sp>
          <p:nvSpPr>
            <p:cNvPr id="68" name="Oval 67">
              <a:extLst>
                <a:ext uri="{FF2B5EF4-FFF2-40B4-BE49-F238E27FC236}">
                  <a16:creationId xmlns="" xmlns:a16="http://schemas.microsoft.com/office/drawing/2014/main" id="{78F1B064-9E51-46EE-9D45-02BE060590A0}"/>
                </a:ext>
              </a:extLst>
            </p:cNvPr>
            <p:cNvSpPr/>
            <p:nvPr/>
          </p:nvSpPr>
          <p:spPr>
            <a:xfrm>
              <a:off x="1761962" y="2029002"/>
              <a:ext cx="212364" cy="212364"/>
            </a:xfrm>
            <a:prstGeom prst="ellipse">
              <a:avLst/>
            </a:prstGeom>
            <a:solidFill>
              <a:schemeClr val="bg2"/>
            </a:solidFill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ot="0" spcFirstLastPara="0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69" name="Arc 68">
              <a:extLst>
                <a:ext uri="{FF2B5EF4-FFF2-40B4-BE49-F238E27FC236}">
                  <a16:creationId xmlns="" xmlns:a16="http://schemas.microsoft.com/office/drawing/2014/main" id="{B91E2295-7538-4640-A7D3-C93E236DC352}"/>
                </a:ext>
              </a:extLst>
            </p:cNvPr>
            <p:cNvSpPr/>
            <p:nvPr/>
          </p:nvSpPr>
          <p:spPr bwMode="gray">
            <a:xfrm>
              <a:off x="1724152" y="1947656"/>
              <a:ext cx="283644" cy="247796"/>
            </a:xfrm>
            <a:prstGeom prst="arc">
              <a:avLst>
                <a:gd name="adj1" fmla="val 11178900"/>
                <a:gd name="adj2" fmla="val 21075396"/>
              </a:avLst>
            </a:prstGeom>
            <a:ln w="19050" cap="flat">
              <a:solidFill>
                <a:schemeClr val="bg2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100" dirty="0"/>
            </a:p>
          </p:txBody>
        </p:sp>
        <p:sp>
          <p:nvSpPr>
            <p:cNvPr id="70" name="Oval 69">
              <a:extLst>
                <a:ext uri="{FF2B5EF4-FFF2-40B4-BE49-F238E27FC236}">
                  <a16:creationId xmlns="" xmlns:a16="http://schemas.microsoft.com/office/drawing/2014/main" id="{E0D789CC-521C-4F84-8D8B-06A296C089B3}"/>
                </a:ext>
              </a:extLst>
            </p:cNvPr>
            <p:cNvSpPr/>
            <p:nvPr/>
          </p:nvSpPr>
          <p:spPr>
            <a:xfrm>
              <a:off x="1843018" y="1923542"/>
              <a:ext cx="50253" cy="50252"/>
            </a:xfrm>
            <a:prstGeom prst="ellipse">
              <a:avLst/>
            </a:prstGeom>
            <a:solidFill>
              <a:schemeClr val="bg2"/>
            </a:solidFill>
            <a:ln w="12700" cap="flat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 b="1" dirty="0">
                <a:solidFill>
                  <a:schemeClr val="bg1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</p:grpSp>
      <p:sp>
        <p:nvSpPr>
          <p:cNvPr id="73" name="Rectangle 72">
            <a:extLst>
              <a:ext uri="{FF2B5EF4-FFF2-40B4-BE49-F238E27FC236}">
                <a16:creationId xmlns="" xmlns:a16="http://schemas.microsoft.com/office/drawing/2014/main" id="{5CEC450A-49A4-4DD9-AC21-00E1D0079670}"/>
              </a:ext>
            </a:extLst>
          </p:cNvPr>
          <p:cNvSpPr/>
          <p:nvPr/>
        </p:nvSpPr>
        <p:spPr>
          <a:xfrm>
            <a:off x="4924844" y="5868095"/>
            <a:ext cx="874038" cy="244543"/>
          </a:xfrm>
          <a:prstGeom prst="rect">
            <a:avLst/>
          </a:prstGeom>
          <a:noFill/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spcBef>
                <a:spcPts val="900"/>
              </a:spcBef>
            </a:pPr>
            <a:r>
              <a:rPr lang="en-US" sz="1600" b="1" dirty="0" err="1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Slidesgo</a:t>
            </a:r>
            <a:endParaRPr lang="en-US" sz="1600" b="1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4" name="Google Shape;203;p26">
            <a:extLst>
              <a:ext uri="{FF2B5EF4-FFF2-40B4-BE49-F238E27FC236}">
                <a16:creationId xmlns="" xmlns:a16="http://schemas.microsoft.com/office/drawing/2014/main" id="{E3312A4C-A07D-4024-B277-593684D2CD8C}"/>
              </a:ext>
            </a:extLst>
          </p:cNvPr>
          <p:cNvSpPr/>
          <p:nvPr/>
        </p:nvSpPr>
        <p:spPr>
          <a:xfrm rot="10800000" flipH="1" flipV="1">
            <a:off x="7084695" y="5664482"/>
            <a:ext cx="2072956" cy="1328913"/>
          </a:xfrm>
          <a:custGeom>
            <a:avLst/>
            <a:gdLst/>
            <a:ahLst/>
            <a:cxnLst/>
            <a:rect l="l" t="t" r="r" b="b"/>
            <a:pathLst>
              <a:path w="88563" h="57373" extrusionOk="0">
                <a:moveTo>
                  <a:pt x="77406" y="1"/>
                </a:moveTo>
                <a:cubicBezTo>
                  <a:pt x="73923" y="1"/>
                  <a:pt x="70569" y="1636"/>
                  <a:pt x="68428" y="4533"/>
                </a:cubicBezTo>
                <a:cubicBezTo>
                  <a:pt x="66354" y="2849"/>
                  <a:pt x="63871" y="2037"/>
                  <a:pt x="61410" y="2037"/>
                </a:cubicBezTo>
                <a:cubicBezTo>
                  <a:pt x="57939" y="2037"/>
                  <a:pt x="54510" y="3652"/>
                  <a:pt x="52326" y="6713"/>
                </a:cubicBezTo>
                <a:cubicBezTo>
                  <a:pt x="50354" y="3053"/>
                  <a:pt x="46550" y="846"/>
                  <a:pt x="42494" y="846"/>
                </a:cubicBezTo>
                <a:cubicBezTo>
                  <a:pt x="41870" y="846"/>
                  <a:pt x="41240" y="898"/>
                  <a:pt x="40610" y="1005"/>
                </a:cubicBezTo>
                <a:cubicBezTo>
                  <a:pt x="35883" y="1822"/>
                  <a:pt x="32205" y="5555"/>
                  <a:pt x="31469" y="10296"/>
                </a:cubicBezTo>
                <a:cubicBezTo>
                  <a:pt x="29397" y="8536"/>
                  <a:pt x="26838" y="7653"/>
                  <a:pt x="24274" y="7653"/>
                </a:cubicBezTo>
                <a:cubicBezTo>
                  <a:pt x="21817" y="7653"/>
                  <a:pt x="19356" y="8464"/>
                  <a:pt x="17315" y="10091"/>
                </a:cubicBezTo>
                <a:cubicBezTo>
                  <a:pt x="13160" y="13415"/>
                  <a:pt x="11921" y="19218"/>
                  <a:pt x="14373" y="23945"/>
                </a:cubicBezTo>
                <a:cubicBezTo>
                  <a:pt x="10504" y="26302"/>
                  <a:pt x="8447" y="30770"/>
                  <a:pt x="9183" y="35252"/>
                </a:cubicBezTo>
                <a:cubicBezTo>
                  <a:pt x="3883" y="36206"/>
                  <a:pt x="28" y="40810"/>
                  <a:pt x="15" y="46205"/>
                </a:cubicBezTo>
                <a:cubicBezTo>
                  <a:pt x="1" y="51586"/>
                  <a:pt x="3829" y="56204"/>
                  <a:pt x="9128" y="57198"/>
                </a:cubicBezTo>
                <a:lnTo>
                  <a:pt x="9155" y="57198"/>
                </a:lnTo>
                <a:cubicBezTo>
                  <a:pt x="9817" y="57315"/>
                  <a:pt x="10485" y="57373"/>
                  <a:pt x="11154" y="57373"/>
                </a:cubicBezTo>
                <a:cubicBezTo>
                  <a:pt x="11739" y="57373"/>
                  <a:pt x="12323" y="57328"/>
                  <a:pt x="12902" y="57239"/>
                </a:cubicBezTo>
                <a:cubicBezTo>
                  <a:pt x="16726" y="57262"/>
                  <a:pt x="23112" y="57271"/>
                  <a:pt x="30601" y="57271"/>
                </a:cubicBezTo>
                <a:cubicBezTo>
                  <a:pt x="54137" y="57271"/>
                  <a:pt x="88562" y="57185"/>
                  <a:pt x="88562" y="57185"/>
                </a:cubicBezTo>
                <a:lnTo>
                  <a:pt x="88562" y="10377"/>
                </a:lnTo>
                <a:lnTo>
                  <a:pt x="88535" y="10377"/>
                </a:lnTo>
                <a:cubicBezTo>
                  <a:pt x="88208" y="5718"/>
                  <a:pt x="85007" y="1740"/>
                  <a:pt x="80525" y="446"/>
                </a:cubicBezTo>
                <a:cubicBezTo>
                  <a:pt x="79493" y="146"/>
                  <a:pt x="78444" y="1"/>
                  <a:pt x="77406" y="1"/>
                </a:cubicBezTo>
                <a:close/>
              </a:path>
            </a:pathLst>
          </a:custGeom>
          <a:solidFill>
            <a:schemeClr val="accent1"/>
          </a:solidFill>
          <a:ln w="9525" cap="flat" cmpd="sng">
            <a:noFill/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 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69532862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4" name="Object 93" hidden="1">
            <a:extLst>
              <a:ext uri="{FF2B5EF4-FFF2-40B4-BE49-F238E27FC236}">
                <a16:creationId xmlns="" xmlns:a16="http://schemas.microsoft.com/office/drawing/2014/main" id="{A702E043-6053-4BC9-9BFE-23F13C7CC70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392283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34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94" name="Object 93" hidden="1">
                        <a:extLst>
                          <a:ext uri="{FF2B5EF4-FFF2-40B4-BE49-F238E27FC236}">
                            <a16:creationId xmlns="" xmlns:a16="http://schemas.microsoft.com/office/drawing/2014/main" id="{A702E043-6053-4BC9-9BFE-23F13C7CC7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Rectangle 43">
            <a:extLst>
              <a:ext uri="{FF2B5EF4-FFF2-40B4-BE49-F238E27FC236}">
                <a16:creationId xmlns="" xmlns:a16="http://schemas.microsoft.com/office/drawing/2014/main" id="{3AFFDB44-CEA3-4DA8-B713-0519280DC6E1}"/>
              </a:ext>
            </a:extLst>
          </p:cNvPr>
          <p:cNvSpPr/>
          <p:nvPr/>
        </p:nvSpPr>
        <p:spPr>
          <a:xfrm>
            <a:off x="-23106" y="4510232"/>
            <a:ext cx="9167106" cy="2347768"/>
          </a:xfrm>
          <a:prstGeom prst="rect">
            <a:avLst/>
          </a:prstGeom>
          <a:solidFill>
            <a:schemeClr val="accent1">
              <a:lumMod val="20000"/>
              <a:lumOff val="80000"/>
              <a:alpha val="30000"/>
            </a:schemeClr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900"/>
              </a:spcBef>
              <a:spcAft>
                <a:spcPts val="600"/>
              </a:spcAft>
            </a:pPr>
            <a:endParaRPr lang="en-US" sz="1400" b="1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4BE982E3-9861-4559-B840-0BCF5B15AC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4507" y="493495"/>
            <a:ext cx="7604094" cy="338554"/>
          </a:xfrm>
        </p:spPr>
        <p:txBody>
          <a:bodyPr/>
          <a:lstStyle/>
          <a:p>
            <a:r>
              <a:rPr lang="en-US" b="1" dirty="0"/>
              <a:t>Framework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="" xmlns:a16="http://schemas.microsoft.com/office/drawing/2014/main" id="{AD9B73B3-E32A-4337-A834-260495EEEB89}"/>
              </a:ext>
            </a:extLst>
          </p:cNvPr>
          <p:cNvCxnSpPr>
            <a:cxnSpLocks/>
          </p:cNvCxnSpPr>
          <p:nvPr/>
        </p:nvCxnSpPr>
        <p:spPr>
          <a:xfrm>
            <a:off x="424288" y="3709013"/>
            <a:ext cx="1159703" cy="0"/>
          </a:xfrm>
          <a:prstGeom prst="line">
            <a:avLst/>
          </a:prstGeom>
          <a:noFill/>
          <a:ln w="19050" cap="rnd" cmpd="sng" algn="ctr">
            <a:solidFill>
              <a:schemeClr val="accent1"/>
            </a:solidFill>
            <a:prstDash val="solid"/>
            <a:round/>
          </a:ln>
          <a:effectLst/>
        </p:spPr>
      </p:cxnSp>
      <p:cxnSp>
        <p:nvCxnSpPr>
          <p:cNvPr id="4" name="Straight Connector 3">
            <a:extLst>
              <a:ext uri="{FF2B5EF4-FFF2-40B4-BE49-F238E27FC236}">
                <a16:creationId xmlns="" xmlns:a16="http://schemas.microsoft.com/office/drawing/2014/main" id="{F0ACCD4B-2BFC-4FD0-80AE-2CEC6EA3C3BD}"/>
              </a:ext>
            </a:extLst>
          </p:cNvPr>
          <p:cNvCxnSpPr>
            <a:cxnSpLocks/>
          </p:cNvCxnSpPr>
          <p:nvPr/>
        </p:nvCxnSpPr>
        <p:spPr>
          <a:xfrm flipV="1">
            <a:off x="1004139" y="3403237"/>
            <a:ext cx="0" cy="279135"/>
          </a:xfrm>
          <a:prstGeom prst="line">
            <a:avLst/>
          </a:prstGeom>
          <a:noFill/>
          <a:ln w="15875" cap="rnd" cmpd="sng" algn="ctr">
            <a:solidFill>
              <a:schemeClr val="accent1"/>
            </a:solidFill>
            <a:prstDash val="sysDot"/>
            <a:round/>
          </a:ln>
          <a:effectLst/>
        </p:spPr>
      </p:cxnSp>
      <p:sp>
        <p:nvSpPr>
          <p:cNvPr id="5" name="Rectangle 4">
            <a:extLst>
              <a:ext uri="{FF2B5EF4-FFF2-40B4-BE49-F238E27FC236}">
                <a16:creationId xmlns="" xmlns:a16="http://schemas.microsoft.com/office/drawing/2014/main" id="{6F3241DA-149E-414F-8A68-39A71D100EAE}"/>
              </a:ext>
            </a:extLst>
          </p:cNvPr>
          <p:cNvSpPr/>
          <p:nvPr/>
        </p:nvSpPr>
        <p:spPr>
          <a:xfrm>
            <a:off x="425295" y="3812037"/>
            <a:ext cx="1157688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en-US" sz="1400" b="1" dirty="0">
                <a:latin typeface="+mj-lt"/>
                <a:cs typeface="Calibri" panose="020F0502020204030204" pitchFamily="34" charset="0"/>
              </a:rPr>
              <a:t>Data</a:t>
            </a:r>
            <a:br>
              <a:rPr lang="en-US" sz="1400" b="1" dirty="0">
                <a:latin typeface="+mj-lt"/>
                <a:cs typeface="Calibri" panose="020F0502020204030204" pitchFamily="34" charset="0"/>
              </a:rPr>
            </a:br>
            <a:r>
              <a:rPr lang="en-US" sz="1400" b="1" dirty="0">
                <a:latin typeface="+mj-lt"/>
                <a:cs typeface="Calibri" panose="020F0502020204030204" pitchFamily="34" charset="0"/>
              </a:rPr>
              <a:t>Acquisition</a:t>
            </a:r>
          </a:p>
        </p:txBody>
      </p:sp>
      <p:sp>
        <p:nvSpPr>
          <p:cNvPr id="6" name="Freeform: Shape 5">
            <a:extLst>
              <a:ext uri="{FF2B5EF4-FFF2-40B4-BE49-F238E27FC236}">
                <a16:creationId xmlns="" xmlns:a16="http://schemas.microsoft.com/office/drawing/2014/main" id="{213B945A-FB98-4219-B9C8-A83C75E3451B}"/>
              </a:ext>
            </a:extLst>
          </p:cNvPr>
          <p:cNvSpPr/>
          <p:nvPr/>
        </p:nvSpPr>
        <p:spPr>
          <a:xfrm>
            <a:off x="465848" y="2057400"/>
            <a:ext cx="1395262" cy="1345837"/>
          </a:xfrm>
          <a:custGeom>
            <a:avLst/>
            <a:gdLst>
              <a:gd name="connsiteX0" fmla="*/ 330976 w 2497282"/>
              <a:gd name="connsiteY0" fmla="*/ 0 h 2364509"/>
              <a:gd name="connsiteX1" fmla="*/ 1654842 w 2497282"/>
              <a:gd name="connsiteY1" fmla="*/ 0 h 2364509"/>
              <a:gd name="connsiteX2" fmla="*/ 1979094 w 2497282"/>
              <a:gd name="connsiteY2" fmla="*/ 264273 h 2364509"/>
              <a:gd name="connsiteX3" fmla="*/ 1983586 w 2497282"/>
              <a:gd name="connsiteY3" fmla="*/ 308830 h 2364509"/>
              <a:gd name="connsiteX4" fmla="*/ 1985963 w 2497282"/>
              <a:gd name="connsiteY4" fmla="*/ 320606 h 2364509"/>
              <a:gd name="connsiteX5" fmla="*/ 1985963 w 2497282"/>
              <a:gd name="connsiteY5" fmla="*/ 651813 h 2364509"/>
              <a:gd name="connsiteX6" fmla="*/ 1985818 w 2497282"/>
              <a:gd name="connsiteY6" fmla="*/ 652531 h 2364509"/>
              <a:gd name="connsiteX7" fmla="*/ 1985818 w 2497282"/>
              <a:gd name="connsiteY7" fmla="*/ 657949 h 2364509"/>
              <a:gd name="connsiteX8" fmla="*/ 1984724 w 2497282"/>
              <a:gd name="connsiteY8" fmla="*/ 657949 h 2364509"/>
              <a:gd name="connsiteX9" fmla="*/ 1980349 w 2497282"/>
              <a:gd name="connsiteY9" fmla="*/ 679620 h 2364509"/>
              <a:gd name="connsiteX10" fmla="*/ 1914525 w 2497282"/>
              <a:gd name="connsiteY10" fmla="*/ 723251 h 2364509"/>
              <a:gd name="connsiteX11" fmla="*/ 1848701 w 2497282"/>
              <a:gd name="connsiteY11" fmla="*/ 679620 h 2364509"/>
              <a:gd name="connsiteX12" fmla="*/ 1844326 w 2497282"/>
              <a:gd name="connsiteY12" fmla="*/ 657949 h 2364509"/>
              <a:gd name="connsiteX13" fmla="*/ 1842311 w 2497282"/>
              <a:gd name="connsiteY13" fmla="*/ 657949 h 2364509"/>
              <a:gd name="connsiteX14" fmla="*/ 1842311 w 2497282"/>
              <a:gd name="connsiteY14" fmla="*/ 380114 h 2364509"/>
              <a:gd name="connsiteX15" fmla="*/ 1633069 w 2497282"/>
              <a:gd name="connsiteY15" fmla="*/ 170872 h 2364509"/>
              <a:gd name="connsiteX16" fmla="*/ 352748 w 2497282"/>
              <a:gd name="connsiteY16" fmla="*/ 170872 h 2364509"/>
              <a:gd name="connsiteX17" fmla="*/ 143506 w 2497282"/>
              <a:gd name="connsiteY17" fmla="*/ 380114 h 2364509"/>
              <a:gd name="connsiteX18" fmla="*/ 143506 w 2497282"/>
              <a:gd name="connsiteY18" fmla="*/ 1984393 h 2364509"/>
              <a:gd name="connsiteX19" fmla="*/ 352748 w 2497282"/>
              <a:gd name="connsiteY19" fmla="*/ 2193635 h 2364509"/>
              <a:gd name="connsiteX20" fmla="*/ 1633069 w 2497282"/>
              <a:gd name="connsiteY20" fmla="*/ 2193635 h 2364509"/>
              <a:gd name="connsiteX21" fmla="*/ 1842311 w 2497282"/>
              <a:gd name="connsiteY21" fmla="*/ 1984393 h 2364509"/>
              <a:gd name="connsiteX22" fmla="*/ 1842311 w 2497282"/>
              <a:gd name="connsiteY22" fmla="*/ 1799217 h 2364509"/>
              <a:gd name="connsiteX23" fmla="*/ 1841500 w 2497282"/>
              <a:gd name="connsiteY23" fmla="*/ 1799217 h 2364509"/>
              <a:gd name="connsiteX24" fmla="*/ 1841500 w 2497282"/>
              <a:gd name="connsiteY24" fmla="*/ 1208198 h 2364509"/>
              <a:gd name="connsiteX25" fmla="*/ 2128405 w 2497282"/>
              <a:gd name="connsiteY25" fmla="*/ 921293 h 2364509"/>
              <a:gd name="connsiteX26" fmla="*/ 2333337 w 2497282"/>
              <a:gd name="connsiteY26" fmla="*/ 921294 h 2364509"/>
              <a:gd name="connsiteX27" fmla="*/ 2333337 w 2497282"/>
              <a:gd name="connsiteY27" fmla="*/ 829399 h 2364509"/>
              <a:gd name="connsiteX28" fmla="*/ 2497282 w 2497282"/>
              <a:gd name="connsiteY28" fmla="*/ 993345 h 2364509"/>
              <a:gd name="connsiteX29" fmla="*/ 2333337 w 2497282"/>
              <a:gd name="connsiteY29" fmla="*/ 1157290 h 2364509"/>
              <a:gd name="connsiteX30" fmla="*/ 2333337 w 2497282"/>
              <a:gd name="connsiteY30" fmla="*/ 1065395 h 2364509"/>
              <a:gd name="connsiteX31" fmla="*/ 2128405 w 2497282"/>
              <a:gd name="connsiteY31" fmla="*/ 1065395 h 2364509"/>
              <a:gd name="connsiteX32" fmla="*/ 1985602 w 2497282"/>
              <a:gd name="connsiteY32" fmla="*/ 1208198 h 2364509"/>
              <a:gd name="connsiteX33" fmla="*/ 1985602 w 2497282"/>
              <a:gd name="connsiteY33" fmla="*/ 1546949 h 2364509"/>
              <a:gd name="connsiteX34" fmla="*/ 1985818 w 2497282"/>
              <a:gd name="connsiteY34" fmla="*/ 1546949 h 2364509"/>
              <a:gd name="connsiteX35" fmla="*/ 1985818 w 2497282"/>
              <a:gd name="connsiteY35" fmla="*/ 2033533 h 2364509"/>
              <a:gd name="connsiteX36" fmla="*/ 1654842 w 2497282"/>
              <a:gd name="connsiteY36" fmla="*/ 2364509 h 2364509"/>
              <a:gd name="connsiteX37" fmla="*/ 330976 w 2497282"/>
              <a:gd name="connsiteY37" fmla="*/ 2364509 h 2364509"/>
              <a:gd name="connsiteX38" fmla="*/ 0 w 2497282"/>
              <a:gd name="connsiteY38" fmla="*/ 2033533 h 2364509"/>
              <a:gd name="connsiteX39" fmla="*/ 0 w 2497282"/>
              <a:gd name="connsiteY39" fmla="*/ 330976 h 2364509"/>
              <a:gd name="connsiteX40" fmla="*/ 330976 w 2497282"/>
              <a:gd name="connsiteY40" fmla="*/ 0 h 2364509"/>
              <a:gd name="connsiteX0" fmla="*/ 330976 w 2497282"/>
              <a:gd name="connsiteY0" fmla="*/ 0 h 2364509"/>
              <a:gd name="connsiteX1" fmla="*/ 1654842 w 2497282"/>
              <a:gd name="connsiteY1" fmla="*/ 0 h 2364509"/>
              <a:gd name="connsiteX2" fmla="*/ 1979094 w 2497282"/>
              <a:gd name="connsiteY2" fmla="*/ 264273 h 2364509"/>
              <a:gd name="connsiteX3" fmla="*/ 1985963 w 2497282"/>
              <a:gd name="connsiteY3" fmla="*/ 320606 h 2364509"/>
              <a:gd name="connsiteX4" fmla="*/ 1985963 w 2497282"/>
              <a:gd name="connsiteY4" fmla="*/ 651813 h 2364509"/>
              <a:gd name="connsiteX5" fmla="*/ 1985818 w 2497282"/>
              <a:gd name="connsiteY5" fmla="*/ 652531 h 2364509"/>
              <a:gd name="connsiteX6" fmla="*/ 1985818 w 2497282"/>
              <a:gd name="connsiteY6" fmla="*/ 657949 h 2364509"/>
              <a:gd name="connsiteX7" fmla="*/ 1984724 w 2497282"/>
              <a:gd name="connsiteY7" fmla="*/ 657949 h 2364509"/>
              <a:gd name="connsiteX8" fmla="*/ 1980349 w 2497282"/>
              <a:gd name="connsiteY8" fmla="*/ 679620 h 2364509"/>
              <a:gd name="connsiteX9" fmla="*/ 1914525 w 2497282"/>
              <a:gd name="connsiteY9" fmla="*/ 723251 h 2364509"/>
              <a:gd name="connsiteX10" fmla="*/ 1848701 w 2497282"/>
              <a:gd name="connsiteY10" fmla="*/ 679620 h 2364509"/>
              <a:gd name="connsiteX11" fmla="*/ 1844326 w 2497282"/>
              <a:gd name="connsiteY11" fmla="*/ 657949 h 2364509"/>
              <a:gd name="connsiteX12" fmla="*/ 1842311 w 2497282"/>
              <a:gd name="connsiteY12" fmla="*/ 657949 h 2364509"/>
              <a:gd name="connsiteX13" fmla="*/ 1842311 w 2497282"/>
              <a:gd name="connsiteY13" fmla="*/ 380114 h 2364509"/>
              <a:gd name="connsiteX14" fmla="*/ 1633069 w 2497282"/>
              <a:gd name="connsiteY14" fmla="*/ 170872 h 2364509"/>
              <a:gd name="connsiteX15" fmla="*/ 352748 w 2497282"/>
              <a:gd name="connsiteY15" fmla="*/ 170872 h 2364509"/>
              <a:gd name="connsiteX16" fmla="*/ 143506 w 2497282"/>
              <a:gd name="connsiteY16" fmla="*/ 380114 h 2364509"/>
              <a:gd name="connsiteX17" fmla="*/ 143506 w 2497282"/>
              <a:gd name="connsiteY17" fmla="*/ 1984393 h 2364509"/>
              <a:gd name="connsiteX18" fmla="*/ 352748 w 2497282"/>
              <a:gd name="connsiteY18" fmla="*/ 2193635 h 2364509"/>
              <a:gd name="connsiteX19" fmla="*/ 1633069 w 2497282"/>
              <a:gd name="connsiteY19" fmla="*/ 2193635 h 2364509"/>
              <a:gd name="connsiteX20" fmla="*/ 1842311 w 2497282"/>
              <a:gd name="connsiteY20" fmla="*/ 1984393 h 2364509"/>
              <a:gd name="connsiteX21" fmla="*/ 1842311 w 2497282"/>
              <a:gd name="connsiteY21" fmla="*/ 1799217 h 2364509"/>
              <a:gd name="connsiteX22" fmla="*/ 1841500 w 2497282"/>
              <a:gd name="connsiteY22" fmla="*/ 1799217 h 2364509"/>
              <a:gd name="connsiteX23" fmla="*/ 1841500 w 2497282"/>
              <a:gd name="connsiteY23" fmla="*/ 1208198 h 2364509"/>
              <a:gd name="connsiteX24" fmla="*/ 2128405 w 2497282"/>
              <a:gd name="connsiteY24" fmla="*/ 921293 h 2364509"/>
              <a:gd name="connsiteX25" fmla="*/ 2333337 w 2497282"/>
              <a:gd name="connsiteY25" fmla="*/ 921294 h 2364509"/>
              <a:gd name="connsiteX26" fmla="*/ 2333337 w 2497282"/>
              <a:gd name="connsiteY26" fmla="*/ 829399 h 2364509"/>
              <a:gd name="connsiteX27" fmla="*/ 2497282 w 2497282"/>
              <a:gd name="connsiteY27" fmla="*/ 993345 h 2364509"/>
              <a:gd name="connsiteX28" fmla="*/ 2333337 w 2497282"/>
              <a:gd name="connsiteY28" fmla="*/ 1157290 h 2364509"/>
              <a:gd name="connsiteX29" fmla="*/ 2333337 w 2497282"/>
              <a:gd name="connsiteY29" fmla="*/ 1065395 h 2364509"/>
              <a:gd name="connsiteX30" fmla="*/ 2128405 w 2497282"/>
              <a:gd name="connsiteY30" fmla="*/ 1065395 h 2364509"/>
              <a:gd name="connsiteX31" fmla="*/ 1985602 w 2497282"/>
              <a:gd name="connsiteY31" fmla="*/ 1208198 h 2364509"/>
              <a:gd name="connsiteX32" fmla="*/ 1985602 w 2497282"/>
              <a:gd name="connsiteY32" fmla="*/ 1546949 h 2364509"/>
              <a:gd name="connsiteX33" fmla="*/ 1985818 w 2497282"/>
              <a:gd name="connsiteY33" fmla="*/ 1546949 h 2364509"/>
              <a:gd name="connsiteX34" fmla="*/ 1985818 w 2497282"/>
              <a:gd name="connsiteY34" fmla="*/ 2033533 h 2364509"/>
              <a:gd name="connsiteX35" fmla="*/ 1654842 w 2497282"/>
              <a:gd name="connsiteY35" fmla="*/ 2364509 h 2364509"/>
              <a:gd name="connsiteX36" fmla="*/ 330976 w 2497282"/>
              <a:gd name="connsiteY36" fmla="*/ 2364509 h 2364509"/>
              <a:gd name="connsiteX37" fmla="*/ 0 w 2497282"/>
              <a:gd name="connsiteY37" fmla="*/ 2033533 h 2364509"/>
              <a:gd name="connsiteX38" fmla="*/ 0 w 2497282"/>
              <a:gd name="connsiteY38" fmla="*/ 330976 h 2364509"/>
              <a:gd name="connsiteX39" fmla="*/ 330976 w 2497282"/>
              <a:gd name="connsiteY39" fmla="*/ 0 h 23645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2497282" h="2364509">
                <a:moveTo>
                  <a:pt x="330976" y="0"/>
                </a:moveTo>
                <a:lnTo>
                  <a:pt x="1654842" y="0"/>
                </a:lnTo>
                <a:cubicBezTo>
                  <a:pt x="1814786" y="0"/>
                  <a:pt x="1948232" y="113453"/>
                  <a:pt x="1979094" y="264273"/>
                </a:cubicBezTo>
                <a:lnTo>
                  <a:pt x="1985963" y="320606"/>
                </a:lnTo>
                <a:lnTo>
                  <a:pt x="1985963" y="651813"/>
                </a:lnTo>
                <a:cubicBezTo>
                  <a:pt x="1985915" y="652052"/>
                  <a:pt x="1985866" y="652292"/>
                  <a:pt x="1985818" y="652531"/>
                </a:cubicBezTo>
                <a:lnTo>
                  <a:pt x="1985818" y="657949"/>
                </a:lnTo>
                <a:lnTo>
                  <a:pt x="1984724" y="657949"/>
                </a:lnTo>
                <a:lnTo>
                  <a:pt x="1980349" y="679620"/>
                </a:lnTo>
                <a:cubicBezTo>
                  <a:pt x="1969504" y="705260"/>
                  <a:pt x="1944116" y="723251"/>
                  <a:pt x="1914525" y="723251"/>
                </a:cubicBezTo>
                <a:cubicBezTo>
                  <a:pt x="1884935" y="723251"/>
                  <a:pt x="1859546" y="705260"/>
                  <a:pt x="1848701" y="679620"/>
                </a:cubicBezTo>
                <a:lnTo>
                  <a:pt x="1844326" y="657949"/>
                </a:lnTo>
                <a:lnTo>
                  <a:pt x="1842311" y="657949"/>
                </a:lnTo>
                <a:lnTo>
                  <a:pt x="1842311" y="380114"/>
                </a:lnTo>
                <a:cubicBezTo>
                  <a:pt x="1842311" y="264553"/>
                  <a:pt x="1748630" y="170872"/>
                  <a:pt x="1633069" y="170872"/>
                </a:cubicBezTo>
                <a:lnTo>
                  <a:pt x="352748" y="170872"/>
                </a:lnTo>
                <a:cubicBezTo>
                  <a:pt x="237187" y="170872"/>
                  <a:pt x="143506" y="264553"/>
                  <a:pt x="143506" y="380114"/>
                </a:cubicBezTo>
                <a:lnTo>
                  <a:pt x="143506" y="1984393"/>
                </a:lnTo>
                <a:cubicBezTo>
                  <a:pt x="143506" y="2099954"/>
                  <a:pt x="237187" y="2193635"/>
                  <a:pt x="352748" y="2193635"/>
                </a:cubicBezTo>
                <a:lnTo>
                  <a:pt x="1633069" y="2193635"/>
                </a:lnTo>
                <a:cubicBezTo>
                  <a:pt x="1748630" y="2193635"/>
                  <a:pt x="1842311" y="2099954"/>
                  <a:pt x="1842311" y="1984393"/>
                </a:cubicBezTo>
                <a:lnTo>
                  <a:pt x="1842311" y="1799217"/>
                </a:lnTo>
                <a:lnTo>
                  <a:pt x="1841500" y="1799217"/>
                </a:lnTo>
                <a:lnTo>
                  <a:pt x="1841500" y="1208198"/>
                </a:lnTo>
                <a:cubicBezTo>
                  <a:pt x="1841500" y="1049745"/>
                  <a:pt x="1969952" y="921293"/>
                  <a:pt x="2128405" y="921293"/>
                </a:cubicBezTo>
                <a:lnTo>
                  <a:pt x="2333337" y="921294"/>
                </a:lnTo>
                <a:lnTo>
                  <a:pt x="2333337" y="829399"/>
                </a:lnTo>
                <a:lnTo>
                  <a:pt x="2497282" y="993345"/>
                </a:lnTo>
                <a:lnTo>
                  <a:pt x="2333337" y="1157290"/>
                </a:lnTo>
                <a:lnTo>
                  <a:pt x="2333337" y="1065395"/>
                </a:lnTo>
                <a:lnTo>
                  <a:pt x="2128405" y="1065395"/>
                </a:lnTo>
                <a:cubicBezTo>
                  <a:pt x="2049537" y="1065395"/>
                  <a:pt x="1985602" y="1129330"/>
                  <a:pt x="1985602" y="1208198"/>
                </a:cubicBezTo>
                <a:lnTo>
                  <a:pt x="1985602" y="1546949"/>
                </a:lnTo>
                <a:lnTo>
                  <a:pt x="1985818" y="1546949"/>
                </a:lnTo>
                <a:lnTo>
                  <a:pt x="1985818" y="2033533"/>
                </a:lnTo>
                <a:cubicBezTo>
                  <a:pt x="1985818" y="2216326"/>
                  <a:pt x="1837635" y="2364509"/>
                  <a:pt x="1654842" y="2364509"/>
                </a:cubicBezTo>
                <a:lnTo>
                  <a:pt x="330976" y="2364509"/>
                </a:lnTo>
                <a:cubicBezTo>
                  <a:pt x="148183" y="2364509"/>
                  <a:pt x="0" y="2216326"/>
                  <a:pt x="0" y="2033533"/>
                </a:cubicBezTo>
                <a:lnTo>
                  <a:pt x="0" y="330976"/>
                </a:lnTo>
                <a:cubicBezTo>
                  <a:pt x="0" y="148183"/>
                  <a:pt x="148183" y="0"/>
                  <a:pt x="330976" y="0"/>
                </a:cubicBezTo>
                <a:close/>
              </a:path>
            </a:pathLst>
          </a:cu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5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DIN Alternate" panose="020B0500000000000000"/>
              <a:ea typeface="+mn-ea"/>
              <a:cs typeface="Arial"/>
            </a:endParaRPr>
          </a:p>
        </p:txBody>
      </p:sp>
      <p:cxnSp>
        <p:nvCxnSpPr>
          <p:cNvPr id="7" name="Straight Connector 6">
            <a:extLst>
              <a:ext uri="{FF2B5EF4-FFF2-40B4-BE49-F238E27FC236}">
                <a16:creationId xmlns="" xmlns:a16="http://schemas.microsoft.com/office/drawing/2014/main" id="{E91B9085-A486-4479-BC86-F2BB9F71658D}"/>
              </a:ext>
            </a:extLst>
          </p:cNvPr>
          <p:cNvCxnSpPr>
            <a:cxnSpLocks/>
          </p:cNvCxnSpPr>
          <p:nvPr/>
        </p:nvCxnSpPr>
        <p:spPr>
          <a:xfrm>
            <a:off x="2138167" y="3709013"/>
            <a:ext cx="1159701" cy="0"/>
          </a:xfrm>
          <a:prstGeom prst="line">
            <a:avLst/>
          </a:prstGeom>
          <a:noFill/>
          <a:ln w="19050" cap="rnd" cmpd="sng" algn="ctr">
            <a:solidFill>
              <a:schemeClr val="accent1"/>
            </a:solidFill>
            <a:prstDash val="solid"/>
            <a:round/>
          </a:ln>
          <a:effectLst/>
        </p:spPr>
      </p:cxnSp>
      <p:cxnSp>
        <p:nvCxnSpPr>
          <p:cNvPr id="8" name="Straight Connector 7">
            <a:extLst>
              <a:ext uri="{FF2B5EF4-FFF2-40B4-BE49-F238E27FC236}">
                <a16:creationId xmlns="" xmlns:a16="http://schemas.microsoft.com/office/drawing/2014/main" id="{D92D2FEB-3AF6-4307-99F8-8554BB791FB1}"/>
              </a:ext>
            </a:extLst>
          </p:cNvPr>
          <p:cNvCxnSpPr>
            <a:cxnSpLocks/>
          </p:cNvCxnSpPr>
          <p:nvPr/>
        </p:nvCxnSpPr>
        <p:spPr>
          <a:xfrm flipV="1">
            <a:off x="2718018" y="3403237"/>
            <a:ext cx="0" cy="279135"/>
          </a:xfrm>
          <a:prstGeom prst="line">
            <a:avLst/>
          </a:prstGeom>
          <a:noFill/>
          <a:ln w="15875" cap="rnd" cmpd="sng" algn="ctr">
            <a:solidFill>
              <a:schemeClr val="accent1"/>
            </a:solidFill>
            <a:prstDash val="sysDot"/>
            <a:round/>
          </a:ln>
          <a:effectLst/>
        </p:spPr>
      </p:cxnSp>
      <p:sp>
        <p:nvSpPr>
          <p:cNvPr id="9" name="Rectangle 8">
            <a:extLst>
              <a:ext uri="{FF2B5EF4-FFF2-40B4-BE49-F238E27FC236}">
                <a16:creationId xmlns="" xmlns:a16="http://schemas.microsoft.com/office/drawing/2014/main" id="{1CEECEB2-AF1B-4800-B22E-8C0D1EE9D74A}"/>
              </a:ext>
            </a:extLst>
          </p:cNvPr>
          <p:cNvSpPr/>
          <p:nvPr/>
        </p:nvSpPr>
        <p:spPr>
          <a:xfrm>
            <a:off x="1970892" y="3812037"/>
            <a:ext cx="1494255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en-US" sz="1400" b="1" dirty="0">
                <a:latin typeface="+mj-lt"/>
                <a:cs typeface="Calibri" panose="020F0502020204030204" pitchFamily="34" charset="0"/>
              </a:rPr>
              <a:t>Data Wrangling</a:t>
            </a:r>
            <a:br>
              <a:rPr lang="en-US" sz="1400" b="1" dirty="0">
                <a:latin typeface="+mj-lt"/>
                <a:cs typeface="Calibri" panose="020F0502020204030204" pitchFamily="34" charset="0"/>
              </a:rPr>
            </a:br>
            <a:r>
              <a:rPr lang="en-US" sz="1400" b="1" dirty="0">
                <a:latin typeface="+mj-lt"/>
                <a:cs typeface="Calibri" panose="020F0502020204030204" pitchFamily="34" charset="0"/>
              </a:rPr>
              <a:t>and Cleaning</a:t>
            </a:r>
          </a:p>
        </p:txBody>
      </p:sp>
      <p:sp>
        <p:nvSpPr>
          <p:cNvPr id="10" name="Freeform: Shape 9">
            <a:extLst>
              <a:ext uri="{FF2B5EF4-FFF2-40B4-BE49-F238E27FC236}">
                <a16:creationId xmlns="" xmlns:a16="http://schemas.microsoft.com/office/drawing/2014/main" id="{111155D8-B8D2-4841-A8AA-DBA4112E5EAB}"/>
              </a:ext>
            </a:extLst>
          </p:cNvPr>
          <p:cNvSpPr/>
          <p:nvPr/>
        </p:nvSpPr>
        <p:spPr>
          <a:xfrm>
            <a:off x="2154981" y="2057400"/>
            <a:ext cx="1395260" cy="1345837"/>
          </a:xfrm>
          <a:custGeom>
            <a:avLst/>
            <a:gdLst>
              <a:gd name="connsiteX0" fmla="*/ 330976 w 2497282"/>
              <a:gd name="connsiteY0" fmla="*/ 0 h 2364509"/>
              <a:gd name="connsiteX1" fmla="*/ 1654842 w 2497282"/>
              <a:gd name="connsiteY1" fmla="*/ 0 h 2364509"/>
              <a:gd name="connsiteX2" fmla="*/ 1979094 w 2497282"/>
              <a:gd name="connsiteY2" fmla="*/ 264273 h 2364509"/>
              <a:gd name="connsiteX3" fmla="*/ 1983586 w 2497282"/>
              <a:gd name="connsiteY3" fmla="*/ 308830 h 2364509"/>
              <a:gd name="connsiteX4" fmla="*/ 1985963 w 2497282"/>
              <a:gd name="connsiteY4" fmla="*/ 320606 h 2364509"/>
              <a:gd name="connsiteX5" fmla="*/ 1985963 w 2497282"/>
              <a:gd name="connsiteY5" fmla="*/ 651813 h 2364509"/>
              <a:gd name="connsiteX6" fmla="*/ 1985818 w 2497282"/>
              <a:gd name="connsiteY6" fmla="*/ 652531 h 2364509"/>
              <a:gd name="connsiteX7" fmla="*/ 1985818 w 2497282"/>
              <a:gd name="connsiteY7" fmla="*/ 657949 h 2364509"/>
              <a:gd name="connsiteX8" fmla="*/ 1984724 w 2497282"/>
              <a:gd name="connsiteY8" fmla="*/ 657949 h 2364509"/>
              <a:gd name="connsiteX9" fmla="*/ 1980349 w 2497282"/>
              <a:gd name="connsiteY9" fmla="*/ 679620 h 2364509"/>
              <a:gd name="connsiteX10" fmla="*/ 1914525 w 2497282"/>
              <a:gd name="connsiteY10" fmla="*/ 723251 h 2364509"/>
              <a:gd name="connsiteX11" fmla="*/ 1848701 w 2497282"/>
              <a:gd name="connsiteY11" fmla="*/ 679620 h 2364509"/>
              <a:gd name="connsiteX12" fmla="*/ 1844326 w 2497282"/>
              <a:gd name="connsiteY12" fmla="*/ 657949 h 2364509"/>
              <a:gd name="connsiteX13" fmla="*/ 1842311 w 2497282"/>
              <a:gd name="connsiteY13" fmla="*/ 657949 h 2364509"/>
              <a:gd name="connsiteX14" fmla="*/ 1842311 w 2497282"/>
              <a:gd name="connsiteY14" fmla="*/ 380114 h 2364509"/>
              <a:gd name="connsiteX15" fmla="*/ 1633069 w 2497282"/>
              <a:gd name="connsiteY15" fmla="*/ 170872 h 2364509"/>
              <a:gd name="connsiteX16" fmla="*/ 352748 w 2497282"/>
              <a:gd name="connsiteY16" fmla="*/ 170872 h 2364509"/>
              <a:gd name="connsiteX17" fmla="*/ 143506 w 2497282"/>
              <a:gd name="connsiteY17" fmla="*/ 380114 h 2364509"/>
              <a:gd name="connsiteX18" fmla="*/ 143506 w 2497282"/>
              <a:gd name="connsiteY18" fmla="*/ 1984393 h 2364509"/>
              <a:gd name="connsiteX19" fmla="*/ 352748 w 2497282"/>
              <a:gd name="connsiteY19" fmla="*/ 2193635 h 2364509"/>
              <a:gd name="connsiteX20" fmla="*/ 1633069 w 2497282"/>
              <a:gd name="connsiteY20" fmla="*/ 2193635 h 2364509"/>
              <a:gd name="connsiteX21" fmla="*/ 1842311 w 2497282"/>
              <a:gd name="connsiteY21" fmla="*/ 1984393 h 2364509"/>
              <a:gd name="connsiteX22" fmla="*/ 1842311 w 2497282"/>
              <a:gd name="connsiteY22" fmla="*/ 1799217 h 2364509"/>
              <a:gd name="connsiteX23" fmla="*/ 1841500 w 2497282"/>
              <a:gd name="connsiteY23" fmla="*/ 1799217 h 2364509"/>
              <a:gd name="connsiteX24" fmla="*/ 1841500 w 2497282"/>
              <a:gd name="connsiteY24" fmla="*/ 1208198 h 2364509"/>
              <a:gd name="connsiteX25" fmla="*/ 2128405 w 2497282"/>
              <a:gd name="connsiteY25" fmla="*/ 921293 h 2364509"/>
              <a:gd name="connsiteX26" fmla="*/ 2333337 w 2497282"/>
              <a:gd name="connsiteY26" fmla="*/ 921294 h 2364509"/>
              <a:gd name="connsiteX27" fmla="*/ 2333337 w 2497282"/>
              <a:gd name="connsiteY27" fmla="*/ 829399 h 2364509"/>
              <a:gd name="connsiteX28" fmla="*/ 2497282 w 2497282"/>
              <a:gd name="connsiteY28" fmla="*/ 993345 h 2364509"/>
              <a:gd name="connsiteX29" fmla="*/ 2333337 w 2497282"/>
              <a:gd name="connsiteY29" fmla="*/ 1157290 h 2364509"/>
              <a:gd name="connsiteX30" fmla="*/ 2333337 w 2497282"/>
              <a:gd name="connsiteY30" fmla="*/ 1065395 h 2364509"/>
              <a:gd name="connsiteX31" fmla="*/ 2128405 w 2497282"/>
              <a:gd name="connsiteY31" fmla="*/ 1065395 h 2364509"/>
              <a:gd name="connsiteX32" fmla="*/ 1985602 w 2497282"/>
              <a:gd name="connsiteY32" fmla="*/ 1208198 h 2364509"/>
              <a:gd name="connsiteX33" fmla="*/ 1985602 w 2497282"/>
              <a:gd name="connsiteY33" fmla="*/ 1546949 h 2364509"/>
              <a:gd name="connsiteX34" fmla="*/ 1985818 w 2497282"/>
              <a:gd name="connsiteY34" fmla="*/ 1546949 h 2364509"/>
              <a:gd name="connsiteX35" fmla="*/ 1985818 w 2497282"/>
              <a:gd name="connsiteY35" fmla="*/ 2033533 h 2364509"/>
              <a:gd name="connsiteX36" fmla="*/ 1654842 w 2497282"/>
              <a:gd name="connsiteY36" fmla="*/ 2364509 h 2364509"/>
              <a:gd name="connsiteX37" fmla="*/ 330976 w 2497282"/>
              <a:gd name="connsiteY37" fmla="*/ 2364509 h 2364509"/>
              <a:gd name="connsiteX38" fmla="*/ 0 w 2497282"/>
              <a:gd name="connsiteY38" fmla="*/ 2033533 h 2364509"/>
              <a:gd name="connsiteX39" fmla="*/ 0 w 2497282"/>
              <a:gd name="connsiteY39" fmla="*/ 330976 h 2364509"/>
              <a:gd name="connsiteX40" fmla="*/ 330976 w 2497282"/>
              <a:gd name="connsiteY40" fmla="*/ 0 h 2364509"/>
              <a:gd name="connsiteX0" fmla="*/ 330976 w 2497282"/>
              <a:gd name="connsiteY0" fmla="*/ 0 h 2364509"/>
              <a:gd name="connsiteX1" fmla="*/ 1654842 w 2497282"/>
              <a:gd name="connsiteY1" fmla="*/ 0 h 2364509"/>
              <a:gd name="connsiteX2" fmla="*/ 1979094 w 2497282"/>
              <a:gd name="connsiteY2" fmla="*/ 264273 h 2364509"/>
              <a:gd name="connsiteX3" fmla="*/ 1985963 w 2497282"/>
              <a:gd name="connsiteY3" fmla="*/ 320606 h 2364509"/>
              <a:gd name="connsiteX4" fmla="*/ 1985963 w 2497282"/>
              <a:gd name="connsiteY4" fmla="*/ 651813 h 2364509"/>
              <a:gd name="connsiteX5" fmla="*/ 1985818 w 2497282"/>
              <a:gd name="connsiteY5" fmla="*/ 652531 h 2364509"/>
              <a:gd name="connsiteX6" fmla="*/ 1985818 w 2497282"/>
              <a:gd name="connsiteY6" fmla="*/ 657949 h 2364509"/>
              <a:gd name="connsiteX7" fmla="*/ 1984724 w 2497282"/>
              <a:gd name="connsiteY7" fmla="*/ 657949 h 2364509"/>
              <a:gd name="connsiteX8" fmla="*/ 1980349 w 2497282"/>
              <a:gd name="connsiteY8" fmla="*/ 679620 h 2364509"/>
              <a:gd name="connsiteX9" fmla="*/ 1914525 w 2497282"/>
              <a:gd name="connsiteY9" fmla="*/ 723251 h 2364509"/>
              <a:gd name="connsiteX10" fmla="*/ 1848701 w 2497282"/>
              <a:gd name="connsiteY10" fmla="*/ 679620 h 2364509"/>
              <a:gd name="connsiteX11" fmla="*/ 1844326 w 2497282"/>
              <a:gd name="connsiteY11" fmla="*/ 657949 h 2364509"/>
              <a:gd name="connsiteX12" fmla="*/ 1842311 w 2497282"/>
              <a:gd name="connsiteY12" fmla="*/ 657949 h 2364509"/>
              <a:gd name="connsiteX13" fmla="*/ 1842311 w 2497282"/>
              <a:gd name="connsiteY13" fmla="*/ 380114 h 2364509"/>
              <a:gd name="connsiteX14" fmla="*/ 1633069 w 2497282"/>
              <a:gd name="connsiteY14" fmla="*/ 170872 h 2364509"/>
              <a:gd name="connsiteX15" fmla="*/ 352748 w 2497282"/>
              <a:gd name="connsiteY15" fmla="*/ 170872 h 2364509"/>
              <a:gd name="connsiteX16" fmla="*/ 143506 w 2497282"/>
              <a:gd name="connsiteY16" fmla="*/ 380114 h 2364509"/>
              <a:gd name="connsiteX17" fmla="*/ 143506 w 2497282"/>
              <a:gd name="connsiteY17" fmla="*/ 1984393 h 2364509"/>
              <a:gd name="connsiteX18" fmla="*/ 352748 w 2497282"/>
              <a:gd name="connsiteY18" fmla="*/ 2193635 h 2364509"/>
              <a:gd name="connsiteX19" fmla="*/ 1633069 w 2497282"/>
              <a:gd name="connsiteY19" fmla="*/ 2193635 h 2364509"/>
              <a:gd name="connsiteX20" fmla="*/ 1842311 w 2497282"/>
              <a:gd name="connsiteY20" fmla="*/ 1984393 h 2364509"/>
              <a:gd name="connsiteX21" fmla="*/ 1842311 w 2497282"/>
              <a:gd name="connsiteY21" fmla="*/ 1799217 h 2364509"/>
              <a:gd name="connsiteX22" fmla="*/ 1841500 w 2497282"/>
              <a:gd name="connsiteY22" fmla="*/ 1799217 h 2364509"/>
              <a:gd name="connsiteX23" fmla="*/ 1841500 w 2497282"/>
              <a:gd name="connsiteY23" fmla="*/ 1208198 h 2364509"/>
              <a:gd name="connsiteX24" fmla="*/ 2128405 w 2497282"/>
              <a:gd name="connsiteY24" fmla="*/ 921293 h 2364509"/>
              <a:gd name="connsiteX25" fmla="*/ 2333337 w 2497282"/>
              <a:gd name="connsiteY25" fmla="*/ 921294 h 2364509"/>
              <a:gd name="connsiteX26" fmla="*/ 2333337 w 2497282"/>
              <a:gd name="connsiteY26" fmla="*/ 829399 h 2364509"/>
              <a:gd name="connsiteX27" fmla="*/ 2497282 w 2497282"/>
              <a:gd name="connsiteY27" fmla="*/ 993345 h 2364509"/>
              <a:gd name="connsiteX28" fmla="*/ 2333337 w 2497282"/>
              <a:gd name="connsiteY28" fmla="*/ 1157290 h 2364509"/>
              <a:gd name="connsiteX29" fmla="*/ 2333337 w 2497282"/>
              <a:gd name="connsiteY29" fmla="*/ 1065395 h 2364509"/>
              <a:gd name="connsiteX30" fmla="*/ 2128405 w 2497282"/>
              <a:gd name="connsiteY30" fmla="*/ 1065395 h 2364509"/>
              <a:gd name="connsiteX31" fmla="*/ 1985602 w 2497282"/>
              <a:gd name="connsiteY31" fmla="*/ 1208198 h 2364509"/>
              <a:gd name="connsiteX32" fmla="*/ 1985602 w 2497282"/>
              <a:gd name="connsiteY32" fmla="*/ 1546949 h 2364509"/>
              <a:gd name="connsiteX33" fmla="*/ 1985818 w 2497282"/>
              <a:gd name="connsiteY33" fmla="*/ 1546949 h 2364509"/>
              <a:gd name="connsiteX34" fmla="*/ 1985818 w 2497282"/>
              <a:gd name="connsiteY34" fmla="*/ 2033533 h 2364509"/>
              <a:gd name="connsiteX35" fmla="*/ 1654842 w 2497282"/>
              <a:gd name="connsiteY35" fmla="*/ 2364509 h 2364509"/>
              <a:gd name="connsiteX36" fmla="*/ 330976 w 2497282"/>
              <a:gd name="connsiteY36" fmla="*/ 2364509 h 2364509"/>
              <a:gd name="connsiteX37" fmla="*/ 0 w 2497282"/>
              <a:gd name="connsiteY37" fmla="*/ 2033533 h 2364509"/>
              <a:gd name="connsiteX38" fmla="*/ 0 w 2497282"/>
              <a:gd name="connsiteY38" fmla="*/ 330976 h 2364509"/>
              <a:gd name="connsiteX39" fmla="*/ 330976 w 2497282"/>
              <a:gd name="connsiteY39" fmla="*/ 0 h 23645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2497282" h="2364509">
                <a:moveTo>
                  <a:pt x="330976" y="0"/>
                </a:moveTo>
                <a:lnTo>
                  <a:pt x="1654842" y="0"/>
                </a:lnTo>
                <a:cubicBezTo>
                  <a:pt x="1814786" y="0"/>
                  <a:pt x="1948232" y="113453"/>
                  <a:pt x="1979094" y="264273"/>
                </a:cubicBezTo>
                <a:lnTo>
                  <a:pt x="1985963" y="320606"/>
                </a:lnTo>
                <a:lnTo>
                  <a:pt x="1985963" y="651813"/>
                </a:lnTo>
                <a:cubicBezTo>
                  <a:pt x="1985915" y="652052"/>
                  <a:pt x="1985866" y="652292"/>
                  <a:pt x="1985818" y="652531"/>
                </a:cubicBezTo>
                <a:lnTo>
                  <a:pt x="1985818" y="657949"/>
                </a:lnTo>
                <a:lnTo>
                  <a:pt x="1984724" y="657949"/>
                </a:lnTo>
                <a:lnTo>
                  <a:pt x="1980349" y="679620"/>
                </a:lnTo>
                <a:cubicBezTo>
                  <a:pt x="1969504" y="705260"/>
                  <a:pt x="1944116" y="723251"/>
                  <a:pt x="1914525" y="723251"/>
                </a:cubicBezTo>
                <a:cubicBezTo>
                  <a:pt x="1884935" y="723251"/>
                  <a:pt x="1859546" y="705260"/>
                  <a:pt x="1848701" y="679620"/>
                </a:cubicBezTo>
                <a:lnTo>
                  <a:pt x="1844326" y="657949"/>
                </a:lnTo>
                <a:lnTo>
                  <a:pt x="1842311" y="657949"/>
                </a:lnTo>
                <a:lnTo>
                  <a:pt x="1842311" y="380114"/>
                </a:lnTo>
                <a:cubicBezTo>
                  <a:pt x="1842311" y="264553"/>
                  <a:pt x="1748630" y="170872"/>
                  <a:pt x="1633069" y="170872"/>
                </a:cubicBezTo>
                <a:lnTo>
                  <a:pt x="352748" y="170872"/>
                </a:lnTo>
                <a:cubicBezTo>
                  <a:pt x="237187" y="170872"/>
                  <a:pt x="143506" y="264553"/>
                  <a:pt x="143506" y="380114"/>
                </a:cubicBezTo>
                <a:lnTo>
                  <a:pt x="143506" y="1984393"/>
                </a:lnTo>
                <a:cubicBezTo>
                  <a:pt x="143506" y="2099954"/>
                  <a:pt x="237187" y="2193635"/>
                  <a:pt x="352748" y="2193635"/>
                </a:cubicBezTo>
                <a:lnTo>
                  <a:pt x="1633069" y="2193635"/>
                </a:lnTo>
                <a:cubicBezTo>
                  <a:pt x="1748630" y="2193635"/>
                  <a:pt x="1842311" y="2099954"/>
                  <a:pt x="1842311" y="1984393"/>
                </a:cubicBezTo>
                <a:lnTo>
                  <a:pt x="1842311" y="1799217"/>
                </a:lnTo>
                <a:lnTo>
                  <a:pt x="1841500" y="1799217"/>
                </a:lnTo>
                <a:lnTo>
                  <a:pt x="1841500" y="1208198"/>
                </a:lnTo>
                <a:cubicBezTo>
                  <a:pt x="1841500" y="1049745"/>
                  <a:pt x="1969952" y="921293"/>
                  <a:pt x="2128405" y="921293"/>
                </a:cubicBezTo>
                <a:lnTo>
                  <a:pt x="2333337" y="921294"/>
                </a:lnTo>
                <a:lnTo>
                  <a:pt x="2333337" y="829399"/>
                </a:lnTo>
                <a:lnTo>
                  <a:pt x="2497282" y="993345"/>
                </a:lnTo>
                <a:lnTo>
                  <a:pt x="2333337" y="1157290"/>
                </a:lnTo>
                <a:lnTo>
                  <a:pt x="2333337" y="1065395"/>
                </a:lnTo>
                <a:lnTo>
                  <a:pt x="2128405" y="1065395"/>
                </a:lnTo>
                <a:cubicBezTo>
                  <a:pt x="2049537" y="1065395"/>
                  <a:pt x="1985602" y="1129330"/>
                  <a:pt x="1985602" y="1208198"/>
                </a:cubicBezTo>
                <a:lnTo>
                  <a:pt x="1985602" y="1546949"/>
                </a:lnTo>
                <a:lnTo>
                  <a:pt x="1985818" y="1546949"/>
                </a:lnTo>
                <a:lnTo>
                  <a:pt x="1985818" y="2033533"/>
                </a:lnTo>
                <a:cubicBezTo>
                  <a:pt x="1985818" y="2216326"/>
                  <a:pt x="1837635" y="2364509"/>
                  <a:pt x="1654842" y="2364509"/>
                </a:cubicBezTo>
                <a:lnTo>
                  <a:pt x="330976" y="2364509"/>
                </a:lnTo>
                <a:cubicBezTo>
                  <a:pt x="148183" y="2364509"/>
                  <a:pt x="0" y="2216326"/>
                  <a:pt x="0" y="2033533"/>
                </a:cubicBezTo>
                <a:lnTo>
                  <a:pt x="0" y="330976"/>
                </a:lnTo>
                <a:cubicBezTo>
                  <a:pt x="0" y="148183"/>
                  <a:pt x="148183" y="0"/>
                  <a:pt x="330976" y="0"/>
                </a:cubicBezTo>
                <a:close/>
              </a:path>
            </a:pathLst>
          </a:cu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5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DIN Alternate" panose="020B0500000000000000"/>
              <a:ea typeface="+mn-ea"/>
              <a:cs typeface="Arial"/>
            </a:endParaRPr>
          </a:p>
        </p:txBody>
      </p:sp>
      <p:cxnSp>
        <p:nvCxnSpPr>
          <p:cNvPr id="11" name="Straight Connector 10">
            <a:extLst>
              <a:ext uri="{FF2B5EF4-FFF2-40B4-BE49-F238E27FC236}">
                <a16:creationId xmlns="" xmlns:a16="http://schemas.microsoft.com/office/drawing/2014/main" id="{5D39A396-84BE-4611-9E91-7F0EB13AFAEE}"/>
              </a:ext>
            </a:extLst>
          </p:cNvPr>
          <p:cNvCxnSpPr>
            <a:cxnSpLocks/>
          </p:cNvCxnSpPr>
          <p:nvPr/>
        </p:nvCxnSpPr>
        <p:spPr>
          <a:xfrm>
            <a:off x="3831223" y="3709013"/>
            <a:ext cx="1159703" cy="0"/>
          </a:xfrm>
          <a:prstGeom prst="line">
            <a:avLst/>
          </a:prstGeom>
          <a:noFill/>
          <a:ln w="19050" cap="rnd" cmpd="sng" algn="ctr">
            <a:solidFill>
              <a:schemeClr val="accent1"/>
            </a:solidFill>
            <a:prstDash val="solid"/>
            <a:round/>
          </a:ln>
          <a:effectLst/>
        </p:spPr>
      </p:cxnSp>
      <p:cxnSp>
        <p:nvCxnSpPr>
          <p:cNvPr id="12" name="Straight Connector 11">
            <a:extLst>
              <a:ext uri="{FF2B5EF4-FFF2-40B4-BE49-F238E27FC236}">
                <a16:creationId xmlns="" xmlns:a16="http://schemas.microsoft.com/office/drawing/2014/main" id="{8DCEA140-8FFE-44B9-8B9A-2048BEE08CCC}"/>
              </a:ext>
            </a:extLst>
          </p:cNvPr>
          <p:cNvCxnSpPr>
            <a:cxnSpLocks/>
          </p:cNvCxnSpPr>
          <p:nvPr/>
        </p:nvCxnSpPr>
        <p:spPr>
          <a:xfrm flipV="1">
            <a:off x="4411075" y="3403237"/>
            <a:ext cx="0" cy="279135"/>
          </a:xfrm>
          <a:prstGeom prst="line">
            <a:avLst/>
          </a:prstGeom>
          <a:noFill/>
          <a:ln w="15875" cap="rnd" cmpd="sng" algn="ctr">
            <a:solidFill>
              <a:schemeClr val="accent1"/>
            </a:solidFill>
            <a:prstDash val="sysDot"/>
            <a:round/>
          </a:ln>
          <a:effectLst/>
        </p:spPr>
      </p:cxnSp>
      <p:sp>
        <p:nvSpPr>
          <p:cNvPr id="13" name="Rectangle 12">
            <a:extLst>
              <a:ext uri="{FF2B5EF4-FFF2-40B4-BE49-F238E27FC236}">
                <a16:creationId xmlns="" xmlns:a16="http://schemas.microsoft.com/office/drawing/2014/main" id="{E96A7851-A9AE-408B-AE78-E90E49F20D76}"/>
              </a:ext>
            </a:extLst>
          </p:cNvPr>
          <p:cNvSpPr/>
          <p:nvPr/>
        </p:nvSpPr>
        <p:spPr>
          <a:xfrm>
            <a:off x="3607811" y="3812037"/>
            <a:ext cx="1606530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en-US" sz="1400" b="1" dirty="0">
                <a:latin typeface="+mj-lt"/>
                <a:cs typeface="Calibri" panose="020F0502020204030204" pitchFamily="34" charset="0"/>
              </a:rPr>
              <a:t>Data Exploration</a:t>
            </a:r>
            <a:br>
              <a:rPr lang="en-US" sz="1400" b="1" dirty="0">
                <a:latin typeface="+mj-lt"/>
                <a:cs typeface="Calibri" panose="020F0502020204030204" pitchFamily="34" charset="0"/>
              </a:rPr>
            </a:br>
            <a:r>
              <a:rPr lang="en-US" sz="1400" b="1" dirty="0">
                <a:latin typeface="+mj-lt"/>
                <a:cs typeface="Calibri" panose="020F0502020204030204" pitchFamily="34" charset="0"/>
              </a:rPr>
              <a:t>&amp; Analysis</a:t>
            </a:r>
          </a:p>
        </p:txBody>
      </p:sp>
      <p:sp>
        <p:nvSpPr>
          <p:cNvPr id="14" name="Freeform: Shape 13">
            <a:extLst>
              <a:ext uri="{FF2B5EF4-FFF2-40B4-BE49-F238E27FC236}">
                <a16:creationId xmlns="" xmlns:a16="http://schemas.microsoft.com/office/drawing/2014/main" id="{8E4F353A-8D10-4277-B3E6-FB41920AC883}"/>
              </a:ext>
            </a:extLst>
          </p:cNvPr>
          <p:cNvSpPr/>
          <p:nvPr/>
        </p:nvSpPr>
        <p:spPr>
          <a:xfrm>
            <a:off x="3848038" y="2057400"/>
            <a:ext cx="1395263" cy="1345837"/>
          </a:xfrm>
          <a:custGeom>
            <a:avLst/>
            <a:gdLst>
              <a:gd name="connsiteX0" fmla="*/ 330976 w 2497282"/>
              <a:gd name="connsiteY0" fmla="*/ 0 h 2364509"/>
              <a:gd name="connsiteX1" fmla="*/ 1654842 w 2497282"/>
              <a:gd name="connsiteY1" fmla="*/ 0 h 2364509"/>
              <a:gd name="connsiteX2" fmla="*/ 1979094 w 2497282"/>
              <a:gd name="connsiteY2" fmla="*/ 264273 h 2364509"/>
              <a:gd name="connsiteX3" fmla="*/ 1983586 w 2497282"/>
              <a:gd name="connsiteY3" fmla="*/ 308830 h 2364509"/>
              <a:gd name="connsiteX4" fmla="*/ 1985963 w 2497282"/>
              <a:gd name="connsiteY4" fmla="*/ 320606 h 2364509"/>
              <a:gd name="connsiteX5" fmla="*/ 1985963 w 2497282"/>
              <a:gd name="connsiteY5" fmla="*/ 651813 h 2364509"/>
              <a:gd name="connsiteX6" fmla="*/ 1985818 w 2497282"/>
              <a:gd name="connsiteY6" fmla="*/ 652531 h 2364509"/>
              <a:gd name="connsiteX7" fmla="*/ 1985818 w 2497282"/>
              <a:gd name="connsiteY7" fmla="*/ 657949 h 2364509"/>
              <a:gd name="connsiteX8" fmla="*/ 1984724 w 2497282"/>
              <a:gd name="connsiteY8" fmla="*/ 657949 h 2364509"/>
              <a:gd name="connsiteX9" fmla="*/ 1980349 w 2497282"/>
              <a:gd name="connsiteY9" fmla="*/ 679620 h 2364509"/>
              <a:gd name="connsiteX10" fmla="*/ 1914525 w 2497282"/>
              <a:gd name="connsiteY10" fmla="*/ 723251 h 2364509"/>
              <a:gd name="connsiteX11" fmla="*/ 1848701 w 2497282"/>
              <a:gd name="connsiteY11" fmla="*/ 679620 h 2364509"/>
              <a:gd name="connsiteX12" fmla="*/ 1844326 w 2497282"/>
              <a:gd name="connsiteY12" fmla="*/ 657949 h 2364509"/>
              <a:gd name="connsiteX13" fmla="*/ 1842311 w 2497282"/>
              <a:gd name="connsiteY13" fmla="*/ 657949 h 2364509"/>
              <a:gd name="connsiteX14" fmla="*/ 1842311 w 2497282"/>
              <a:gd name="connsiteY14" fmla="*/ 380114 h 2364509"/>
              <a:gd name="connsiteX15" fmla="*/ 1633069 w 2497282"/>
              <a:gd name="connsiteY15" fmla="*/ 170872 h 2364509"/>
              <a:gd name="connsiteX16" fmla="*/ 352748 w 2497282"/>
              <a:gd name="connsiteY16" fmla="*/ 170872 h 2364509"/>
              <a:gd name="connsiteX17" fmla="*/ 143506 w 2497282"/>
              <a:gd name="connsiteY17" fmla="*/ 380114 h 2364509"/>
              <a:gd name="connsiteX18" fmla="*/ 143506 w 2497282"/>
              <a:gd name="connsiteY18" fmla="*/ 1984393 h 2364509"/>
              <a:gd name="connsiteX19" fmla="*/ 352748 w 2497282"/>
              <a:gd name="connsiteY19" fmla="*/ 2193635 h 2364509"/>
              <a:gd name="connsiteX20" fmla="*/ 1633069 w 2497282"/>
              <a:gd name="connsiteY20" fmla="*/ 2193635 h 2364509"/>
              <a:gd name="connsiteX21" fmla="*/ 1842311 w 2497282"/>
              <a:gd name="connsiteY21" fmla="*/ 1984393 h 2364509"/>
              <a:gd name="connsiteX22" fmla="*/ 1842311 w 2497282"/>
              <a:gd name="connsiteY22" fmla="*/ 1799217 h 2364509"/>
              <a:gd name="connsiteX23" fmla="*/ 1841500 w 2497282"/>
              <a:gd name="connsiteY23" fmla="*/ 1799217 h 2364509"/>
              <a:gd name="connsiteX24" fmla="*/ 1841500 w 2497282"/>
              <a:gd name="connsiteY24" fmla="*/ 1208198 h 2364509"/>
              <a:gd name="connsiteX25" fmla="*/ 2128405 w 2497282"/>
              <a:gd name="connsiteY25" fmla="*/ 921293 h 2364509"/>
              <a:gd name="connsiteX26" fmla="*/ 2333337 w 2497282"/>
              <a:gd name="connsiteY26" fmla="*/ 921294 h 2364509"/>
              <a:gd name="connsiteX27" fmla="*/ 2333337 w 2497282"/>
              <a:gd name="connsiteY27" fmla="*/ 829399 h 2364509"/>
              <a:gd name="connsiteX28" fmla="*/ 2497282 w 2497282"/>
              <a:gd name="connsiteY28" fmla="*/ 993345 h 2364509"/>
              <a:gd name="connsiteX29" fmla="*/ 2333337 w 2497282"/>
              <a:gd name="connsiteY29" fmla="*/ 1157290 h 2364509"/>
              <a:gd name="connsiteX30" fmla="*/ 2333337 w 2497282"/>
              <a:gd name="connsiteY30" fmla="*/ 1065395 h 2364509"/>
              <a:gd name="connsiteX31" fmla="*/ 2128405 w 2497282"/>
              <a:gd name="connsiteY31" fmla="*/ 1065395 h 2364509"/>
              <a:gd name="connsiteX32" fmla="*/ 1985602 w 2497282"/>
              <a:gd name="connsiteY32" fmla="*/ 1208198 h 2364509"/>
              <a:gd name="connsiteX33" fmla="*/ 1985602 w 2497282"/>
              <a:gd name="connsiteY33" fmla="*/ 1546949 h 2364509"/>
              <a:gd name="connsiteX34" fmla="*/ 1985818 w 2497282"/>
              <a:gd name="connsiteY34" fmla="*/ 1546949 h 2364509"/>
              <a:gd name="connsiteX35" fmla="*/ 1985818 w 2497282"/>
              <a:gd name="connsiteY35" fmla="*/ 2033533 h 2364509"/>
              <a:gd name="connsiteX36" fmla="*/ 1654842 w 2497282"/>
              <a:gd name="connsiteY36" fmla="*/ 2364509 h 2364509"/>
              <a:gd name="connsiteX37" fmla="*/ 330976 w 2497282"/>
              <a:gd name="connsiteY37" fmla="*/ 2364509 h 2364509"/>
              <a:gd name="connsiteX38" fmla="*/ 0 w 2497282"/>
              <a:gd name="connsiteY38" fmla="*/ 2033533 h 2364509"/>
              <a:gd name="connsiteX39" fmla="*/ 0 w 2497282"/>
              <a:gd name="connsiteY39" fmla="*/ 330976 h 2364509"/>
              <a:gd name="connsiteX40" fmla="*/ 330976 w 2497282"/>
              <a:gd name="connsiteY40" fmla="*/ 0 h 2364509"/>
              <a:gd name="connsiteX0" fmla="*/ 330976 w 2497282"/>
              <a:gd name="connsiteY0" fmla="*/ 0 h 2364509"/>
              <a:gd name="connsiteX1" fmla="*/ 1654842 w 2497282"/>
              <a:gd name="connsiteY1" fmla="*/ 0 h 2364509"/>
              <a:gd name="connsiteX2" fmla="*/ 1979094 w 2497282"/>
              <a:gd name="connsiteY2" fmla="*/ 264273 h 2364509"/>
              <a:gd name="connsiteX3" fmla="*/ 1985963 w 2497282"/>
              <a:gd name="connsiteY3" fmla="*/ 320606 h 2364509"/>
              <a:gd name="connsiteX4" fmla="*/ 1985963 w 2497282"/>
              <a:gd name="connsiteY4" fmla="*/ 651813 h 2364509"/>
              <a:gd name="connsiteX5" fmla="*/ 1985818 w 2497282"/>
              <a:gd name="connsiteY5" fmla="*/ 652531 h 2364509"/>
              <a:gd name="connsiteX6" fmla="*/ 1985818 w 2497282"/>
              <a:gd name="connsiteY6" fmla="*/ 657949 h 2364509"/>
              <a:gd name="connsiteX7" fmla="*/ 1984724 w 2497282"/>
              <a:gd name="connsiteY7" fmla="*/ 657949 h 2364509"/>
              <a:gd name="connsiteX8" fmla="*/ 1980349 w 2497282"/>
              <a:gd name="connsiteY8" fmla="*/ 679620 h 2364509"/>
              <a:gd name="connsiteX9" fmla="*/ 1914525 w 2497282"/>
              <a:gd name="connsiteY9" fmla="*/ 723251 h 2364509"/>
              <a:gd name="connsiteX10" fmla="*/ 1848701 w 2497282"/>
              <a:gd name="connsiteY10" fmla="*/ 679620 h 2364509"/>
              <a:gd name="connsiteX11" fmla="*/ 1844326 w 2497282"/>
              <a:gd name="connsiteY11" fmla="*/ 657949 h 2364509"/>
              <a:gd name="connsiteX12" fmla="*/ 1842311 w 2497282"/>
              <a:gd name="connsiteY12" fmla="*/ 657949 h 2364509"/>
              <a:gd name="connsiteX13" fmla="*/ 1842311 w 2497282"/>
              <a:gd name="connsiteY13" fmla="*/ 380114 h 2364509"/>
              <a:gd name="connsiteX14" fmla="*/ 1633069 w 2497282"/>
              <a:gd name="connsiteY14" fmla="*/ 170872 h 2364509"/>
              <a:gd name="connsiteX15" fmla="*/ 352748 w 2497282"/>
              <a:gd name="connsiteY15" fmla="*/ 170872 h 2364509"/>
              <a:gd name="connsiteX16" fmla="*/ 143506 w 2497282"/>
              <a:gd name="connsiteY16" fmla="*/ 380114 h 2364509"/>
              <a:gd name="connsiteX17" fmla="*/ 143506 w 2497282"/>
              <a:gd name="connsiteY17" fmla="*/ 1984393 h 2364509"/>
              <a:gd name="connsiteX18" fmla="*/ 352748 w 2497282"/>
              <a:gd name="connsiteY18" fmla="*/ 2193635 h 2364509"/>
              <a:gd name="connsiteX19" fmla="*/ 1633069 w 2497282"/>
              <a:gd name="connsiteY19" fmla="*/ 2193635 h 2364509"/>
              <a:gd name="connsiteX20" fmla="*/ 1842311 w 2497282"/>
              <a:gd name="connsiteY20" fmla="*/ 1984393 h 2364509"/>
              <a:gd name="connsiteX21" fmla="*/ 1842311 w 2497282"/>
              <a:gd name="connsiteY21" fmla="*/ 1799217 h 2364509"/>
              <a:gd name="connsiteX22" fmla="*/ 1841500 w 2497282"/>
              <a:gd name="connsiteY22" fmla="*/ 1799217 h 2364509"/>
              <a:gd name="connsiteX23" fmla="*/ 1841500 w 2497282"/>
              <a:gd name="connsiteY23" fmla="*/ 1208198 h 2364509"/>
              <a:gd name="connsiteX24" fmla="*/ 2128405 w 2497282"/>
              <a:gd name="connsiteY24" fmla="*/ 921293 h 2364509"/>
              <a:gd name="connsiteX25" fmla="*/ 2333337 w 2497282"/>
              <a:gd name="connsiteY25" fmla="*/ 921294 h 2364509"/>
              <a:gd name="connsiteX26" fmla="*/ 2333337 w 2497282"/>
              <a:gd name="connsiteY26" fmla="*/ 829399 h 2364509"/>
              <a:gd name="connsiteX27" fmla="*/ 2497282 w 2497282"/>
              <a:gd name="connsiteY27" fmla="*/ 993345 h 2364509"/>
              <a:gd name="connsiteX28" fmla="*/ 2333337 w 2497282"/>
              <a:gd name="connsiteY28" fmla="*/ 1157290 h 2364509"/>
              <a:gd name="connsiteX29" fmla="*/ 2333337 w 2497282"/>
              <a:gd name="connsiteY29" fmla="*/ 1065395 h 2364509"/>
              <a:gd name="connsiteX30" fmla="*/ 2128405 w 2497282"/>
              <a:gd name="connsiteY30" fmla="*/ 1065395 h 2364509"/>
              <a:gd name="connsiteX31" fmla="*/ 1985602 w 2497282"/>
              <a:gd name="connsiteY31" fmla="*/ 1208198 h 2364509"/>
              <a:gd name="connsiteX32" fmla="*/ 1985602 w 2497282"/>
              <a:gd name="connsiteY32" fmla="*/ 1546949 h 2364509"/>
              <a:gd name="connsiteX33" fmla="*/ 1985818 w 2497282"/>
              <a:gd name="connsiteY33" fmla="*/ 1546949 h 2364509"/>
              <a:gd name="connsiteX34" fmla="*/ 1985818 w 2497282"/>
              <a:gd name="connsiteY34" fmla="*/ 2033533 h 2364509"/>
              <a:gd name="connsiteX35" fmla="*/ 1654842 w 2497282"/>
              <a:gd name="connsiteY35" fmla="*/ 2364509 h 2364509"/>
              <a:gd name="connsiteX36" fmla="*/ 330976 w 2497282"/>
              <a:gd name="connsiteY36" fmla="*/ 2364509 h 2364509"/>
              <a:gd name="connsiteX37" fmla="*/ 0 w 2497282"/>
              <a:gd name="connsiteY37" fmla="*/ 2033533 h 2364509"/>
              <a:gd name="connsiteX38" fmla="*/ 0 w 2497282"/>
              <a:gd name="connsiteY38" fmla="*/ 330976 h 2364509"/>
              <a:gd name="connsiteX39" fmla="*/ 330976 w 2497282"/>
              <a:gd name="connsiteY39" fmla="*/ 0 h 23645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2497282" h="2364509">
                <a:moveTo>
                  <a:pt x="330976" y="0"/>
                </a:moveTo>
                <a:lnTo>
                  <a:pt x="1654842" y="0"/>
                </a:lnTo>
                <a:cubicBezTo>
                  <a:pt x="1814786" y="0"/>
                  <a:pt x="1948232" y="113453"/>
                  <a:pt x="1979094" y="264273"/>
                </a:cubicBezTo>
                <a:lnTo>
                  <a:pt x="1985963" y="320606"/>
                </a:lnTo>
                <a:lnTo>
                  <a:pt x="1985963" y="651813"/>
                </a:lnTo>
                <a:cubicBezTo>
                  <a:pt x="1985915" y="652052"/>
                  <a:pt x="1985866" y="652292"/>
                  <a:pt x="1985818" y="652531"/>
                </a:cubicBezTo>
                <a:lnTo>
                  <a:pt x="1985818" y="657949"/>
                </a:lnTo>
                <a:lnTo>
                  <a:pt x="1984724" y="657949"/>
                </a:lnTo>
                <a:lnTo>
                  <a:pt x="1980349" y="679620"/>
                </a:lnTo>
                <a:cubicBezTo>
                  <a:pt x="1969504" y="705260"/>
                  <a:pt x="1944116" y="723251"/>
                  <a:pt x="1914525" y="723251"/>
                </a:cubicBezTo>
                <a:cubicBezTo>
                  <a:pt x="1884935" y="723251"/>
                  <a:pt x="1859546" y="705260"/>
                  <a:pt x="1848701" y="679620"/>
                </a:cubicBezTo>
                <a:lnTo>
                  <a:pt x="1844326" y="657949"/>
                </a:lnTo>
                <a:lnTo>
                  <a:pt x="1842311" y="657949"/>
                </a:lnTo>
                <a:lnTo>
                  <a:pt x="1842311" y="380114"/>
                </a:lnTo>
                <a:cubicBezTo>
                  <a:pt x="1842311" y="264553"/>
                  <a:pt x="1748630" y="170872"/>
                  <a:pt x="1633069" y="170872"/>
                </a:cubicBezTo>
                <a:lnTo>
                  <a:pt x="352748" y="170872"/>
                </a:lnTo>
                <a:cubicBezTo>
                  <a:pt x="237187" y="170872"/>
                  <a:pt x="143506" y="264553"/>
                  <a:pt x="143506" y="380114"/>
                </a:cubicBezTo>
                <a:lnTo>
                  <a:pt x="143506" y="1984393"/>
                </a:lnTo>
                <a:cubicBezTo>
                  <a:pt x="143506" y="2099954"/>
                  <a:pt x="237187" y="2193635"/>
                  <a:pt x="352748" y="2193635"/>
                </a:cubicBezTo>
                <a:lnTo>
                  <a:pt x="1633069" y="2193635"/>
                </a:lnTo>
                <a:cubicBezTo>
                  <a:pt x="1748630" y="2193635"/>
                  <a:pt x="1842311" y="2099954"/>
                  <a:pt x="1842311" y="1984393"/>
                </a:cubicBezTo>
                <a:lnTo>
                  <a:pt x="1842311" y="1799217"/>
                </a:lnTo>
                <a:lnTo>
                  <a:pt x="1841500" y="1799217"/>
                </a:lnTo>
                <a:lnTo>
                  <a:pt x="1841500" y="1208198"/>
                </a:lnTo>
                <a:cubicBezTo>
                  <a:pt x="1841500" y="1049745"/>
                  <a:pt x="1969952" y="921293"/>
                  <a:pt x="2128405" y="921293"/>
                </a:cubicBezTo>
                <a:lnTo>
                  <a:pt x="2333337" y="921294"/>
                </a:lnTo>
                <a:lnTo>
                  <a:pt x="2333337" y="829399"/>
                </a:lnTo>
                <a:lnTo>
                  <a:pt x="2497282" y="993345"/>
                </a:lnTo>
                <a:lnTo>
                  <a:pt x="2333337" y="1157290"/>
                </a:lnTo>
                <a:lnTo>
                  <a:pt x="2333337" y="1065395"/>
                </a:lnTo>
                <a:lnTo>
                  <a:pt x="2128405" y="1065395"/>
                </a:lnTo>
                <a:cubicBezTo>
                  <a:pt x="2049537" y="1065395"/>
                  <a:pt x="1985602" y="1129330"/>
                  <a:pt x="1985602" y="1208198"/>
                </a:cubicBezTo>
                <a:lnTo>
                  <a:pt x="1985602" y="1546949"/>
                </a:lnTo>
                <a:lnTo>
                  <a:pt x="1985818" y="1546949"/>
                </a:lnTo>
                <a:lnTo>
                  <a:pt x="1985818" y="2033533"/>
                </a:lnTo>
                <a:cubicBezTo>
                  <a:pt x="1985818" y="2216326"/>
                  <a:pt x="1837635" y="2364509"/>
                  <a:pt x="1654842" y="2364509"/>
                </a:cubicBezTo>
                <a:lnTo>
                  <a:pt x="330976" y="2364509"/>
                </a:lnTo>
                <a:cubicBezTo>
                  <a:pt x="148183" y="2364509"/>
                  <a:pt x="0" y="2216326"/>
                  <a:pt x="0" y="2033533"/>
                </a:cubicBezTo>
                <a:lnTo>
                  <a:pt x="0" y="330976"/>
                </a:lnTo>
                <a:cubicBezTo>
                  <a:pt x="0" y="148183"/>
                  <a:pt x="148183" y="0"/>
                  <a:pt x="330976" y="0"/>
                </a:cubicBezTo>
                <a:close/>
              </a:path>
            </a:pathLst>
          </a:cu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5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DIN Alternate" panose="020B0500000000000000"/>
              <a:ea typeface="+mn-ea"/>
              <a:cs typeface="Arial"/>
            </a:endParaRPr>
          </a:p>
        </p:txBody>
      </p:sp>
      <p:cxnSp>
        <p:nvCxnSpPr>
          <p:cNvPr id="15" name="Straight Connector 14">
            <a:extLst>
              <a:ext uri="{FF2B5EF4-FFF2-40B4-BE49-F238E27FC236}">
                <a16:creationId xmlns="" xmlns:a16="http://schemas.microsoft.com/office/drawing/2014/main" id="{BE8D42C8-77C1-49A6-B498-E0A2E1CBA09B}"/>
              </a:ext>
            </a:extLst>
          </p:cNvPr>
          <p:cNvCxnSpPr>
            <a:cxnSpLocks/>
          </p:cNvCxnSpPr>
          <p:nvPr/>
        </p:nvCxnSpPr>
        <p:spPr>
          <a:xfrm>
            <a:off x="5522515" y="3709015"/>
            <a:ext cx="1159702" cy="0"/>
          </a:xfrm>
          <a:prstGeom prst="line">
            <a:avLst/>
          </a:prstGeom>
          <a:noFill/>
          <a:ln w="19050" cap="rnd" cmpd="sng" algn="ctr">
            <a:solidFill>
              <a:schemeClr val="accent1"/>
            </a:solidFill>
            <a:prstDash val="solid"/>
            <a:round/>
          </a:ln>
          <a:effectLst/>
        </p:spPr>
      </p:cxnSp>
      <p:cxnSp>
        <p:nvCxnSpPr>
          <p:cNvPr id="16" name="Straight Connector 15">
            <a:extLst>
              <a:ext uri="{FF2B5EF4-FFF2-40B4-BE49-F238E27FC236}">
                <a16:creationId xmlns="" xmlns:a16="http://schemas.microsoft.com/office/drawing/2014/main" id="{16756F41-EAC1-44A4-8651-0AE38C30C7DA}"/>
              </a:ext>
            </a:extLst>
          </p:cNvPr>
          <p:cNvCxnSpPr>
            <a:cxnSpLocks/>
          </p:cNvCxnSpPr>
          <p:nvPr/>
        </p:nvCxnSpPr>
        <p:spPr>
          <a:xfrm flipV="1">
            <a:off x="6102366" y="3403239"/>
            <a:ext cx="0" cy="279135"/>
          </a:xfrm>
          <a:prstGeom prst="line">
            <a:avLst/>
          </a:prstGeom>
          <a:noFill/>
          <a:ln w="15875" cap="rnd" cmpd="sng" algn="ctr">
            <a:solidFill>
              <a:schemeClr val="accent1"/>
            </a:solidFill>
            <a:prstDash val="sysDot"/>
            <a:round/>
          </a:ln>
          <a:effectLst/>
        </p:spPr>
      </p:cxnSp>
      <p:sp>
        <p:nvSpPr>
          <p:cNvPr id="17" name="Rectangle 16">
            <a:extLst>
              <a:ext uri="{FF2B5EF4-FFF2-40B4-BE49-F238E27FC236}">
                <a16:creationId xmlns="" xmlns:a16="http://schemas.microsoft.com/office/drawing/2014/main" id="{A65F8D7A-3A6F-4E01-9187-24CD34DC2794}"/>
              </a:ext>
            </a:extLst>
          </p:cNvPr>
          <p:cNvSpPr/>
          <p:nvPr/>
        </p:nvSpPr>
        <p:spPr>
          <a:xfrm>
            <a:off x="5468219" y="3812038"/>
            <a:ext cx="1268296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en-US" sz="1400" b="1" dirty="0">
                <a:latin typeface="+mj-lt"/>
                <a:cs typeface="Calibri" panose="020F0502020204030204" pitchFamily="34" charset="0"/>
              </a:rPr>
              <a:t>Feature</a:t>
            </a:r>
            <a:br>
              <a:rPr lang="en-US" sz="1400" b="1" dirty="0">
                <a:latin typeface="+mj-lt"/>
                <a:cs typeface="Calibri" panose="020F0502020204030204" pitchFamily="34" charset="0"/>
              </a:rPr>
            </a:br>
            <a:r>
              <a:rPr lang="en-US" sz="1400" b="1" dirty="0">
                <a:latin typeface="+mj-lt"/>
                <a:cs typeface="Calibri" panose="020F0502020204030204" pitchFamily="34" charset="0"/>
              </a:rPr>
              <a:t>Engineering </a:t>
            </a:r>
          </a:p>
        </p:txBody>
      </p:sp>
      <p:sp>
        <p:nvSpPr>
          <p:cNvPr id="18" name="Freeform: Shape 17">
            <a:extLst>
              <a:ext uri="{FF2B5EF4-FFF2-40B4-BE49-F238E27FC236}">
                <a16:creationId xmlns="" xmlns:a16="http://schemas.microsoft.com/office/drawing/2014/main" id="{46E118F2-96EC-466F-981F-BD5905A6C723}"/>
              </a:ext>
            </a:extLst>
          </p:cNvPr>
          <p:cNvSpPr/>
          <p:nvPr/>
        </p:nvSpPr>
        <p:spPr>
          <a:xfrm>
            <a:off x="5550396" y="2057399"/>
            <a:ext cx="1395261" cy="1345837"/>
          </a:xfrm>
          <a:custGeom>
            <a:avLst/>
            <a:gdLst>
              <a:gd name="connsiteX0" fmla="*/ 330976 w 2497282"/>
              <a:gd name="connsiteY0" fmla="*/ 0 h 2364509"/>
              <a:gd name="connsiteX1" fmla="*/ 1654842 w 2497282"/>
              <a:gd name="connsiteY1" fmla="*/ 0 h 2364509"/>
              <a:gd name="connsiteX2" fmla="*/ 1979094 w 2497282"/>
              <a:gd name="connsiteY2" fmla="*/ 264273 h 2364509"/>
              <a:gd name="connsiteX3" fmla="*/ 1983586 w 2497282"/>
              <a:gd name="connsiteY3" fmla="*/ 308830 h 2364509"/>
              <a:gd name="connsiteX4" fmla="*/ 1985963 w 2497282"/>
              <a:gd name="connsiteY4" fmla="*/ 320606 h 2364509"/>
              <a:gd name="connsiteX5" fmla="*/ 1985963 w 2497282"/>
              <a:gd name="connsiteY5" fmla="*/ 651813 h 2364509"/>
              <a:gd name="connsiteX6" fmla="*/ 1985818 w 2497282"/>
              <a:gd name="connsiteY6" fmla="*/ 652531 h 2364509"/>
              <a:gd name="connsiteX7" fmla="*/ 1985818 w 2497282"/>
              <a:gd name="connsiteY7" fmla="*/ 657949 h 2364509"/>
              <a:gd name="connsiteX8" fmla="*/ 1984724 w 2497282"/>
              <a:gd name="connsiteY8" fmla="*/ 657949 h 2364509"/>
              <a:gd name="connsiteX9" fmla="*/ 1980349 w 2497282"/>
              <a:gd name="connsiteY9" fmla="*/ 679620 h 2364509"/>
              <a:gd name="connsiteX10" fmla="*/ 1914525 w 2497282"/>
              <a:gd name="connsiteY10" fmla="*/ 723251 h 2364509"/>
              <a:gd name="connsiteX11" fmla="*/ 1848701 w 2497282"/>
              <a:gd name="connsiteY11" fmla="*/ 679620 h 2364509"/>
              <a:gd name="connsiteX12" fmla="*/ 1844326 w 2497282"/>
              <a:gd name="connsiteY12" fmla="*/ 657949 h 2364509"/>
              <a:gd name="connsiteX13" fmla="*/ 1842311 w 2497282"/>
              <a:gd name="connsiteY13" fmla="*/ 657949 h 2364509"/>
              <a:gd name="connsiteX14" fmla="*/ 1842311 w 2497282"/>
              <a:gd name="connsiteY14" fmla="*/ 380114 h 2364509"/>
              <a:gd name="connsiteX15" fmla="*/ 1633069 w 2497282"/>
              <a:gd name="connsiteY15" fmla="*/ 170872 h 2364509"/>
              <a:gd name="connsiteX16" fmla="*/ 352748 w 2497282"/>
              <a:gd name="connsiteY16" fmla="*/ 170872 h 2364509"/>
              <a:gd name="connsiteX17" fmla="*/ 143506 w 2497282"/>
              <a:gd name="connsiteY17" fmla="*/ 380114 h 2364509"/>
              <a:gd name="connsiteX18" fmla="*/ 143506 w 2497282"/>
              <a:gd name="connsiteY18" fmla="*/ 1984393 h 2364509"/>
              <a:gd name="connsiteX19" fmla="*/ 352748 w 2497282"/>
              <a:gd name="connsiteY19" fmla="*/ 2193635 h 2364509"/>
              <a:gd name="connsiteX20" fmla="*/ 1633069 w 2497282"/>
              <a:gd name="connsiteY20" fmla="*/ 2193635 h 2364509"/>
              <a:gd name="connsiteX21" fmla="*/ 1842311 w 2497282"/>
              <a:gd name="connsiteY21" fmla="*/ 1984393 h 2364509"/>
              <a:gd name="connsiteX22" fmla="*/ 1842311 w 2497282"/>
              <a:gd name="connsiteY22" fmla="*/ 1799217 h 2364509"/>
              <a:gd name="connsiteX23" fmla="*/ 1841500 w 2497282"/>
              <a:gd name="connsiteY23" fmla="*/ 1799217 h 2364509"/>
              <a:gd name="connsiteX24" fmla="*/ 1841500 w 2497282"/>
              <a:gd name="connsiteY24" fmla="*/ 1208198 h 2364509"/>
              <a:gd name="connsiteX25" fmla="*/ 2128405 w 2497282"/>
              <a:gd name="connsiteY25" fmla="*/ 921293 h 2364509"/>
              <a:gd name="connsiteX26" fmla="*/ 2333337 w 2497282"/>
              <a:gd name="connsiteY26" fmla="*/ 921294 h 2364509"/>
              <a:gd name="connsiteX27" fmla="*/ 2333337 w 2497282"/>
              <a:gd name="connsiteY27" fmla="*/ 829399 h 2364509"/>
              <a:gd name="connsiteX28" fmla="*/ 2497282 w 2497282"/>
              <a:gd name="connsiteY28" fmla="*/ 993345 h 2364509"/>
              <a:gd name="connsiteX29" fmla="*/ 2333337 w 2497282"/>
              <a:gd name="connsiteY29" fmla="*/ 1157290 h 2364509"/>
              <a:gd name="connsiteX30" fmla="*/ 2333337 w 2497282"/>
              <a:gd name="connsiteY30" fmla="*/ 1065395 h 2364509"/>
              <a:gd name="connsiteX31" fmla="*/ 2128405 w 2497282"/>
              <a:gd name="connsiteY31" fmla="*/ 1065395 h 2364509"/>
              <a:gd name="connsiteX32" fmla="*/ 1985602 w 2497282"/>
              <a:gd name="connsiteY32" fmla="*/ 1208198 h 2364509"/>
              <a:gd name="connsiteX33" fmla="*/ 1985602 w 2497282"/>
              <a:gd name="connsiteY33" fmla="*/ 1546949 h 2364509"/>
              <a:gd name="connsiteX34" fmla="*/ 1985818 w 2497282"/>
              <a:gd name="connsiteY34" fmla="*/ 1546949 h 2364509"/>
              <a:gd name="connsiteX35" fmla="*/ 1985818 w 2497282"/>
              <a:gd name="connsiteY35" fmla="*/ 2033533 h 2364509"/>
              <a:gd name="connsiteX36" fmla="*/ 1654842 w 2497282"/>
              <a:gd name="connsiteY36" fmla="*/ 2364509 h 2364509"/>
              <a:gd name="connsiteX37" fmla="*/ 330976 w 2497282"/>
              <a:gd name="connsiteY37" fmla="*/ 2364509 h 2364509"/>
              <a:gd name="connsiteX38" fmla="*/ 0 w 2497282"/>
              <a:gd name="connsiteY38" fmla="*/ 2033533 h 2364509"/>
              <a:gd name="connsiteX39" fmla="*/ 0 w 2497282"/>
              <a:gd name="connsiteY39" fmla="*/ 330976 h 2364509"/>
              <a:gd name="connsiteX40" fmla="*/ 330976 w 2497282"/>
              <a:gd name="connsiteY40" fmla="*/ 0 h 2364509"/>
              <a:gd name="connsiteX0" fmla="*/ 330976 w 2497282"/>
              <a:gd name="connsiteY0" fmla="*/ 0 h 2364509"/>
              <a:gd name="connsiteX1" fmla="*/ 1654842 w 2497282"/>
              <a:gd name="connsiteY1" fmla="*/ 0 h 2364509"/>
              <a:gd name="connsiteX2" fmla="*/ 1979094 w 2497282"/>
              <a:gd name="connsiteY2" fmla="*/ 264273 h 2364509"/>
              <a:gd name="connsiteX3" fmla="*/ 1985963 w 2497282"/>
              <a:gd name="connsiteY3" fmla="*/ 320606 h 2364509"/>
              <a:gd name="connsiteX4" fmla="*/ 1985963 w 2497282"/>
              <a:gd name="connsiteY4" fmla="*/ 651813 h 2364509"/>
              <a:gd name="connsiteX5" fmla="*/ 1985818 w 2497282"/>
              <a:gd name="connsiteY5" fmla="*/ 652531 h 2364509"/>
              <a:gd name="connsiteX6" fmla="*/ 1985818 w 2497282"/>
              <a:gd name="connsiteY6" fmla="*/ 657949 h 2364509"/>
              <a:gd name="connsiteX7" fmla="*/ 1984724 w 2497282"/>
              <a:gd name="connsiteY7" fmla="*/ 657949 h 2364509"/>
              <a:gd name="connsiteX8" fmla="*/ 1980349 w 2497282"/>
              <a:gd name="connsiteY8" fmla="*/ 679620 h 2364509"/>
              <a:gd name="connsiteX9" fmla="*/ 1914525 w 2497282"/>
              <a:gd name="connsiteY9" fmla="*/ 723251 h 2364509"/>
              <a:gd name="connsiteX10" fmla="*/ 1848701 w 2497282"/>
              <a:gd name="connsiteY10" fmla="*/ 679620 h 2364509"/>
              <a:gd name="connsiteX11" fmla="*/ 1844326 w 2497282"/>
              <a:gd name="connsiteY11" fmla="*/ 657949 h 2364509"/>
              <a:gd name="connsiteX12" fmla="*/ 1842311 w 2497282"/>
              <a:gd name="connsiteY12" fmla="*/ 657949 h 2364509"/>
              <a:gd name="connsiteX13" fmla="*/ 1842311 w 2497282"/>
              <a:gd name="connsiteY13" fmla="*/ 380114 h 2364509"/>
              <a:gd name="connsiteX14" fmla="*/ 1633069 w 2497282"/>
              <a:gd name="connsiteY14" fmla="*/ 170872 h 2364509"/>
              <a:gd name="connsiteX15" fmla="*/ 352748 w 2497282"/>
              <a:gd name="connsiteY15" fmla="*/ 170872 h 2364509"/>
              <a:gd name="connsiteX16" fmla="*/ 143506 w 2497282"/>
              <a:gd name="connsiteY16" fmla="*/ 380114 h 2364509"/>
              <a:gd name="connsiteX17" fmla="*/ 143506 w 2497282"/>
              <a:gd name="connsiteY17" fmla="*/ 1984393 h 2364509"/>
              <a:gd name="connsiteX18" fmla="*/ 352748 w 2497282"/>
              <a:gd name="connsiteY18" fmla="*/ 2193635 h 2364509"/>
              <a:gd name="connsiteX19" fmla="*/ 1633069 w 2497282"/>
              <a:gd name="connsiteY19" fmla="*/ 2193635 h 2364509"/>
              <a:gd name="connsiteX20" fmla="*/ 1842311 w 2497282"/>
              <a:gd name="connsiteY20" fmla="*/ 1984393 h 2364509"/>
              <a:gd name="connsiteX21" fmla="*/ 1842311 w 2497282"/>
              <a:gd name="connsiteY21" fmla="*/ 1799217 h 2364509"/>
              <a:gd name="connsiteX22" fmla="*/ 1841500 w 2497282"/>
              <a:gd name="connsiteY22" fmla="*/ 1799217 h 2364509"/>
              <a:gd name="connsiteX23" fmla="*/ 1841500 w 2497282"/>
              <a:gd name="connsiteY23" fmla="*/ 1208198 h 2364509"/>
              <a:gd name="connsiteX24" fmla="*/ 2128405 w 2497282"/>
              <a:gd name="connsiteY24" fmla="*/ 921293 h 2364509"/>
              <a:gd name="connsiteX25" fmla="*/ 2333337 w 2497282"/>
              <a:gd name="connsiteY25" fmla="*/ 921294 h 2364509"/>
              <a:gd name="connsiteX26" fmla="*/ 2333337 w 2497282"/>
              <a:gd name="connsiteY26" fmla="*/ 829399 h 2364509"/>
              <a:gd name="connsiteX27" fmla="*/ 2497282 w 2497282"/>
              <a:gd name="connsiteY27" fmla="*/ 993345 h 2364509"/>
              <a:gd name="connsiteX28" fmla="*/ 2333337 w 2497282"/>
              <a:gd name="connsiteY28" fmla="*/ 1157290 h 2364509"/>
              <a:gd name="connsiteX29" fmla="*/ 2333337 w 2497282"/>
              <a:gd name="connsiteY29" fmla="*/ 1065395 h 2364509"/>
              <a:gd name="connsiteX30" fmla="*/ 2128405 w 2497282"/>
              <a:gd name="connsiteY30" fmla="*/ 1065395 h 2364509"/>
              <a:gd name="connsiteX31" fmla="*/ 1985602 w 2497282"/>
              <a:gd name="connsiteY31" fmla="*/ 1208198 h 2364509"/>
              <a:gd name="connsiteX32" fmla="*/ 1985602 w 2497282"/>
              <a:gd name="connsiteY32" fmla="*/ 1546949 h 2364509"/>
              <a:gd name="connsiteX33" fmla="*/ 1985818 w 2497282"/>
              <a:gd name="connsiteY33" fmla="*/ 1546949 h 2364509"/>
              <a:gd name="connsiteX34" fmla="*/ 1985818 w 2497282"/>
              <a:gd name="connsiteY34" fmla="*/ 2033533 h 2364509"/>
              <a:gd name="connsiteX35" fmla="*/ 1654842 w 2497282"/>
              <a:gd name="connsiteY35" fmla="*/ 2364509 h 2364509"/>
              <a:gd name="connsiteX36" fmla="*/ 330976 w 2497282"/>
              <a:gd name="connsiteY36" fmla="*/ 2364509 h 2364509"/>
              <a:gd name="connsiteX37" fmla="*/ 0 w 2497282"/>
              <a:gd name="connsiteY37" fmla="*/ 2033533 h 2364509"/>
              <a:gd name="connsiteX38" fmla="*/ 0 w 2497282"/>
              <a:gd name="connsiteY38" fmla="*/ 330976 h 2364509"/>
              <a:gd name="connsiteX39" fmla="*/ 330976 w 2497282"/>
              <a:gd name="connsiteY39" fmla="*/ 0 h 23645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2497282" h="2364509">
                <a:moveTo>
                  <a:pt x="330976" y="0"/>
                </a:moveTo>
                <a:lnTo>
                  <a:pt x="1654842" y="0"/>
                </a:lnTo>
                <a:cubicBezTo>
                  <a:pt x="1814786" y="0"/>
                  <a:pt x="1948232" y="113453"/>
                  <a:pt x="1979094" y="264273"/>
                </a:cubicBezTo>
                <a:lnTo>
                  <a:pt x="1985963" y="320606"/>
                </a:lnTo>
                <a:lnTo>
                  <a:pt x="1985963" y="651813"/>
                </a:lnTo>
                <a:cubicBezTo>
                  <a:pt x="1985915" y="652052"/>
                  <a:pt x="1985866" y="652292"/>
                  <a:pt x="1985818" y="652531"/>
                </a:cubicBezTo>
                <a:lnTo>
                  <a:pt x="1985818" y="657949"/>
                </a:lnTo>
                <a:lnTo>
                  <a:pt x="1984724" y="657949"/>
                </a:lnTo>
                <a:lnTo>
                  <a:pt x="1980349" y="679620"/>
                </a:lnTo>
                <a:cubicBezTo>
                  <a:pt x="1969504" y="705260"/>
                  <a:pt x="1944116" y="723251"/>
                  <a:pt x="1914525" y="723251"/>
                </a:cubicBezTo>
                <a:cubicBezTo>
                  <a:pt x="1884935" y="723251"/>
                  <a:pt x="1859546" y="705260"/>
                  <a:pt x="1848701" y="679620"/>
                </a:cubicBezTo>
                <a:lnTo>
                  <a:pt x="1844326" y="657949"/>
                </a:lnTo>
                <a:lnTo>
                  <a:pt x="1842311" y="657949"/>
                </a:lnTo>
                <a:lnTo>
                  <a:pt x="1842311" y="380114"/>
                </a:lnTo>
                <a:cubicBezTo>
                  <a:pt x="1842311" y="264553"/>
                  <a:pt x="1748630" y="170872"/>
                  <a:pt x="1633069" y="170872"/>
                </a:cubicBezTo>
                <a:lnTo>
                  <a:pt x="352748" y="170872"/>
                </a:lnTo>
                <a:cubicBezTo>
                  <a:pt x="237187" y="170872"/>
                  <a:pt x="143506" y="264553"/>
                  <a:pt x="143506" y="380114"/>
                </a:cubicBezTo>
                <a:lnTo>
                  <a:pt x="143506" y="1984393"/>
                </a:lnTo>
                <a:cubicBezTo>
                  <a:pt x="143506" y="2099954"/>
                  <a:pt x="237187" y="2193635"/>
                  <a:pt x="352748" y="2193635"/>
                </a:cubicBezTo>
                <a:lnTo>
                  <a:pt x="1633069" y="2193635"/>
                </a:lnTo>
                <a:cubicBezTo>
                  <a:pt x="1748630" y="2193635"/>
                  <a:pt x="1842311" y="2099954"/>
                  <a:pt x="1842311" y="1984393"/>
                </a:cubicBezTo>
                <a:lnTo>
                  <a:pt x="1842311" y="1799217"/>
                </a:lnTo>
                <a:lnTo>
                  <a:pt x="1841500" y="1799217"/>
                </a:lnTo>
                <a:lnTo>
                  <a:pt x="1841500" y="1208198"/>
                </a:lnTo>
                <a:cubicBezTo>
                  <a:pt x="1841500" y="1049745"/>
                  <a:pt x="1969952" y="921293"/>
                  <a:pt x="2128405" y="921293"/>
                </a:cubicBezTo>
                <a:lnTo>
                  <a:pt x="2333337" y="921294"/>
                </a:lnTo>
                <a:lnTo>
                  <a:pt x="2333337" y="829399"/>
                </a:lnTo>
                <a:lnTo>
                  <a:pt x="2497282" y="993345"/>
                </a:lnTo>
                <a:lnTo>
                  <a:pt x="2333337" y="1157290"/>
                </a:lnTo>
                <a:lnTo>
                  <a:pt x="2333337" y="1065395"/>
                </a:lnTo>
                <a:lnTo>
                  <a:pt x="2128405" y="1065395"/>
                </a:lnTo>
                <a:cubicBezTo>
                  <a:pt x="2049537" y="1065395"/>
                  <a:pt x="1985602" y="1129330"/>
                  <a:pt x="1985602" y="1208198"/>
                </a:cubicBezTo>
                <a:lnTo>
                  <a:pt x="1985602" y="1546949"/>
                </a:lnTo>
                <a:lnTo>
                  <a:pt x="1985818" y="1546949"/>
                </a:lnTo>
                <a:lnTo>
                  <a:pt x="1985818" y="2033533"/>
                </a:lnTo>
                <a:cubicBezTo>
                  <a:pt x="1985818" y="2216326"/>
                  <a:pt x="1837635" y="2364509"/>
                  <a:pt x="1654842" y="2364509"/>
                </a:cubicBezTo>
                <a:lnTo>
                  <a:pt x="330976" y="2364509"/>
                </a:lnTo>
                <a:cubicBezTo>
                  <a:pt x="148183" y="2364509"/>
                  <a:pt x="0" y="2216326"/>
                  <a:pt x="0" y="2033533"/>
                </a:cubicBezTo>
                <a:lnTo>
                  <a:pt x="0" y="330976"/>
                </a:lnTo>
                <a:cubicBezTo>
                  <a:pt x="0" y="148183"/>
                  <a:pt x="148183" y="0"/>
                  <a:pt x="330976" y="0"/>
                </a:cubicBezTo>
                <a:close/>
              </a:path>
            </a:pathLst>
          </a:cu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5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DIN Alternate" panose="020B0500000000000000"/>
              <a:ea typeface="+mn-ea"/>
              <a:cs typeface="Arial"/>
            </a:endParaRPr>
          </a:p>
        </p:txBody>
      </p:sp>
      <p:cxnSp>
        <p:nvCxnSpPr>
          <p:cNvPr id="19" name="Straight Connector 18">
            <a:extLst>
              <a:ext uri="{FF2B5EF4-FFF2-40B4-BE49-F238E27FC236}">
                <a16:creationId xmlns="" xmlns:a16="http://schemas.microsoft.com/office/drawing/2014/main" id="{D5CC511F-9A83-4C48-A826-27BC984B3675}"/>
              </a:ext>
            </a:extLst>
          </p:cNvPr>
          <p:cNvCxnSpPr>
            <a:cxnSpLocks/>
          </p:cNvCxnSpPr>
          <p:nvPr/>
        </p:nvCxnSpPr>
        <p:spPr>
          <a:xfrm>
            <a:off x="7475734" y="3709015"/>
            <a:ext cx="1159702" cy="0"/>
          </a:xfrm>
          <a:prstGeom prst="line">
            <a:avLst/>
          </a:prstGeom>
          <a:noFill/>
          <a:ln w="19050" cap="rnd" cmpd="sng" algn="ctr">
            <a:solidFill>
              <a:schemeClr val="accent1"/>
            </a:solidFill>
            <a:prstDash val="solid"/>
            <a:round/>
          </a:ln>
          <a:effectLst/>
        </p:spPr>
      </p:cxnSp>
      <p:cxnSp>
        <p:nvCxnSpPr>
          <p:cNvPr id="20" name="Straight Connector 19">
            <a:extLst>
              <a:ext uri="{FF2B5EF4-FFF2-40B4-BE49-F238E27FC236}">
                <a16:creationId xmlns="" xmlns:a16="http://schemas.microsoft.com/office/drawing/2014/main" id="{411C399B-16F9-42CB-987F-0D091CB5F865}"/>
              </a:ext>
            </a:extLst>
          </p:cNvPr>
          <p:cNvCxnSpPr>
            <a:cxnSpLocks/>
          </p:cNvCxnSpPr>
          <p:nvPr/>
        </p:nvCxnSpPr>
        <p:spPr>
          <a:xfrm flipV="1">
            <a:off x="8055585" y="3403239"/>
            <a:ext cx="0" cy="279135"/>
          </a:xfrm>
          <a:prstGeom prst="line">
            <a:avLst/>
          </a:prstGeom>
          <a:noFill/>
          <a:ln w="15875" cap="rnd" cmpd="sng" algn="ctr">
            <a:solidFill>
              <a:schemeClr val="accent1"/>
            </a:solidFill>
            <a:prstDash val="sysDot"/>
            <a:round/>
          </a:ln>
          <a:effectLst/>
        </p:spPr>
      </p:cxnSp>
      <p:sp>
        <p:nvSpPr>
          <p:cNvPr id="21" name="Rectangle 20">
            <a:extLst>
              <a:ext uri="{FF2B5EF4-FFF2-40B4-BE49-F238E27FC236}">
                <a16:creationId xmlns="" xmlns:a16="http://schemas.microsoft.com/office/drawing/2014/main" id="{269BE335-41C3-4DEA-80B8-E346D3B3F122}"/>
              </a:ext>
            </a:extLst>
          </p:cNvPr>
          <p:cNvSpPr/>
          <p:nvPr/>
        </p:nvSpPr>
        <p:spPr>
          <a:xfrm>
            <a:off x="7004660" y="3812037"/>
            <a:ext cx="2101857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en-US" sz="1400" b="1" dirty="0">
                <a:latin typeface="+mj-lt"/>
                <a:cs typeface="Calibri" panose="020F0502020204030204" pitchFamily="34" charset="0"/>
              </a:rPr>
              <a:t>Machine Learning</a:t>
            </a:r>
            <a:br>
              <a:rPr lang="en-US" sz="1400" b="1" dirty="0">
                <a:latin typeface="+mj-lt"/>
                <a:cs typeface="Calibri" panose="020F0502020204030204" pitchFamily="34" charset="0"/>
              </a:rPr>
            </a:br>
            <a:r>
              <a:rPr lang="en-US" sz="1400" b="1" dirty="0">
                <a:latin typeface="+mj-lt"/>
                <a:cs typeface="Calibri" panose="020F0502020204030204" pitchFamily="34" charset="0"/>
              </a:rPr>
              <a:t>Modeling &amp; Evaluation</a:t>
            </a:r>
          </a:p>
        </p:txBody>
      </p:sp>
      <p:sp>
        <p:nvSpPr>
          <p:cNvPr id="22" name="Freeform: Shape 21">
            <a:extLst>
              <a:ext uri="{FF2B5EF4-FFF2-40B4-BE49-F238E27FC236}">
                <a16:creationId xmlns="" xmlns:a16="http://schemas.microsoft.com/office/drawing/2014/main" id="{2E818356-E928-4AE2-BF7B-1BA1F44AB692}"/>
              </a:ext>
            </a:extLst>
          </p:cNvPr>
          <p:cNvSpPr/>
          <p:nvPr/>
        </p:nvSpPr>
        <p:spPr>
          <a:xfrm rot="10800000" flipV="1">
            <a:off x="7520755" y="2057400"/>
            <a:ext cx="1109581" cy="1345837"/>
          </a:xfrm>
          <a:custGeom>
            <a:avLst/>
            <a:gdLst>
              <a:gd name="connsiteX0" fmla="*/ 1654843 w 1985964"/>
              <a:gd name="connsiteY0" fmla="*/ 0 h 2364509"/>
              <a:gd name="connsiteX1" fmla="*/ 1654842 w 1985964"/>
              <a:gd name="connsiteY1" fmla="*/ 0 h 2364509"/>
              <a:gd name="connsiteX2" fmla="*/ 330977 w 1985964"/>
              <a:gd name="connsiteY2" fmla="*/ 0 h 2364509"/>
              <a:gd name="connsiteX3" fmla="*/ 330976 w 1985964"/>
              <a:gd name="connsiteY3" fmla="*/ 0 h 2364509"/>
              <a:gd name="connsiteX4" fmla="*/ 0 w 1985964"/>
              <a:gd name="connsiteY4" fmla="*/ 330976 h 2364509"/>
              <a:gd name="connsiteX5" fmla="*/ 0 w 1985964"/>
              <a:gd name="connsiteY5" fmla="*/ 2033533 h 2364509"/>
              <a:gd name="connsiteX6" fmla="*/ 330976 w 1985964"/>
              <a:gd name="connsiteY6" fmla="*/ 2364509 h 2364509"/>
              <a:gd name="connsiteX7" fmla="*/ 330977 w 1985964"/>
              <a:gd name="connsiteY7" fmla="*/ 2364509 h 2364509"/>
              <a:gd name="connsiteX8" fmla="*/ 1654842 w 1985964"/>
              <a:gd name="connsiteY8" fmla="*/ 2364509 h 2364509"/>
              <a:gd name="connsiteX9" fmla="*/ 1654843 w 1985964"/>
              <a:gd name="connsiteY9" fmla="*/ 2364509 h 2364509"/>
              <a:gd name="connsiteX10" fmla="*/ 1654850 w 1985964"/>
              <a:gd name="connsiteY10" fmla="*/ 2364508 h 2364509"/>
              <a:gd name="connsiteX11" fmla="*/ 1713430 w 1985964"/>
              <a:gd name="connsiteY11" fmla="*/ 2359339 h 2364509"/>
              <a:gd name="connsiteX12" fmla="*/ 1717781 w 1985964"/>
              <a:gd name="connsiteY12" fmla="*/ 2358164 h 2364509"/>
              <a:gd name="connsiteX13" fmla="*/ 1721546 w 1985964"/>
              <a:gd name="connsiteY13" fmla="*/ 2357784 h 2364509"/>
              <a:gd name="connsiteX14" fmla="*/ 1737367 w 1985964"/>
              <a:gd name="connsiteY14" fmla="*/ 2352873 h 2364509"/>
              <a:gd name="connsiteX15" fmla="*/ 1768643 w 1985964"/>
              <a:gd name="connsiteY15" fmla="*/ 2344425 h 2364509"/>
              <a:gd name="connsiteX16" fmla="*/ 1773429 w 1985964"/>
              <a:gd name="connsiteY16" fmla="*/ 2341679 h 2364509"/>
              <a:gd name="connsiteX17" fmla="*/ 1783674 w 1985964"/>
              <a:gd name="connsiteY17" fmla="*/ 2338499 h 2364509"/>
              <a:gd name="connsiteX18" fmla="*/ 1839895 w 1985964"/>
              <a:gd name="connsiteY18" fmla="*/ 2307983 h 2364509"/>
              <a:gd name="connsiteX19" fmla="*/ 1857542 w 1985964"/>
              <a:gd name="connsiteY19" fmla="*/ 2293423 h 2364509"/>
              <a:gd name="connsiteX20" fmla="*/ 1865374 w 1985964"/>
              <a:gd name="connsiteY20" fmla="*/ 2288930 h 2364509"/>
              <a:gd name="connsiteX21" fmla="*/ 1878381 w 1985964"/>
              <a:gd name="connsiteY21" fmla="*/ 2276229 h 2364509"/>
              <a:gd name="connsiteX22" fmla="*/ 1888878 w 1985964"/>
              <a:gd name="connsiteY22" fmla="*/ 2267568 h 2364509"/>
              <a:gd name="connsiteX23" fmla="*/ 1895621 w 1985964"/>
              <a:gd name="connsiteY23" fmla="*/ 2259396 h 2364509"/>
              <a:gd name="connsiteX24" fmla="*/ 1905109 w 1985964"/>
              <a:gd name="connsiteY24" fmla="*/ 2250132 h 2364509"/>
              <a:gd name="connsiteX25" fmla="*/ 1919122 w 1985964"/>
              <a:gd name="connsiteY25" fmla="*/ 2230912 h 2364509"/>
              <a:gd name="connsiteX26" fmla="*/ 1929293 w 1985964"/>
              <a:gd name="connsiteY26" fmla="*/ 2218585 h 2364509"/>
              <a:gd name="connsiteX27" fmla="*/ 1932739 w 1985964"/>
              <a:gd name="connsiteY27" fmla="*/ 2212236 h 2364509"/>
              <a:gd name="connsiteX28" fmla="*/ 1937902 w 1985964"/>
              <a:gd name="connsiteY28" fmla="*/ 2205156 h 2364509"/>
              <a:gd name="connsiteX29" fmla="*/ 1952079 w 1985964"/>
              <a:gd name="connsiteY29" fmla="*/ 2176606 h 2364509"/>
              <a:gd name="connsiteX30" fmla="*/ 1959809 w 1985964"/>
              <a:gd name="connsiteY30" fmla="*/ 2162364 h 2364509"/>
              <a:gd name="connsiteX31" fmla="*/ 1960907 w 1985964"/>
              <a:gd name="connsiteY31" fmla="*/ 2158828 h 2364509"/>
              <a:gd name="connsiteX32" fmla="*/ 1962861 w 1985964"/>
              <a:gd name="connsiteY32" fmla="*/ 2154893 h 2364509"/>
              <a:gd name="connsiteX33" fmla="*/ 1979076 w 1985964"/>
              <a:gd name="connsiteY33" fmla="*/ 2100297 h 2364509"/>
              <a:gd name="connsiteX34" fmla="*/ 1979095 w 1985964"/>
              <a:gd name="connsiteY34" fmla="*/ 2100236 h 2364509"/>
              <a:gd name="connsiteX35" fmla="*/ 1979098 w 1985964"/>
              <a:gd name="connsiteY35" fmla="*/ 2100200 h 2364509"/>
              <a:gd name="connsiteX36" fmla="*/ 1985963 w 1985964"/>
              <a:gd name="connsiteY36" fmla="*/ 2043903 h 2364509"/>
              <a:gd name="connsiteX37" fmla="*/ 1985963 w 1985964"/>
              <a:gd name="connsiteY37" fmla="*/ 1725393 h 2364509"/>
              <a:gd name="connsiteX38" fmla="*/ 1985964 w 1985964"/>
              <a:gd name="connsiteY38" fmla="*/ 1725393 h 2364509"/>
              <a:gd name="connsiteX39" fmla="*/ 1985964 w 1985964"/>
              <a:gd name="connsiteY39" fmla="*/ 1401883 h 2364509"/>
              <a:gd name="connsiteX40" fmla="*/ 1985819 w 1985964"/>
              <a:gd name="connsiteY40" fmla="*/ 1401165 h 2364509"/>
              <a:gd name="connsiteX41" fmla="*/ 1985819 w 1985964"/>
              <a:gd name="connsiteY41" fmla="*/ 1395747 h 2364509"/>
              <a:gd name="connsiteX42" fmla="*/ 1984725 w 1985964"/>
              <a:gd name="connsiteY42" fmla="*/ 1395747 h 2364509"/>
              <a:gd name="connsiteX43" fmla="*/ 1980350 w 1985964"/>
              <a:gd name="connsiteY43" fmla="*/ 1374076 h 2364509"/>
              <a:gd name="connsiteX44" fmla="*/ 1914526 w 1985964"/>
              <a:gd name="connsiteY44" fmla="*/ 1330445 h 2364509"/>
              <a:gd name="connsiteX45" fmla="*/ 1848702 w 1985964"/>
              <a:gd name="connsiteY45" fmla="*/ 1374076 h 2364509"/>
              <a:gd name="connsiteX46" fmla="*/ 1844327 w 1985964"/>
              <a:gd name="connsiteY46" fmla="*/ 1395747 h 2364509"/>
              <a:gd name="connsiteX47" fmla="*/ 1842312 w 1985964"/>
              <a:gd name="connsiteY47" fmla="*/ 1395747 h 2364509"/>
              <a:gd name="connsiteX48" fmla="*/ 1842312 w 1985964"/>
              <a:gd name="connsiteY48" fmla="*/ 1673582 h 2364509"/>
              <a:gd name="connsiteX49" fmla="*/ 1838061 w 1985964"/>
              <a:gd name="connsiteY49" fmla="*/ 1715751 h 2364509"/>
              <a:gd name="connsiteX50" fmla="*/ 1838059 w 1985964"/>
              <a:gd name="connsiteY50" fmla="*/ 1715757 h 2364509"/>
              <a:gd name="connsiteX51" fmla="*/ 1834276 w 1985964"/>
              <a:gd name="connsiteY51" fmla="*/ 1725393 h 2364509"/>
              <a:gd name="connsiteX52" fmla="*/ 1842311 w 1985964"/>
              <a:gd name="connsiteY52" fmla="*/ 1725393 h 2364509"/>
              <a:gd name="connsiteX53" fmla="*/ 1842311 w 1985964"/>
              <a:gd name="connsiteY53" fmla="*/ 1984395 h 2364509"/>
              <a:gd name="connsiteX54" fmla="*/ 1838060 w 1985964"/>
              <a:gd name="connsiteY54" fmla="*/ 2026564 h 2364509"/>
              <a:gd name="connsiteX55" fmla="*/ 1838058 w 1985964"/>
              <a:gd name="connsiteY55" fmla="*/ 2026570 h 2364509"/>
              <a:gd name="connsiteX56" fmla="*/ 1818140 w 1985964"/>
              <a:gd name="connsiteY56" fmla="*/ 2077302 h 2364509"/>
              <a:gd name="connsiteX57" fmla="*/ 1792175 w 1985964"/>
              <a:gd name="connsiteY57" fmla="*/ 2115814 h 2364509"/>
              <a:gd name="connsiteX58" fmla="*/ 1773416 w 1985964"/>
              <a:gd name="connsiteY58" fmla="*/ 2137481 h 2364509"/>
              <a:gd name="connsiteX59" fmla="*/ 1731490 w 1985964"/>
              <a:gd name="connsiteY59" fmla="*/ 2165749 h 2364509"/>
              <a:gd name="connsiteX60" fmla="*/ 1709927 w 1985964"/>
              <a:gd name="connsiteY60" fmla="*/ 2178120 h 2364509"/>
              <a:gd name="connsiteX61" fmla="*/ 1633141 w 1985964"/>
              <a:gd name="connsiteY61" fmla="*/ 2193622 h 2364509"/>
              <a:gd name="connsiteX62" fmla="*/ 1633070 w 1985964"/>
              <a:gd name="connsiteY62" fmla="*/ 2193635 h 2364509"/>
              <a:gd name="connsiteX63" fmla="*/ 352749 w 1985964"/>
              <a:gd name="connsiteY63" fmla="*/ 2193635 h 2364509"/>
              <a:gd name="connsiteX64" fmla="*/ 143507 w 1985964"/>
              <a:gd name="connsiteY64" fmla="*/ 1984393 h 2364509"/>
              <a:gd name="connsiteX65" fmla="*/ 143507 w 1985964"/>
              <a:gd name="connsiteY65" fmla="*/ 380114 h 2364509"/>
              <a:gd name="connsiteX66" fmla="*/ 147758 w 1985964"/>
              <a:gd name="connsiteY66" fmla="*/ 337945 h 2364509"/>
              <a:gd name="connsiteX67" fmla="*/ 159950 w 1985964"/>
              <a:gd name="connsiteY67" fmla="*/ 298669 h 2364509"/>
              <a:gd name="connsiteX68" fmla="*/ 204792 w 1985964"/>
              <a:gd name="connsiteY68" fmla="*/ 232160 h 2364509"/>
              <a:gd name="connsiteX69" fmla="*/ 352748 w 1985964"/>
              <a:gd name="connsiteY69" fmla="*/ 170874 h 2364509"/>
              <a:gd name="connsiteX70" fmla="*/ 1633069 w 1985964"/>
              <a:gd name="connsiteY70" fmla="*/ 170874 h 2364509"/>
              <a:gd name="connsiteX71" fmla="*/ 1842311 w 1985964"/>
              <a:gd name="connsiteY71" fmla="*/ 380116 h 2364509"/>
              <a:gd name="connsiteX72" fmla="*/ 1842311 w 1985964"/>
              <a:gd name="connsiteY72" fmla="*/ 390533 h 2364509"/>
              <a:gd name="connsiteX73" fmla="*/ 1842312 w 1985964"/>
              <a:gd name="connsiteY73" fmla="*/ 390533 h 2364509"/>
              <a:gd name="connsiteX74" fmla="*/ 1842312 w 1985964"/>
              <a:gd name="connsiteY74" fmla="*/ 657949 h 2364509"/>
              <a:gd name="connsiteX75" fmla="*/ 1844327 w 1985964"/>
              <a:gd name="connsiteY75" fmla="*/ 657949 h 2364509"/>
              <a:gd name="connsiteX76" fmla="*/ 1848702 w 1985964"/>
              <a:gd name="connsiteY76" fmla="*/ 679620 h 2364509"/>
              <a:gd name="connsiteX77" fmla="*/ 1914526 w 1985964"/>
              <a:gd name="connsiteY77" fmla="*/ 723251 h 2364509"/>
              <a:gd name="connsiteX78" fmla="*/ 1980350 w 1985964"/>
              <a:gd name="connsiteY78" fmla="*/ 679620 h 2364509"/>
              <a:gd name="connsiteX79" fmla="*/ 1984725 w 1985964"/>
              <a:gd name="connsiteY79" fmla="*/ 657949 h 2364509"/>
              <a:gd name="connsiteX80" fmla="*/ 1985819 w 1985964"/>
              <a:gd name="connsiteY80" fmla="*/ 657949 h 2364509"/>
              <a:gd name="connsiteX81" fmla="*/ 1985819 w 1985964"/>
              <a:gd name="connsiteY81" fmla="*/ 652531 h 2364509"/>
              <a:gd name="connsiteX82" fmla="*/ 1985964 w 1985964"/>
              <a:gd name="connsiteY82" fmla="*/ 651813 h 2364509"/>
              <a:gd name="connsiteX83" fmla="*/ 1985964 w 1985964"/>
              <a:gd name="connsiteY83" fmla="*/ 320606 h 2364509"/>
              <a:gd name="connsiteX84" fmla="*/ 1979095 w 1985964"/>
              <a:gd name="connsiteY84" fmla="*/ 264273 h 2364509"/>
              <a:gd name="connsiteX85" fmla="*/ 1962862 w 1985964"/>
              <a:gd name="connsiteY85" fmla="*/ 209616 h 2364509"/>
              <a:gd name="connsiteX86" fmla="*/ 1960902 w 1985964"/>
              <a:gd name="connsiteY86" fmla="*/ 205670 h 2364509"/>
              <a:gd name="connsiteX87" fmla="*/ 1959808 w 1985964"/>
              <a:gd name="connsiteY87" fmla="*/ 202145 h 2364509"/>
              <a:gd name="connsiteX88" fmla="*/ 1952102 w 1985964"/>
              <a:gd name="connsiteY88" fmla="*/ 187947 h 2364509"/>
              <a:gd name="connsiteX89" fmla="*/ 1937903 w 1985964"/>
              <a:gd name="connsiteY89" fmla="*/ 159353 h 2364509"/>
              <a:gd name="connsiteX90" fmla="*/ 1932732 w 1985964"/>
              <a:gd name="connsiteY90" fmla="*/ 152262 h 2364509"/>
              <a:gd name="connsiteX91" fmla="*/ 1929292 w 1985964"/>
              <a:gd name="connsiteY91" fmla="*/ 145924 h 2364509"/>
              <a:gd name="connsiteX92" fmla="*/ 1919138 w 1985964"/>
              <a:gd name="connsiteY92" fmla="*/ 133617 h 2364509"/>
              <a:gd name="connsiteX93" fmla="*/ 1905110 w 1985964"/>
              <a:gd name="connsiteY93" fmla="*/ 114377 h 2364509"/>
              <a:gd name="connsiteX94" fmla="*/ 1895612 w 1985964"/>
              <a:gd name="connsiteY94" fmla="*/ 105103 h 2364509"/>
              <a:gd name="connsiteX95" fmla="*/ 1888877 w 1985964"/>
              <a:gd name="connsiteY95" fmla="*/ 96941 h 2364509"/>
              <a:gd name="connsiteX96" fmla="*/ 1878393 w 1985964"/>
              <a:gd name="connsiteY96" fmla="*/ 88290 h 2364509"/>
              <a:gd name="connsiteX97" fmla="*/ 1865375 w 1985964"/>
              <a:gd name="connsiteY97" fmla="*/ 75579 h 2364509"/>
              <a:gd name="connsiteX98" fmla="*/ 1857537 w 1985964"/>
              <a:gd name="connsiteY98" fmla="*/ 71082 h 2364509"/>
              <a:gd name="connsiteX99" fmla="*/ 1839894 w 1985964"/>
              <a:gd name="connsiteY99" fmla="*/ 56526 h 2364509"/>
              <a:gd name="connsiteX100" fmla="*/ 1783673 w 1985964"/>
              <a:gd name="connsiteY100" fmla="*/ 26010 h 2364509"/>
              <a:gd name="connsiteX101" fmla="*/ 1773433 w 1985964"/>
              <a:gd name="connsiteY101" fmla="*/ 22831 h 2364509"/>
              <a:gd name="connsiteX102" fmla="*/ 1768644 w 1985964"/>
              <a:gd name="connsiteY102" fmla="*/ 20084 h 2364509"/>
              <a:gd name="connsiteX103" fmla="*/ 1737353 w 1985964"/>
              <a:gd name="connsiteY103" fmla="*/ 11631 h 2364509"/>
              <a:gd name="connsiteX104" fmla="*/ 1721545 w 1985964"/>
              <a:gd name="connsiteY104" fmla="*/ 6724 h 2364509"/>
              <a:gd name="connsiteX105" fmla="*/ 1717783 w 1985964"/>
              <a:gd name="connsiteY105" fmla="*/ 6345 h 2364509"/>
              <a:gd name="connsiteX106" fmla="*/ 1713431 w 1985964"/>
              <a:gd name="connsiteY106" fmla="*/ 5170 h 2364509"/>
              <a:gd name="connsiteX107" fmla="*/ 1654843 w 1985964"/>
              <a:gd name="connsiteY107" fmla="*/ 0 h 2364509"/>
              <a:gd name="connsiteX0" fmla="*/ 1654843 w 1985964"/>
              <a:gd name="connsiteY0" fmla="*/ 0 h 2364509"/>
              <a:gd name="connsiteX1" fmla="*/ 1654842 w 1985964"/>
              <a:gd name="connsiteY1" fmla="*/ 0 h 2364509"/>
              <a:gd name="connsiteX2" fmla="*/ 330977 w 1985964"/>
              <a:gd name="connsiteY2" fmla="*/ 0 h 2364509"/>
              <a:gd name="connsiteX3" fmla="*/ 330976 w 1985964"/>
              <a:gd name="connsiteY3" fmla="*/ 0 h 2364509"/>
              <a:gd name="connsiteX4" fmla="*/ 0 w 1985964"/>
              <a:gd name="connsiteY4" fmla="*/ 330976 h 2364509"/>
              <a:gd name="connsiteX5" fmla="*/ 0 w 1985964"/>
              <a:gd name="connsiteY5" fmla="*/ 2033533 h 2364509"/>
              <a:gd name="connsiteX6" fmla="*/ 330976 w 1985964"/>
              <a:gd name="connsiteY6" fmla="*/ 2364509 h 2364509"/>
              <a:gd name="connsiteX7" fmla="*/ 330977 w 1985964"/>
              <a:gd name="connsiteY7" fmla="*/ 2364509 h 2364509"/>
              <a:gd name="connsiteX8" fmla="*/ 1654842 w 1985964"/>
              <a:gd name="connsiteY8" fmla="*/ 2364509 h 2364509"/>
              <a:gd name="connsiteX9" fmla="*/ 1654843 w 1985964"/>
              <a:gd name="connsiteY9" fmla="*/ 2364509 h 2364509"/>
              <a:gd name="connsiteX10" fmla="*/ 1654850 w 1985964"/>
              <a:gd name="connsiteY10" fmla="*/ 2364508 h 2364509"/>
              <a:gd name="connsiteX11" fmla="*/ 1713430 w 1985964"/>
              <a:gd name="connsiteY11" fmla="*/ 2359339 h 2364509"/>
              <a:gd name="connsiteX12" fmla="*/ 1717781 w 1985964"/>
              <a:gd name="connsiteY12" fmla="*/ 2358164 h 2364509"/>
              <a:gd name="connsiteX13" fmla="*/ 1721546 w 1985964"/>
              <a:gd name="connsiteY13" fmla="*/ 2357784 h 2364509"/>
              <a:gd name="connsiteX14" fmla="*/ 1737367 w 1985964"/>
              <a:gd name="connsiteY14" fmla="*/ 2352873 h 2364509"/>
              <a:gd name="connsiteX15" fmla="*/ 1768643 w 1985964"/>
              <a:gd name="connsiteY15" fmla="*/ 2344425 h 2364509"/>
              <a:gd name="connsiteX16" fmla="*/ 1773429 w 1985964"/>
              <a:gd name="connsiteY16" fmla="*/ 2341679 h 2364509"/>
              <a:gd name="connsiteX17" fmla="*/ 1783674 w 1985964"/>
              <a:gd name="connsiteY17" fmla="*/ 2338499 h 2364509"/>
              <a:gd name="connsiteX18" fmla="*/ 1839895 w 1985964"/>
              <a:gd name="connsiteY18" fmla="*/ 2307983 h 2364509"/>
              <a:gd name="connsiteX19" fmla="*/ 1857542 w 1985964"/>
              <a:gd name="connsiteY19" fmla="*/ 2293423 h 2364509"/>
              <a:gd name="connsiteX20" fmla="*/ 1865374 w 1985964"/>
              <a:gd name="connsiteY20" fmla="*/ 2288930 h 2364509"/>
              <a:gd name="connsiteX21" fmla="*/ 1878381 w 1985964"/>
              <a:gd name="connsiteY21" fmla="*/ 2276229 h 2364509"/>
              <a:gd name="connsiteX22" fmla="*/ 1888878 w 1985964"/>
              <a:gd name="connsiteY22" fmla="*/ 2267568 h 2364509"/>
              <a:gd name="connsiteX23" fmla="*/ 1895621 w 1985964"/>
              <a:gd name="connsiteY23" fmla="*/ 2259396 h 2364509"/>
              <a:gd name="connsiteX24" fmla="*/ 1905109 w 1985964"/>
              <a:gd name="connsiteY24" fmla="*/ 2250132 h 2364509"/>
              <a:gd name="connsiteX25" fmla="*/ 1919122 w 1985964"/>
              <a:gd name="connsiteY25" fmla="*/ 2230912 h 2364509"/>
              <a:gd name="connsiteX26" fmla="*/ 1929293 w 1985964"/>
              <a:gd name="connsiteY26" fmla="*/ 2218585 h 2364509"/>
              <a:gd name="connsiteX27" fmla="*/ 1932739 w 1985964"/>
              <a:gd name="connsiteY27" fmla="*/ 2212236 h 2364509"/>
              <a:gd name="connsiteX28" fmla="*/ 1937902 w 1985964"/>
              <a:gd name="connsiteY28" fmla="*/ 2205156 h 2364509"/>
              <a:gd name="connsiteX29" fmla="*/ 1952079 w 1985964"/>
              <a:gd name="connsiteY29" fmla="*/ 2176606 h 2364509"/>
              <a:gd name="connsiteX30" fmla="*/ 1959809 w 1985964"/>
              <a:gd name="connsiteY30" fmla="*/ 2162364 h 2364509"/>
              <a:gd name="connsiteX31" fmla="*/ 1960907 w 1985964"/>
              <a:gd name="connsiteY31" fmla="*/ 2158828 h 2364509"/>
              <a:gd name="connsiteX32" fmla="*/ 1962861 w 1985964"/>
              <a:gd name="connsiteY32" fmla="*/ 2154893 h 2364509"/>
              <a:gd name="connsiteX33" fmla="*/ 1979076 w 1985964"/>
              <a:gd name="connsiteY33" fmla="*/ 2100297 h 2364509"/>
              <a:gd name="connsiteX34" fmla="*/ 1979095 w 1985964"/>
              <a:gd name="connsiteY34" fmla="*/ 2100236 h 2364509"/>
              <a:gd name="connsiteX35" fmla="*/ 1979098 w 1985964"/>
              <a:gd name="connsiteY35" fmla="*/ 2100200 h 2364509"/>
              <a:gd name="connsiteX36" fmla="*/ 1985963 w 1985964"/>
              <a:gd name="connsiteY36" fmla="*/ 2043903 h 2364509"/>
              <a:gd name="connsiteX37" fmla="*/ 1985963 w 1985964"/>
              <a:gd name="connsiteY37" fmla="*/ 1725393 h 2364509"/>
              <a:gd name="connsiteX38" fmla="*/ 1985964 w 1985964"/>
              <a:gd name="connsiteY38" fmla="*/ 1725393 h 2364509"/>
              <a:gd name="connsiteX39" fmla="*/ 1985964 w 1985964"/>
              <a:gd name="connsiteY39" fmla="*/ 1401883 h 2364509"/>
              <a:gd name="connsiteX40" fmla="*/ 1985819 w 1985964"/>
              <a:gd name="connsiteY40" fmla="*/ 1401165 h 2364509"/>
              <a:gd name="connsiteX41" fmla="*/ 1985819 w 1985964"/>
              <a:gd name="connsiteY41" fmla="*/ 1395747 h 2364509"/>
              <a:gd name="connsiteX42" fmla="*/ 1984725 w 1985964"/>
              <a:gd name="connsiteY42" fmla="*/ 1395747 h 2364509"/>
              <a:gd name="connsiteX43" fmla="*/ 1980350 w 1985964"/>
              <a:gd name="connsiteY43" fmla="*/ 1374076 h 2364509"/>
              <a:gd name="connsiteX44" fmla="*/ 1914526 w 1985964"/>
              <a:gd name="connsiteY44" fmla="*/ 1330445 h 2364509"/>
              <a:gd name="connsiteX45" fmla="*/ 1848702 w 1985964"/>
              <a:gd name="connsiteY45" fmla="*/ 1374076 h 2364509"/>
              <a:gd name="connsiteX46" fmla="*/ 1844327 w 1985964"/>
              <a:gd name="connsiteY46" fmla="*/ 1395747 h 2364509"/>
              <a:gd name="connsiteX47" fmla="*/ 1842312 w 1985964"/>
              <a:gd name="connsiteY47" fmla="*/ 1395747 h 2364509"/>
              <a:gd name="connsiteX48" fmla="*/ 1842312 w 1985964"/>
              <a:gd name="connsiteY48" fmla="*/ 1673582 h 2364509"/>
              <a:gd name="connsiteX49" fmla="*/ 1838061 w 1985964"/>
              <a:gd name="connsiteY49" fmla="*/ 1715751 h 2364509"/>
              <a:gd name="connsiteX50" fmla="*/ 1838059 w 1985964"/>
              <a:gd name="connsiteY50" fmla="*/ 1715757 h 2364509"/>
              <a:gd name="connsiteX51" fmla="*/ 1834276 w 1985964"/>
              <a:gd name="connsiteY51" fmla="*/ 1725393 h 2364509"/>
              <a:gd name="connsiteX52" fmla="*/ 1842311 w 1985964"/>
              <a:gd name="connsiteY52" fmla="*/ 1984395 h 2364509"/>
              <a:gd name="connsiteX53" fmla="*/ 1838060 w 1985964"/>
              <a:gd name="connsiteY53" fmla="*/ 2026564 h 2364509"/>
              <a:gd name="connsiteX54" fmla="*/ 1838058 w 1985964"/>
              <a:gd name="connsiteY54" fmla="*/ 2026570 h 2364509"/>
              <a:gd name="connsiteX55" fmla="*/ 1818140 w 1985964"/>
              <a:gd name="connsiteY55" fmla="*/ 2077302 h 2364509"/>
              <a:gd name="connsiteX56" fmla="*/ 1792175 w 1985964"/>
              <a:gd name="connsiteY56" fmla="*/ 2115814 h 2364509"/>
              <a:gd name="connsiteX57" fmla="*/ 1773416 w 1985964"/>
              <a:gd name="connsiteY57" fmla="*/ 2137481 h 2364509"/>
              <a:gd name="connsiteX58" fmla="*/ 1731490 w 1985964"/>
              <a:gd name="connsiteY58" fmla="*/ 2165749 h 2364509"/>
              <a:gd name="connsiteX59" fmla="*/ 1709927 w 1985964"/>
              <a:gd name="connsiteY59" fmla="*/ 2178120 h 2364509"/>
              <a:gd name="connsiteX60" fmla="*/ 1633141 w 1985964"/>
              <a:gd name="connsiteY60" fmla="*/ 2193622 h 2364509"/>
              <a:gd name="connsiteX61" fmla="*/ 1633070 w 1985964"/>
              <a:gd name="connsiteY61" fmla="*/ 2193635 h 2364509"/>
              <a:gd name="connsiteX62" fmla="*/ 352749 w 1985964"/>
              <a:gd name="connsiteY62" fmla="*/ 2193635 h 2364509"/>
              <a:gd name="connsiteX63" fmla="*/ 143507 w 1985964"/>
              <a:gd name="connsiteY63" fmla="*/ 1984393 h 2364509"/>
              <a:gd name="connsiteX64" fmla="*/ 143507 w 1985964"/>
              <a:gd name="connsiteY64" fmla="*/ 380114 h 2364509"/>
              <a:gd name="connsiteX65" fmla="*/ 147758 w 1985964"/>
              <a:gd name="connsiteY65" fmla="*/ 337945 h 2364509"/>
              <a:gd name="connsiteX66" fmla="*/ 159950 w 1985964"/>
              <a:gd name="connsiteY66" fmla="*/ 298669 h 2364509"/>
              <a:gd name="connsiteX67" fmla="*/ 204792 w 1985964"/>
              <a:gd name="connsiteY67" fmla="*/ 232160 h 2364509"/>
              <a:gd name="connsiteX68" fmla="*/ 352748 w 1985964"/>
              <a:gd name="connsiteY68" fmla="*/ 170874 h 2364509"/>
              <a:gd name="connsiteX69" fmla="*/ 1633069 w 1985964"/>
              <a:gd name="connsiteY69" fmla="*/ 170874 h 2364509"/>
              <a:gd name="connsiteX70" fmla="*/ 1842311 w 1985964"/>
              <a:gd name="connsiteY70" fmla="*/ 380116 h 2364509"/>
              <a:gd name="connsiteX71" fmla="*/ 1842311 w 1985964"/>
              <a:gd name="connsiteY71" fmla="*/ 390533 h 2364509"/>
              <a:gd name="connsiteX72" fmla="*/ 1842312 w 1985964"/>
              <a:gd name="connsiteY72" fmla="*/ 390533 h 2364509"/>
              <a:gd name="connsiteX73" fmla="*/ 1842312 w 1985964"/>
              <a:gd name="connsiteY73" fmla="*/ 657949 h 2364509"/>
              <a:gd name="connsiteX74" fmla="*/ 1844327 w 1985964"/>
              <a:gd name="connsiteY74" fmla="*/ 657949 h 2364509"/>
              <a:gd name="connsiteX75" fmla="*/ 1848702 w 1985964"/>
              <a:gd name="connsiteY75" fmla="*/ 679620 h 2364509"/>
              <a:gd name="connsiteX76" fmla="*/ 1914526 w 1985964"/>
              <a:gd name="connsiteY76" fmla="*/ 723251 h 2364509"/>
              <a:gd name="connsiteX77" fmla="*/ 1980350 w 1985964"/>
              <a:gd name="connsiteY77" fmla="*/ 679620 h 2364509"/>
              <a:gd name="connsiteX78" fmla="*/ 1984725 w 1985964"/>
              <a:gd name="connsiteY78" fmla="*/ 657949 h 2364509"/>
              <a:gd name="connsiteX79" fmla="*/ 1985819 w 1985964"/>
              <a:gd name="connsiteY79" fmla="*/ 657949 h 2364509"/>
              <a:gd name="connsiteX80" fmla="*/ 1985819 w 1985964"/>
              <a:gd name="connsiteY80" fmla="*/ 652531 h 2364509"/>
              <a:gd name="connsiteX81" fmla="*/ 1985964 w 1985964"/>
              <a:gd name="connsiteY81" fmla="*/ 651813 h 2364509"/>
              <a:gd name="connsiteX82" fmla="*/ 1985964 w 1985964"/>
              <a:gd name="connsiteY82" fmla="*/ 320606 h 2364509"/>
              <a:gd name="connsiteX83" fmla="*/ 1979095 w 1985964"/>
              <a:gd name="connsiteY83" fmla="*/ 264273 h 2364509"/>
              <a:gd name="connsiteX84" fmla="*/ 1962862 w 1985964"/>
              <a:gd name="connsiteY84" fmla="*/ 209616 h 2364509"/>
              <a:gd name="connsiteX85" fmla="*/ 1960902 w 1985964"/>
              <a:gd name="connsiteY85" fmla="*/ 205670 h 2364509"/>
              <a:gd name="connsiteX86" fmla="*/ 1959808 w 1985964"/>
              <a:gd name="connsiteY86" fmla="*/ 202145 h 2364509"/>
              <a:gd name="connsiteX87" fmla="*/ 1952102 w 1985964"/>
              <a:gd name="connsiteY87" fmla="*/ 187947 h 2364509"/>
              <a:gd name="connsiteX88" fmla="*/ 1937903 w 1985964"/>
              <a:gd name="connsiteY88" fmla="*/ 159353 h 2364509"/>
              <a:gd name="connsiteX89" fmla="*/ 1932732 w 1985964"/>
              <a:gd name="connsiteY89" fmla="*/ 152262 h 2364509"/>
              <a:gd name="connsiteX90" fmla="*/ 1929292 w 1985964"/>
              <a:gd name="connsiteY90" fmla="*/ 145924 h 2364509"/>
              <a:gd name="connsiteX91" fmla="*/ 1919138 w 1985964"/>
              <a:gd name="connsiteY91" fmla="*/ 133617 h 2364509"/>
              <a:gd name="connsiteX92" fmla="*/ 1905110 w 1985964"/>
              <a:gd name="connsiteY92" fmla="*/ 114377 h 2364509"/>
              <a:gd name="connsiteX93" fmla="*/ 1895612 w 1985964"/>
              <a:gd name="connsiteY93" fmla="*/ 105103 h 2364509"/>
              <a:gd name="connsiteX94" fmla="*/ 1888877 w 1985964"/>
              <a:gd name="connsiteY94" fmla="*/ 96941 h 2364509"/>
              <a:gd name="connsiteX95" fmla="*/ 1878393 w 1985964"/>
              <a:gd name="connsiteY95" fmla="*/ 88290 h 2364509"/>
              <a:gd name="connsiteX96" fmla="*/ 1865375 w 1985964"/>
              <a:gd name="connsiteY96" fmla="*/ 75579 h 2364509"/>
              <a:gd name="connsiteX97" fmla="*/ 1857537 w 1985964"/>
              <a:gd name="connsiteY97" fmla="*/ 71082 h 2364509"/>
              <a:gd name="connsiteX98" fmla="*/ 1839894 w 1985964"/>
              <a:gd name="connsiteY98" fmla="*/ 56526 h 2364509"/>
              <a:gd name="connsiteX99" fmla="*/ 1783673 w 1985964"/>
              <a:gd name="connsiteY99" fmla="*/ 26010 h 2364509"/>
              <a:gd name="connsiteX100" fmla="*/ 1773433 w 1985964"/>
              <a:gd name="connsiteY100" fmla="*/ 22831 h 2364509"/>
              <a:gd name="connsiteX101" fmla="*/ 1768644 w 1985964"/>
              <a:gd name="connsiteY101" fmla="*/ 20084 h 2364509"/>
              <a:gd name="connsiteX102" fmla="*/ 1737353 w 1985964"/>
              <a:gd name="connsiteY102" fmla="*/ 11631 h 2364509"/>
              <a:gd name="connsiteX103" fmla="*/ 1721545 w 1985964"/>
              <a:gd name="connsiteY103" fmla="*/ 6724 h 2364509"/>
              <a:gd name="connsiteX104" fmla="*/ 1717783 w 1985964"/>
              <a:gd name="connsiteY104" fmla="*/ 6345 h 2364509"/>
              <a:gd name="connsiteX105" fmla="*/ 1713431 w 1985964"/>
              <a:gd name="connsiteY105" fmla="*/ 5170 h 2364509"/>
              <a:gd name="connsiteX106" fmla="*/ 1654843 w 1985964"/>
              <a:gd name="connsiteY106" fmla="*/ 0 h 2364509"/>
              <a:gd name="connsiteX0" fmla="*/ 1654843 w 1985964"/>
              <a:gd name="connsiteY0" fmla="*/ 0 h 2364509"/>
              <a:gd name="connsiteX1" fmla="*/ 1654842 w 1985964"/>
              <a:gd name="connsiteY1" fmla="*/ 0 h 2364509"/>
              <a:gd name="connsiteX2" fmla="*/ 330977 w 1985964"/>
              <a:gd name="connsiteY2" fmla="*/ 0 h 2364509"/>
              <a:gd name="connsiteX3" fmla="*/ 330976 w 1985964"/>
              <a:gd name="connsiteY3" fmla="*/ 0 h 2364509"/>
              <a:gd name="connsiteX4" fmla="*/ 0 w 1985964"/>
              <a:gd name="connsiteY4" fmla="*/ 330976 h 2364509"/>
              <a:gd name="connsiteX5" fmla="*/ 0 w 1985964"/>
              <a:gd name="connsiteY5" fmla="*/ 2033533 h 2364509"/>
              <a:gd name="connsiteX6" fmla="*/ 330976 w 1985964"/>
              <a:gd name="connsiteY6" fmla="*/ 2364509 h 2364509"/>
              <a:gd name="connsiteX7" fmla="*/ 330977 w 1985964"/>
              <a:gd name="connsiteY7" fmla="*/ 2364509 h 2364509"/>
              <a:gd name="connsiteX8" fmla="*/ 1654842 w 1985964"/>
              <a:gd name="connsiteY8" fmla="*/ 2364509 h 2364509"/>
              <a:gd name="connsiteX9" fmla="*/ 1654843 w 1985964"/>
              <a:gd name="connsiteY9" fmla="*/ 2364509 h 2364509"/>
              <a:gd name="connsiteX10" fmla="*/ 1654850 w 1985964"/>
              <a:gd name="connsiteY10" fmla="*/ 2364508 h 2364509"/>
              <a:gd name="connsiteX11" fmla="*/ 1713430 w 1985964"/>
              <a:gd name="connsiteY11" fmla="*/ 2359339 h 2364509"/>
              <a:gd name="connsiteX12" fmla="*/ 1717781 w 1985964"/>
              <a:gd name="connsiteY12" fmla="*/ 2358164 h 2364509"/>
              <a:gd name="connsiteX13" fmla="*/ 1721546 w 1985964"/>
              <a:gd name="connsiteY13" fmla="*/ 2357784 h 2364509"/>
              <a:gd name="connsiteX14" fmla="*/ 1737367 w 1985964"/>
              <a:gd name="connsiteY14" fmla="*/ 2352873 h 2364509"/>
              <a:gd name="connsiteX15" fmla="*/ 1768643 w 1985964"/>
              <a:gd name="connsiteY15" fmla="*/ 2344425 h 2364509"/>
              <a:gd name="connsiteX16" fmla="*/ 1773429 w 1985964"/>
              <a:gd name="connsiteY16" fmla="*/ 2341679 h 2364509"/>
              <a:gd name="connsiteX17" fmla="*/ 1783674 w 1985964"/>
              <a:gd name="connsiteY17" fmla="*/ 2338499 h 2364509"/>
              <a:gd name="connsiteX18" fmla="*/ 1839895 w 1985964"/>
              <a:gd name="connsiteY18" fmla="*/ 2307983 h 2364509"/>
              <a:gd name="connsiteX19" fmla="*/ 1857542 w 1985964"/>
              <a:gd name="connsiteY19" fmla="*/ 2293423 h 2364509"/>
              <a:gd name="connsiteX20" fmla="*/ 1865374 w 1985964"/>
              <a:gd name="connsiteY20" fmla="*/ 2288930 h 2364509"/>
              <a:gd name="connsiteX21" fmla="*/ 1878381 w 1985964"/>
              <a:gd name="connsiteY21" fmla="*/ 2276229 h 2364509"/>
              <a:gd name="connsiteX22" fmla="*/ 1888878 w 1985964"/>
              <a:gd name="connsiteY22" fmla="*/ 2267568 h 2364509"/>
              <a:gd name="connsiteX23" fmla="*/ 1895621 w 1985964"/>
              <a:gd name="connsiteY23" fmla="*/ 2259396 h 2364509"/>
              <a:gd name="connsiteX24" fmla="*/ 1905109 w 1985964"/>
              <a:gd name="connsiteY24" fmla="*/ 2250132 h 2364509"/>
              <a:gd name="connsiteX25" fmla="*/ 1919122 w 1985964"/>
              <a:gd name="connsiteY25" fmla="*/ 2230912 h 2364509"/>
              <a:gd name="connsiteX26" fmla="*/ 1929293 w 1985964"/>
              <a:gd name="connsiteY26" fmla="*/ 2218585 h 2364509"/>
              <a:gd name="connsiteX27" fmla="*/ 1932739 w 1985964"/>
              <a:gd name="connsiteY27" fmla="*/ 2212236 h 2364509"/>
              <a:gd name="connsiteX28" fmla="*/ 1937902 w 1985964"/>
              <a:gd name="connsiteY28" fmla="*/ 2205156 h 2364509"/>
              <a:gd name="connsiteX29" fmla="*/ 1952079 w 1985964"/>
              <a:gd name="connsiteY29" fmla="*/ 2176606 h 2364509"/>
              <a:gd name="connsiteX30" fmla="*/ 1959809 w 1985964"/>
              <a:gd name="connsiteY30" fmla="*/ 2162364 h 2364509"/>
              <a:gd name="connsiteX31" fmla="*/ 1960907 w 1985964"/>
              <a:gd name="connsiteY31" fmla="*/ 2158828 h 2364509"/>
              <a:gd name="connsiteX32" fmla="*/ 1962861 w 1985964"/>
              <a:gd name="connsiteY32" fmla="*/ 2154893 h 2364509"/>
              <a:gd name="connsiteX33" fmla="*/ 1979076 w 1985964"/>
              <a:gd name="connsiteY33" fmla="*/ 2100297 h 2364509"/>
              <a:gd name="connsiteX34" fmla="*/ 1979095 w 1985964"/>
              <a:gd name="connsiteY34" fmla="*/ 2100236 h 2364509"/>
              <a:gd name="connsiteX35" fmla="*/ 1979098 w 1985964"/>
              <a:gd name="connsiteY35" fmla="*/ 2100200 h 2364509"/>
              <a:gd name="connsiteX36" fmla="*/ 1985963 w 1985964"/>
              <a:gd name="connsiteY36" fmla="*/ 2043903 h 2364509"/>
              <a:gd name="connsiteX37" fmla="*/ 1985963 w 1985964"/>
              <a:gd name="connsiteY37" fmla="*/ 1725393 h 2364509"/>
              <a:gd name="connsiteX38" fmla="*/ 1985964 w 1985964"/>
              <a:gd name="connsiteY38" fmla="*/ 1725393 h 2364509"/>
              <a:gd name="connsiteX39" fmla="*/ 1985964 w 1985964"/>
              <a:gd name="connsiteY39" fmla="*/ 1401883 h 2364509"/>
              <a:gd name="connsiteX40" fmla="*/ 1985819 w 1985964"/>
              <a:gd name="connsiteY40" fmla="*/ 1401165 h 2364509"/>
              <a:gd name="connsiteX41" fmla="*/ 1985819 w 1985964"/>
              <a:gd name="connsiteY41" fmla="*/ 1395747 h 2364509"/>
              <a:gd name="connsiteX42" fmla="*/ 1984725 w 1985964"/>
              <a:gd name="connsiteY42" fmla="*/ 1395747 h 2364509"/>
              <a:gd name="connsiteX43" fmla="*/ 1980350 w 1985964"/>
              <a:gd name="connsiteY43" fmla="*/ 1374076 h 2364509"/>
              <a:gd name="connsiteX44" fmla="*/ 1914526 w 1985964"/>
              <a:gd name="connsiteY44" fmla="*/ 1330445 h 2364509"/>
              <a:gd name="connsiteX45" fmla="*/ 1848702 w 1985964"/>
              <a:gd name="connsiteY45" fmla="*/ 1374076 h 2364509"/>
              <a:gd name="connsiteX46" fmla="*/ 1844327 w 1985964"/>
              <a:gd name="connsiteY46" fmla="*/ 1395747 h 2364509"/>
              <a:gd name="connsiteX47" fmla="*/ 1842312 w 1985964"/>
              <a:gd name="connsiteY47" fmla="*/ 1395747 h 2364509"/>
              <a:gd name="connsiteX48" fmla="*/ 1842312 w 1985964"/>
              <a:gd name="connsiteY48" fmla="*/ 1673582 h 2364509"/>
              <a:gd name="connsiteX49" fmla="*/ 1838061 w 1985964"/>
              <a:gd name="connsiteY49" fmla="*/ 1715751 h 2364509"/>
              <a:gd name="connsiteX50" fmla="*/ 1838059 w 1985964"/>
              <a:gd name="connsiteY50" fmla="*/ 1715757 h 2364509"/>
              <a:gd name="connsiteX51" fmla="*/ 1842311 w 1985964"/>
              <a:gd name="connsiteY51" fmla="*/ 1984395 h 2364509"/>
              <a:gd name="connsiteX52" fmla="*/ 1838060 w 1985964"/>
              <a:gd name="connsiteY52" fmla="*/ 2026564 h 2364509"/>
              <a:gd name="connsiteX53" fmla="*/ 1838058 w 1985964"/>
              <a:gd name="connsiteY53" fmla="*/ 2026570 h 2364509"/>
              <a:gd name="connsiteX54" fmla="*/ 1818140 w 1985964"/>
              <a:gd name="connsiteY54" fmla="*/ 2077302 h 2364509"/>
              <a:gd name="connsiteX55" fmla="*/ 1792175 w 1985964"/>
              <a:gd name="connsiteY55" fmla="*/ 2115814 h 2364509"/>
              <a:gd name="connsiteX56" fmla="*/ 1773416 w 1985964"/>
              <a:gd name="connsiteY56" fmla="*/ 2137481 h 2364509"/>
              <a:gd name="connsiteX57" fmla="*/ 1731490 w 1985964"/>
              <a:gd name="connsiteY57" fmla="*/ 2165749 h 2364509"/>
              <a:gd name="connsiteX58" fmla="*/ 1709927 w 1985964"/>
              <a:gd name="connsiteY58" fmla="*/ 2178120 h 2364509"/>
              <a:gd name="connsiteX59" fmla="*/ 1633141 w 1985964"/>
              <a:gd name="connsiteY59" fmla="*/ 2193622 h 2364509"/>
              <a:gd name="connsiteX60" fmla="*/ 1633070 w 1985964"/>
              <a:gd name="connsiteY60" fmla="*/ 2193635 h 2364509"/>
              <a:gd name="connsiteX61" fmla="*/ 352749 w 1985964"/>
              <a:gd name="connsiteY61" fmla="*/ 2193635 h 2364509"/>
              <a:gd name="connsiteX62" fmla="*/ 143507 w 1985964"/>
              <a:gd name="connsiteY62" fmla="*/ 1984393 h 2364509"/>
              <a:gd name="connsiteX63" fmla="*/ 143507 w 1985964"/>
              <a:gd name="connsiteY63" fmla="*/ 380114 h 2364509"/>
              <a:gd name="connsiteX64" fmla="*/ 147758 w 1985964"/>
              <a:gd name="connsiteY64" fmla="*/ 337945 h 2364509"/>
              <a:gd name="connsiteX65" fmla="*/ 159950 w 1985964"/>
              <a:gd name="connsiteY65" fmla="*/ 298669 h 2364509"/>
              <a:gd name="connsiteX66" fmla="*/ 204792 w 1985964"/>
              <a:gd name="connsiteY66" fmla="*/ 232160 h 2364509"/>
              <a:gd name="connsiteX67" fmla="*/ 352748 w 1985964"/>
              <a:gd name="connsiteY67" fmla="*/ 170874 h 2364509"/>
              <a:gd name="connsiteX68" fmla="*/ 1633069 w 1985964"/>
              <a:gd name="connsiteY68" fmla="*/ 170874 h 2364509"/>
              <a:gd name="connsiteX69" fmla="*/ 1842311 w 1985964"/>
              <a:gd name="connsiteY69" fmla="*/ 380116 h 2364509"/>
              <a:gd name="connsiteX70" fmla="*/ 1842311 w 1985964"/>
              <a:gd name="connsiteY70" fmla="*/ 390533 h 2364509"/>
              <a:gd name="connsiteX71" fmla="*/ 1842312 w 1985964"/>
              <a:gd name="connsiteY71" fmla="*/ 390533 h 2364509"/>
              <a:gd name="connsiteX72" fmla="*/ 1842312 w 1985964"/>
              <a:gd name="connsiteY72" fmla="*/ 657949 h 2364509"/>
              <a:gd name="connsiteX73" fmla="*/ 1844327 w 1985964"/>
              <a:gd name="connsiteY73" fmla="*/ 657949 h 2364509"/>
              <a:gd name="connsiteX74" fmla="*/ 1848702 w 1985964"/>
              <a:gd name="connsiteY74" fmla="*/ 679620 h 2364509"/>
              <a:gd name="connsiteX75" fmla="*/ 1914526 w 1985964"/>
              <a:gd name="connsiteY75" fmla="*/ 723251 h 2364509"/>
              <a:gd name="connsiteX76" fmla="*/ 1980350 w 1985964"/>
              <a:gd name="connsiteY76" fmla="*/ 679620 h 2364509"/>
              <a:gd name="connsiteX77" fmla="*/ 1984725 w 1985964"/>
              <a:gd name="connsiteY77" fmla="*/ 657949 h 2364509"/>
              <a:gd name="connsiteX78" fmla="*/ 1985819 w 1985964"/>
              <a:gd name="connsiteY78" fmla="*/ 657949 h 2364509"/>
              <a:gd name="connsiteX79" fmla="*/ 1985819 w 1985964"/>
              <a:gd name="connsiteY79" fmla="*/ 652531 h 2364509"/>
              <a:gd name="connsiteX80" fmla="*/ 1985964 w 1985964"/>
              <a:gd name="connsiteY80" fmla="*/ 651813 h 2364509"/>
              <a:gd name="connsiteX81" fmla="*/ 1985964 w 1985964"/>
              <a:gd name="connsiteY81" fmla="*/ 320606 h 2364509"/>
              <a:gd name="connsiteX82" fmla="*/ 1979095 w 1985964"/>
              <a:gd name="connsiteY82" fmla="*/ 264273 h 2364509"/>
              <a:gd name="connsiteX83" fmla="*/ 1962862 w 1985964"/>
              <a:gd name="connsiteY83" fmla="*/ 209616 h 2364509"/>
              <a:gd name="connsiteX84" fmla="*/ 1960902 w 1985964"/>
              <a:gd name="connsiteY84" fmla="*/ 205670 h 2364509"/>
              <a:gd name="connsiteX85" fmla="*/ 1959808 w 1985964"/>
              <a:gd name="connsiteY85" fmla="*/ 202145 h 2364509"/>
              <a:gd name="connsiteX86" fmla="*/ 1952102 w 1985964"/>
              <a:gd name="connsiteY86" fmla="*/ 187947 h 2364509"/>
              <a:gd name="connsiteX87" fmla="*/ 1937903 w 1985964"/>
              <a:gd name="connsiteY87" fmla="*/ 159353 h 2364509"/>
              <a:gd name="connsiteX88" fmla="*/ 1932732 w 1985964"/>
              <a:gd name="connsiteY88" fmla="*/ 152262 h 2364509"/>
              <a:gd name="connsiteX89" fmla="*/ 1929292 w 1985964"/>
              <a:gd name="connsiteY89" fmla="*/ 145924 h 2364509"/>
              <a:gd name="connsiteX90" fmla="*/ 1919138 w 1985964"/>
              <a:gd name="connsiteY90" fmla="*/ 133617 h 2364509"/>
              <a:gd name="connsiteX91" fmla="*/ 1905110 w 1985964"/>
              <a:gd name="connsiteY91" fmla="*/ 114377 h 2364509"/>
              <a:gd name="connsiteX92" fmla="*/ 1895612 w 1985964"/>
              <a:gd name="connsiteY92" fmla="*/ 105103 h 2364509"/>
              <a:gd name="connsiteX93" fmla="*/ 1888877 w 1985964"/>
              <a:gd name="connsiteY93" fmla="*/ 96941 h 2364509"/>
              <a:gd name="connsiteX94" fmla="*/ 1878393 w 1985964"/>
              <a:gd name="connsiteY94" fmla="*/ 88290 h 2364509"/>
              <a:gd name="connsiteX95" fmla="*/ 1865375 w 1985964"/>
              <a:gd name="connsiteY95" fmla="*/ 75579 h 2364509"/>
              <a:gd name="connsiteX96" fmla="*/ 1857537 w 1985964"/>
              <a:gd name="connsiteY96" fmla="*/ 71082 h 2364509"/>
              <a:gd name="connsiteX97" fmla="*/ 1839894 w 1985964"/>
              <a:gd name="connsiteY97" fmla="*/ 56526 h 2364509"/>
              <a:gd name="connsiteX98" fmla="*/ 1783673 w 1985964"/>
              <a:gd name="connsiteY98" fmla="*/ 26010 h 2364509"/>
              <a:gd name="connsiteX99" fmla="*/ 1773433 w 1985964"/>
              <a:gd name="connsiteY99" fmla="*/ 22831 h 2364509"/>
              <a:gd name="connsiteX100" fmla="*/ 1768644 w 1985964"/>
              <a:gd name="connsiteY100" fmla="*/ 20084 h 2364509"/>
              <a:gd name="connsiteX101" fmla="*/ 1737353 w 1985964"/>
              <a:gd name="connsiteY101" fmla="*/ 11631 h 2364509"/>
              <a:gd name="connsiteX102" fmla="*/ 1721545 w 1985964"/>
              <a:gd name="connsiteY102" fmla="*/ 6724 h 2364509"/>
              <a:gd name="connsiteX103" fmla="*/ 1717783 w 1985964"/>
              <a:gd name="connsiteY103" fmla="*/ 6345 h 2364509"/>
              <a:gd name="connsiteX104" fmla="*/ 1713431 w 1985964"/>
              <a:gd name="connsiteY104" fmla="*/ 5170 h 2364509"/>
              <a:gd name="connsiteX105" fmla="*/ 1654843 w 1985964"/>
              <a:gd name="connsiteY105" fmla="*/ 0 h 2364509"/>
              <a:gd name="connsiteX0" fmla="*/ 1654843 w 1985964"/>
              <a:gd name="connsiteY0" fmla="*/ 0 h 2364509"/>
              <a:gd name="connsiteX1" fmla="*/ 1654842 w 1985964"/>
              <a:gd name="connsiteY1" fmla="*/ 0 h 2364509"/>
              <a:gd name="connsiteX2" fmla="*/ 330977 w 1985964"/>
              <a:gd name="connsiteY2" fmla="*/ 0 h 2364509"/>
              <a:gd name="connsiteX3" fmla="*/ 330976 w 1985964"/>
              <a:gd name="connsiteY3" fmla="*/ 0 h 2364509"/>
              <a:gd name="connsiteX4" fmla="*/ 0 w 1985964"/>
              <a:gd name="connsiteY4" fmla="*/ 330976 h 2364509"/>
              <a:gd name="connsiteX5" fmla="*/ 0 w 1985964"/>
              <a:gd name="connsiteY5" fmla="*/ 2033533 h 2364509"/>
              <a:gd name="connsiteX6" fmla="*/ 330976 w 1985964"/>
              <a:gd name="connsiteY6" fmla="*/ 2364509 h 2364509"/>
              <a:gd name="connsiteX7" fmla="*/ 330977 w 1985964"/>
              <a:gd name="connsiteY7" fmla="*/ 2364509 h 2364509"/>
              <a:gd name="connsiteX8" fmla="*/ 1654842 w 1985964"/>
              <a:gd name="connsiteY8" fmla="*/ 2364509 h 2364509"/>
              <a:gd name="connsiteX9" fmla="*/ 1654843 w 1985964"/>
              <a:gd name="connsiteY9" fmla="*/ 2364509 h 2364509"/>
              <a:gd name="connsiteX10" fmla="*/ 1654850 w 1985964"/>
              <a:gd name="connsiteY10" fmla="*/ 2364508 h 2364509"/>
              <a:gd name="connsiteX11" fmla="*/ 1713430 w 1985964"/>
              <a:gd name="connsiteY11" fmla="*/ 2359339 h 2364509"/>
              <a:gd name="connsiteX12" fmla="*/ 1717781 w 1985964"/>
              <a:gd name="connsiteY12" fmla="*/ 2358164 h 2364509"/>
              <a:gd name="connsiteX13" fmla="*/ 1721546 w 1985964"/>
              <a:gd name="connsiteY13" fmla="*/ 2357784 h 2364509"/>
              <a:gd name="connsiteX14" fmla="*/ 1737367 w 1985964"/>
              <a:gd name="connsiteY14" fmla="*/ 2352873 h 2364509"/>
              <a:gd name="connsiteX15" fmla="*/ 1768643 w 1985964"/>
              <a:gd name="connsiteY15" fmla="*/ 2344425 h 2364509"/>
              <a:gd name="connsiteX16" fmla="*/ 1773429 w 1985964"/>
              <a:gd name="connsiteY16" fmla="*/ 2341679 h 2364509"/>
              <a:gd name="connsiteX17" fmla="*/ 1783674 w 1985964"/>
              <a:gd name="connsiteY17" fmla="*/ 2338499 h 2364509"/>
              <a:gd name="connsiteX18" fmla="*/ 1839895 w 1985964"/>
              <a:gd name="connsiteY18" fmla="*/ 2307983 h 2364509"/>
              <a:gd name="connsiteX19" fmla="*/ 1857542 w 1985964"/>
              <a:gd name="connsiteY19" fmla="*/ 2293423 h 2364509"/>
              <a:gd name="connsiteX20" fmla="*/ 1865374 w 1985964"/>
              <a:gd name="connsiteY20" fmla="*/ 2288930 h 2364509"/>
              <a:gd name="connsiteX21" fmla="*/ 1878381 w 1985964"/>
              <a:gd name="connsiteY21" fmla="*/ 2276229 h 2364509"/>
              <a:gd name="connsiteX22" fmla="*/ 1888878 w 1985964"/>
              <a:gd name="connsiteY22" fmla="*/ 2267568 h 2364509"/>
              <a:gd name="connsiteX23" fmla="*/ 1895621 w 1985964"/>
              <a:gd name="connsiteY23" fmla="*/ 2259396 h 2364509"/>
              <a:gd name="connsiteX24" fmla="*/ 1905109 w 1985964"/>
              <a:gd name="connsiteY24" fmla="*/ 2250132 h 2364509"/>
              <a:gd name="connsiteX25" fmla="*/ 1919122 w 1985964"/>
              <a:gd name="connsiteY25" fmla="*/ 2230912 h 2364509"/>
              <a:gd name="connsiteX26" fmla="*/ 1929293 w 1985964"/>
              <a:gd name="connsiteY26" fmla="*/ 2218585 h 2364509"/>
              <a:gd name="connsiteX27" fmla="*/ 1932739 w 1985964"/>
              <a:gd name="connsiteY27" fmla="*/ 2212236 h 2364509"/>
              <a:gd name="connsiteX28" fmla="*/ 1937902 w 1985964"/>
              <a:gd name="connsiteY28" fmla="*/ 2205156 h 2364509"/>
              <a:gd name="connsiteX29" fmla="*/ 1952079 w 1985964"/>
              <a:gd name="connsiteY29" fmla="*/ 2176606 h 2364509"/>
              <a:gd name="connsiteX30" fmla="*/ 1959809 w 1985964"/>
              <a:gd name="connsiteY30" fmla="*/ 2162364 h 2364509"/>
              <a:gd name="connsiteX31" fmla="*/ 1960907 w 1985964"/>
              <a:gd name="connsiteY31" fmla="*/ 2158828 h 2364509"/>
              <a:gd name="connsiteX32" fmla="*/ 1962861 w 1985964"/>
              <a:gd name="connsiteY32" fmla="*/ 2154893 h 2364509"/>
              <a:gd name="connsiteX33" fmla="*/ 1979076 w 1985964"/>
              <a:gd name="connsiteY33" fmla="*/ 2100297 h 2364509"/>
              <a:gd name="connsiteX34" fmla="*/ 1979095 w 1985964"/>
              <a:gd name="connsiteY34" fmla="*/ 2100236 h 2364509"/>
              <a:gd name="connsiteX35" fmla="*/ 1979098 w 1985964"/>
              <a:gd name="connsiteY35" fmla="*/ 2100200 h 2364509"/>
              <a:gd name="connsiteX36" fmla="*/ 1985963 w 1985964"/>
              <a:gd name="connsiteY36" fmla="*/ 2043903 h 2364509"/>
              <a:gd name="connsiteX37" fmla="*/ 1985963 w 1985964"/>
              <a:gd name="connsiteY37" fmla="*/ 1725393 h 2364509"/>
              <a:gd name="connsiteX38" fmla="*/ 1985964 w 1985964"/>
              <a:gd name="connsiteY38" fmla="*/ 1725393 h 2364509"/>
              <a:gd name="connsiteX39" fmla="*/ 1985964 w 1985964"/>
              <a:gd name="connsiteY39" fmla="*/ 1401883 h 2364509"/>
              <a:gd name="connsiteX40" fmla="*/ 1985819 w 1985964"/>
              <a:gd name="connsiteY40" fmla="*/ 1401165 h 2364509"/>
              <a:gd name="connsiteX41" fmla="*/ 1985819 w 1985964"/>
              <a:gd name="connsiteY41" fmla="*/ 1395747 h 2364509"/>
              <a:gd name="connsiteX42" fmla="*/ 1984725 w 1985964"/>
              <a:gd name="connsiteY42" fmla="*/ 1395747 h 2364509"/>
              <a:gd name="connsiteX43" fmla="*/ 1980350 w 1985964"/>
              <a:gd name="connsiteY43" fmla="*/ 1374076 h 2364509"/>
              <a:gd name="connsiteX44" fmla="*/ 1914526 w 1985964"/>
              <a:gd name="connsiteY44" fmla="*/ 1330445 h 2364509"/>
              <a:gd name="connsiteX45" fmla="*/ 1848702 w 1985964"/>
              <a:gd name="connsiteY45" fmla="*/ 1374076 h 2364509"/>
              <a:gd name="connsiteX46" fmla="*/ 1844327 w 1985964"/>
              <a:gd name="connsiteY46" fmla="*/ 1395747 h 2364509"/>
              <a:gd name="connsiteX47" fmla="*/ 1842312 w 1985964"/>
              <a:gd name="connsiteY47" fmla="*/ 1395747 h 2364509"/>
              <a:gd name="connsiteX48" fmla="*/ 1842312 w 1985964"/>
              <a:gd name="connsiteY48" fmla="*/ 1673582 h 2364509"/>
              <a:gd name="connsiteX49" fmla="*/ 1838061 w 1985964"/>
              <a:gd name="connsiteY49" fmla="*/ 1715751 h 2364509"/>
              <a:gd name="connsiteX50" fmla="*/ 1842311 w 1985964"/>
              <a:gd name="connsiteY50" fmla="*/ 1984395 h 2364509"/>
              <a:gd name="connsiteX51" fmla="*/ 1838060 w 1985964"/>
              <a:gd name="connsiteY51" fmla="*/ 2026564 h 2364509"/>
              <a:gd name="connsiteX52" fmla="*/ 1838058 w 1985964"/>
              <a:gd name="connsiteY52" fmla="*/ 2026570 h 2364509"/>
              <a:gd name="connsiteX53" fmla="*/ 1818140 w 1985964"/>
              <a:gd name="connsiteY53" fmla="*/ 2077302 h 2364509"/>
              <a:gd name="connsiteX54" fmla="*/ 1792175 w 1985964"/>
              <a:gd name="connsiteY54" fmla="*/ 2115814 h 2364509"/>
              <a:gd name="connsiteX55" fmla="*/ 1773416 w 1985964"/>
              <a:gd name="connsiteY55" fmla="*/ 2137481 h 2364509"/>
              <a:gd name="connsiteX56" fmla="*/ 1731490 w 1985964"/>
              <a:gd name="connsiteY56" fmla="*/ 2165749 h 2364509"/>
              <a:gd name="connsiteX57" fmla="*/ 1709927 w 1985964"/>
              <a:gd name="connsiteY57" fmla="*/ 2178120 h 2364509"/>
              <a:gd name="connsiteX58" fmla="*/ 1633141 w 1985964"/>
              <a:gd name="connsiteY58" fmla="*/ 2193622 h 2364509"/>
              <a:gd name="connsiteX59" fmla="*/ 1633070 w 1985964"/>
              <a:gd name="connsiteY59" fmla="*/ 2193635 h 2364509"/>
              <a:gd name="connsiteX60" fmla="*/ 352749 w 1985964"/>
              <a:gd name="connsiteY60" fmla="*/ 2193635 h 2364509"/>
              <a:gd name="connsiteX61" fmla="*/ 143507 w 1985964"/>
              <a:gd name="connsiteY61" fmla="*/ 1984393 h 2364509"/>
              <a:gd name="connsiteX62" fmla="*/ 143507 w 1985964"/>
              <a:gd name="connsiteY62" fmla="*/ 380114 h 2364509"/>
              <a:gd name="connsiteX63" fmla="*/ 147758 w 1985964"/>
              <a:gd name="connsiteY63" fmla="*/ 337945 h 2364509"/>
              <a:gd name="connsiteX64" fmla="*/ 159950 w 1985964"/>
              <a:gd name="connsiteY64" fmla="*/ 298669 h 2364509"/>
              <a:gd name="connsiteX65" fmla="*/ 204792 w 1985964"/>
              <a:gd name="connsiteY65" fmla="*/ 232160 h 2364509"/>
              <a:gd name="connsiteX66" fmla="*/ 352748 w 1985964"/>
              <a:gd name="connsiteY66" fmla="*/ 170874 h 2364509"/>
              <a:gd name="connsiteX67" fmla="*/ 1633069 w 1985964"/>
              <a:gd name="connsiteY67" fmla="*/ 170874 h 2364509"/>
              <a:gd name="connsiteX68" fmla="*/ 1842311 w 1985964"/>
              <a:gd name="connsiteY68" fmla="*/ 380116 h 2364509"/>
              <a:gd name="connsiteX69" fmla="*/ 1842311 w 1985964"/>
              <a:gd name="connsiteY69" fmla="*/ 390533 h 2364509"/>
              <a:gd name="connsiteX70" fmla="*/ 1842312 w 1985964"/>
              <a:gd name="connsiteY70" fmla="*/ 390533 h 2364509"/>
              <a:gd name="connsiteX71" fmla="*/ 1842312 w 1985964"/>
              <a:gd name="connsiteY71" fmla="*/ 657949 h 2364509"/>
              <a:gd name="connsiteX72" fmla="*/ 1844327 w 1985964"/>
              <a:gd name="connsiteY72" fmla="*/ 657949 h 2364509"/>
              <a:gd name="connsiteX73" fmla="*/ 1848702 w 1985964"/>
              <a:gd name="connsiteY73" fmla="*/ 679620 h 2364509"/>
              <a:gd name="connsiteX74" fmla="*/ 1914526 w 1985964"/>
              <a:gd name="connsiteY74" fmla="*/ 723251 h 2364509"/>
              <a:gd name="connsiteX75" fmla="*/ 1980350 w 1985964"/>
              <a:gd name="connsiteY75" fmla="*/ 679620 h 2364509"/>
              <a:gd name="connsiteX76" fmla="*/ 1984725 w 1985964"/>
              <a:gd name="connsiteY76" fmla="*/ 657949 h 2364509"/>
              <a:gd name="connsiteX77" fmla="*/ 1985819 w 1985964"/>
              <a:gd name="connsiteY77" fmla="*/ 657949 h 2364509"/>
              <a:gd name="connsiteX78" fmla="*/ 1985819 w 1985964"/>
              <a:gd name="connsiteY78" fmla="*/ 652531 h 2364509"/>
              <a:gd name="connsiteX79" fmla="*/ 1985964 w 1985964"/>
              <a:gd name="connsiteY79" fmla="*/ 651813 h 2364509"/>
              <a:gd name="connsiteX80" fmla="*/ 1985964 w 1985964"/>
              <a:gd name="connsiteY80" fmla="*/ 320606 h 2364509"/>
              <a:gd name="connsiteX81" fmla="*/ 1979095 w 1985964"/>
              <a:gd name="connsiteY81" fmla="*/ 264273 h 2364509"/>
              <a:gd name="connsiteX82" fmla="*/ 1962862 w 1985964"/>
              <a:gd name="connsiteY82" fmla="*/ 209616 h 2364509"/>
              <a:gd name="connsiteX83" fmla="*/ 1960902 w 1985964"/>
              <a:gd name="connsiteY83" fmla="*/ 205670 h 2364509"/>
              <a:gd name="connsiteX84" fmla="*/ 1959808 w 1985964"/>
              <a:gd name="connsiteY84" fmla="*/ 202145 h 2364509"/>
              <a:gd name="connsiteX85" fmla="*/ 1952102 w 1985964"/>
              <a:gd name="connsiteY85" fmla="*/ 187947 h 2364509"/>
              <a:gd name="connsiteX86" fmla="*/ 1937903 w 1985964"/>
              <a:gd name="connsiteY86" fmla="*/ 159353 h 2364509"/>
              <a:gd name="connsiteX87" fmla="*/ 1932732 w 1985964"/>
              <a:gd name="connsiteY87" fmla="*/ 152262 h 2364509"/>
              <a:gd name="connsiteX88" fmla="*/ 1929292 w 1985964"/>
              <a:gd name="connsiteY88" fmla="*/ 145924 h 2364509"/>
              <a:gd name="connsiteX89" fmla="*/ 1919138 w 1985964"/>
              <a:gd name="connsiteY89" fmla="*/ 133617 h 2364509"/>
              <a:gd name="connsiteX90" fmla="*/ 1905110 w 1985964"/>
              <a:gd name="connsiteY90" fmla="*/ 114377 h 2364509"/>
              <a:gd name="connsiteX91" fmla="*/ 1895612 w 1985964"/>
              <a:gd name="connsiteY91" fmla="*/ 105103 h 2364509"/>
              <a:gd name="connsiteX92" fmla="*/ 1888877 w 1985964"/>
              <a:gd name="connsiteY92" fmla="*/ 96941 h 2364509"/>
              <a:gd name="connsiteX93" fmla="*/ 1878393 w 1985964"/>
              <a:gd name="connsiteY93" fmla="*/ 88290 h 2364509"/>
              <a:gd name="connsiteX94" fmla="*/ 1865375 w 1985964"/>
              <a:gd name="connsiteY94" fmla="*/ 75579 h 2364509"/>
              <a:gd name="connsiteX95" fmla="*/ 1857537 w 1985964"/>
              <a:gd name="connsiteY95" fmla="*/ 71082 h 2364509"/>
              <a:gd name="connsiteX96" fmla="*/ 1839894 w 1985964"/>
              <a:gd name="connsiteY96" fmla="*/ 56526 h 2364509"/>
              <a:gd name="connsiteX97" fmla="*/ 1783673 w 1985964"/>
              <a:gd name="connsiteY97" fmla="*/ 26010 h 2364509"/>
              <a:gd name="connsiteX98" fmla="*/ 1773433 w 1985964"/>
              <a:gd name="connsiteY98" fmla="*/ 22831 h 2364509"/>
              <a:gd name="connsiteX99" fmla="*/ 1768644 w 1985964"/>
              <a:gd name="connsiteY99" fmla="*/ 20084 h 2364509"/>
              <a:gd name="connsiteX100" fmla="*/ 1737353 w 1985964"/>
              <a:gd name="connsiteY100" fmla="*/ 11631 h 2364509"/>
              <a:gd name="connsiteX101" fmla="*/ 1721545 w 1985964"/>
              <a:gd name="connsiteY101" fmla="*/ 6724 h 2364509"/>
              <a:gd name="connsiteX102" fmla="*/ 1717783 w 1985964"/>
              <a:gd name="connsiteY102" fmla="*/ 6345 h 2364509"/>
              <a:gd name="connsiteX103" fmla="*/ 1713431 w 1985964"/>
              <a:gd name="connsiteY103" fmla="*/ 5170 h 2364509"/>
              <a:gd name="connsiteX104" fmla="*/ 1654843 w 1985964"/>
              <a:gd name="connsiteY104" fmla="*/ 0 h 2364509"/>
              <a:gd name="connsiteX0" fmla="*/ 1654843 w 1985964"/>
              <a:gd name="connsiteY0" fmla="*/ 0 h 2364509"/>
              <a:gd name="connsiteX1" fmla="*/ 1654842 w 1985964"/>
              <a:gd name="connsiteY1" fmla="*/ 0 h 2364509"/>
              <a:gd name="connsiteX2" fmla="*/ 330977 w 1985964"/>
              <a:gd name="connsiteY2" fmla="*/ 0 h 2364509"/>
              <a:gd name="connsiteX3" fmla="*/ 330976 w 1985964"/>
              <a:gd name="connsiteY3" fmla="*/ 0 h 2364509"/>
              <a:gd name="connsiteX4" fmla="*/ 0 w 1985964"/>
              <a:gd name="connsiteY4" fmla="*/ 330976 h 2364509"/>
              <a:gd name="connsiteX5" fmla="*/ 0 w 1985964"/>
              <a:gd name="connsiteY5" fmla="*/ 2033533 h 2364509"/>
              <a:gd name="connsiteX6" fmla="*/ 330976 w 1985964"/>
              <a:gd name="connsiteY6" fmla="*/ 2364509 h 2364509"/>
              <a:gd name="connsiteX7" fmla="*/ 330977 w 1985964"/>
              <a:gd name="connsiteY7" fmla="*/ 2364509 h 2364509"/>
              <a:gd name="connsiteX8" fmla="*/ 1654842 w 1985964"/>
              <a:gd name="connsiteY8" fmla="*/ 2364509 h 2364509"/>
              <a:gd name="connsiteX9" fmla="*/ 1654843 w 1985964"/>
              <a:gd name="connsiteY9" fmla="*/ 2364509 h 2364509"/>
              <a:gd name="connsiteX10" fmla="*/ 1654850 w 1985964"/>
              <a:gd name="connsiteY10" fmla="*/ 2364508 h 2364509"/>
              <a:gd name="connsiteX11" fmla="*/ 1713430 w 1985964"/>
              <a:gd name="connsiteY11" fmla="*/ 2359339 h 2364509"/>
              <a:gd name="connsiteX12" fmla="*/ 1717781 w 1985964"/>
              <a:gd name="connsiteY12" fmla="*/ 2358164 h 2364509"/>
              <a:gd name="connsiteX13" fmla="*/ 1721546 w 1985964"/>
              <a:gd name="connsiteY13" fmla="*/ 2357784 h 2364509"/>
              <a:gd name="connsiteX14" fmla="*/ 1737367 w 1985964"/>
              <a:gd name="connsiteY14" fmla="*/ 2352873 h 2364509"/>
              <a:gd name="connsiteX15" fmla="*/ 1768643 w 1985964"/>
              <a:gd name="connsiteY15" fmla="*/ 2344425 h 2364509"/>
              <a:gd name="connsiteX16" fmla="*/ 1773429 w 1985964"/>
              <a:gd name="connsiteY16" fmla="*/ 2341679 h 2364509"/>
              <a:gd name="connsiteX17" fmla="*/ 1783674 w 1985964"/>
              <a:gd name="connsiteY17" fmla="*/ 2338499 h 2364509"/>
              <a:gd name="connsiteX18" fmla="*/ 1839895 w 1985964"/>
              <a:gd name="connsiteY18" fmla="*/ 2307983 h 2364509"/>
              <a:gd name="connsiteX19" fmla="*/ 1857542 w 1985964"/>
              <a:gd name="connsiteY19" fmla="*/ 2293423 h 2364509"/>
              <a:gd name="connsiteX20" fmla="*/ 1865374 w 1985964"/>
              <a:gd name="connsiteY20" fmla="*/ 2288930 h 2364509"/>
              <a:gd name="connsiteX21" fmla="*/ 1878381 w 1985964"/>
              <a:gd name="connsiteY21" fmla="*/ 2276229 h 2364509"/>
              <a:gd name="connsiteX22" fmla="*/ 1888878 w 1985964"/>
              <a:gd name="connsiteY22" fmla="*/ 2267568 h 2364509"/>
              <a:gd name="connsiteX23" fmla="*/ 1895621 w 1985964"/>
              <a:gd name="connsiteY23" fmla="*/ 2259396 h 2364509"/>
              <a:gd name="connsiteX24" fmla="*/ 1905109 w 1985964"/>
              <a:gd name="connsiteY24" fmla="*/ 2250132 h 2364509"/>
              <a:gd name="connsiteX25" fmla="*/ 1919122 w 1985964"/>
              <a:gd name="connsiteY25" fmla="*/ 2230912 h 2364509"/>
              <a:gd name="connsiteX26" fmla="*/ 1929293 w 1985964"/>
              <a:gd name="connsiteY26" fmla="*/ 2218585 h 2364509"/>
              <a:gd name="connsiteX27" fmla="*/ 1932739 w 1985964"/>
              <a:gd name="connsiteY27" fmla="*/ 2212236 h 2364509"/>
              <a:gd name="connsiteX28" fmla="*/ 1937902 w 1985964"/>
              <a:gd name="connsiteY28" fmla="*/ 2205156 h 2364509"/>
              <a:gd name="connsiteX29" fmla="*/ 1952079 w 1985964"/>
              <a:gd name="connsiteY29" fmla="*/ 2176606 h 2364509"/>
              <a:gd name="connsiteX30" fmla="*/ 1959809 w 1985964"/>
              <a:gd name="connsiteY30" fmla="*/ 2162364 h 2364509"/>
              <a:gd name="connsiteX31" fmla="*/ 1960907 w 1985964"/>
              <a:gd name="connsiteY31" fmla="*/ 2158828 h 2364509"/>
              <a:gd name="connsiteX32" fmla="*/ 1962861 w 1985964"/>
              <a:gd name="connsiteY32" fmla="*/ 2154893 h 2364509"/>
              <a:gd name="connsiteX33" fmla="*/ 1979076 w 1985964"/>
              <a:gd name="connsiteY33" fmla="*/ 2100297 h 2364509"/>
              <a:gd name="connsiteX34" fmla="*/ 1979095 w 1985964"/>
              <a:gd name="connsiteY34" fmla="*/ 2100236 h 2364509"/>
              <a:gd name="connsiteX35" fmla="*/ 1979098 w 1985964"/>
              <a:gd name="connsiteY35" fmla="*/ 2100200 h 2364509"/>
              <a:gd name="connsiteX36" fmla="*/ 1985963 w 1985964"/>
              <a:gd name="connsiteY36" fmla="*/ 2043903 h 2364509"/>
              <a:gd name="connsiteX37" fmla="*/ 1985963 w 1985964"/>
              <a:gd name="connsiteY37" fmla="*/ 1725393 h 2364509"/>
              <a:gd name="connsiteX38" fmla="*/ 1985964 w 1985964"/>
              <a:gd name="connsiteY38" fmla="*/ 1725393 h 2364509"/>
              <a:gd name="connsiteX39" fmla="*/ 1985964 w 1985964"/>
              <a:gd name="connsiteY39" fmla="*/ 1401883 h 2364509"/>
              <a:gd name="connsiteX40" fmla="*/ 1985819 w 1985964"/>
              <a:gd name="connsiteY40" fmla="*/ 1401165 h 2364509"/>
              <a:gd name="connsiteX41" fmla="*/ 1985819 w 1985964"/>
              <a:gd name="connsiteY41" fmla="*/ 1395747 h 2364509"/>
              <a:gd name="connsiteX42" fmla="*/ 1984725 w 1985964"/>
              <a:gd name="connsiteY42" fmla="*/ 1395747 h 2364509"/>
              <a:gd name="connsiteX43" fmla="*/ 1980350 w 1985964"/>
              <a:gd name="connsiteY43" fmla="*/ 1374076 h 2364509"/>
              <a:gd name="connsiteX44" fmla="*/ 1914526 w 1985964"/>
              <a:gd name="connsiteY44" fmla="*/ 1330445 h 2364509"/>
              <a:gd name="connsiteX45" fmla="*/ 1848702 w 1985964"/>
              <a:gd name="connsiteY45" fmla="*/ 1374076 h 2364509"/>
              <a:gd name="connsiteX46" fmla="*/ 1844327 w 1985964"/>
              <a:gd name="connsiteY46" fmla="*/ 1395747 h 2364509"/>
              <a:gd name="connsiteX47" fmla="*/ 1842312 w 1985964"/>
              <a:gd name="connsiteY47" fmla="*/ 1395747 h 2364509"/>
              <a:gd name="connsiteX48" fmla="*/ 1842312 w 1985964"/>
              <a:gd name="connsiteY48" fmla="*/ 1673582 h 2364509"/>
              <a:gd name="connsiteX49" fmla="*/ 1842311 w 1985964"/>
              <a:gd name="connsiteY49" fmla="*/ 1984395 h 2364509"/>
              <a:gd name="connsiteX50" fmla="*/ 1838060 w 1985964"/>
              <a:gd name="connsiteY50" fmla="*/ 2026564 h 2364509"/>
              <a:gd name="connsiteX51" fmla="*/ 1838058 w 1985964"/>
              <a:gd name="connsiteY51" fmla="*/ 2026570 h 2364509"/>
              <a:gd name="connsiteX52" fmla="*/ 1818140 w 1985964"/>
              <a:gd name="connsiteY52" fmla="*/ 2077302 h 2364509"/>
              <a:gd name="connsiteX53" fmla="*/ 1792175 w 1985964"/>
              <a:gd name="connsiteY53" fmla="*/ 2115814 h 2364509"/>
              <a:gd name="connsiteX54" fmla="*/ 1773416 w 1985964"/>
              <a:gd name="connsiteY54" fmla="*/ 2137481 h 2364509"/>
              <a:gd name="connsiteX55" fmla="*/ 1731490 w 1985964"/>
              <a:gd name="connsiteY55" fmla="*/ 2165749 h 2364509"/>
              <a:gd name="connsiteX56" fmla="*/ 1709927 w 1985964"/>
              <a:gd name="connsiteY56" fmla="*/ 2178120 h 2364509"/>
              <a:gd name="connsiteX57" fmla="*/ 1633141 w 1985964"/>
              <a:gd name="connsiteY57" fmla="*/ 2193622 h 2364509"/>
              <a:gd name="connsiteX58" fmla="*/ 1633070 w 1985964"/>
              <a:gd name="connsiteY58" fmla="*/ 2193635 h 2364509"/>
              <a:gd name="connsiteX59" fmla="*/ 352749 w 1985964"/>
              <a:gd name="connsiteY59" fmla="*/ 2193635 h 2364509"/>
              <a:gd name="connsiteX60" fmla="*/ 143507 w 1985964"/>
              <a:gd name="connsiteY60" fmla="*/ 1984393 h 2364509"/>
              <a:gd name="connsiteX61" fmla="*/ 143507 w 1985964"/>
              <a:gd name="connsiteY61" fmla="*/ 380114 h 2364509"/>
              <a:gd name="connsiteX62" fmla="*/ 147758 w 1985964"/>
              <a:gd name="connsiteY62" fmla="*/ 337945 h 2364509"/>
              <a:gd name="connsiteX63" fmla="*/ 159950 w 1985964"/>
              <a:gd name="connsiteY63" fmla="*/ 298669 h 2364509"/>
              <a:gd name="connsiteX64" fmla="*/ 204792 w 1985964"/>
              <a:gd name="connsiteY64" fmla="*/ 232160 h 2364509"/>
              <a:gd name="connsiteX65" fmla="*/ 352748 w 1985964"/>
              <a:gd name="connsiteY65" fmla="*/ 170874 h 2364509"/>
              <a:gd name="connsiteX66" fmla="*/ 1633069 w 1985964"/>
              <a:gd name="connsiteY66" fmla="*/ 170874 h 2364509"/>
              <a:gd name="connsiteX67" fmla="*/ 1842311 w 1985964"/>
              <a:gd name="connsiteY67" fmla="*/ 380116 h 2364509"/>
              <a:gd name="connsiteX68" fmla="*/ 1842311 w 1985964"/>
              <a:gd name="connsiteY68" fmla="*/ 390533 h 2364509"/>
              <a:gd name="connsiteX69" fmla="*/ 1842312 w 1985964"/>
              <a:gd name="connsiteY69" fmla="*/ 390533 h 2364509"/>
              <a:gd name="connsiteX70" fmla="*/ 1842312 w 1985964"/>
              <a:gd name="connsiteY70" fmla="*/ 657949 h 2364509"/>
              <a:gd name="connsiteX71" fmla="*/ 1844327 w 1985964"/>
              <a:gd name="connsiteY71" fmla="*/ 657949 h 2364509"/>
              <a:gd name="connsiteX72" fmla="*/ 1848702 w 1985964"/>
              <a:gd name="connsiteY72" fmla="*/ 679620 h 2364509"/>
              <a:gd name="connsiteX73" fmla="*/ 1914526 w 1985964"/>
              <a:gd name="connsiteY73" fmla="*/ 723251 h 2364509"/>
              <a:gd name="connsiteX74" fmla="*/ 1980350 w 1985964"/>
              <a:gd name="connsiteY74" fmla="*/ 679620 h 2364509"/>
              <a:gd name="connsiteX75" fmla="*/ 1984725 w 1985964"/>
              <a:gd name="connsiteY75" fmla="*/ 657949 h 2364509"/>
              <a:gd name="connsiteX76" fmla="*/ 1985819 w 1985964"/>
              <a:gd name="connsiteY76" fmla="*/ 657949 h 2364509"/>
              <a:gd name="connsiteX77" fmla="*/ 1985819 w 1985964"/>
              <a:gd name="connsiteY77" fmla="*/ 652531 h 2364509"/>
              <a:gd name="connsiteX78" fmla="*/ 1985964 w 1985964"/>
              <a:gd name="connsiteY78" fmla="*/ 651813 h 2364509"/>
              <a:gd name="connsiteX79" fmla="*/ 1985964 w 1985964"/>
              <a:gd name="connsiteY79" fmla="*/ 320606 h 2364509"/>
              <a:gd name="connsiteX80" fmla="*/ 1979095 w 1985964"/>
              <a:gd name="connsiteY80" fmla="*/ 264273 h 2364509"/>
              <a:gd name="connsiteX81" fmla="*/ 1962862 w 1985964"/>
              <a:gd name="connsiteY81" fmla="*/ 209616 h 2364509"/>
              <a:gd name="connsiteX82" fmla="*/ 1960902 w 1985964"/>
              <a:gd name="connsiteY82" fmla="*/ 205670 h 2364509"/>
              <a:gd name="connsiteX83" fmla="*/ 1959808 w 1985964"/>
              <a:gd name="connsiteY83" fmla="*/ 202145 h 2364509"/>
              <a:gd name="connsiteX84" fmla="*/ 1952102 w 1985964"/>
              <a:gd name="connsiteY84" fmla="*/ 187947 h 2364509"/>
              <a:gd name="connsiteX85" fmla="*/ 1937903 w 1985964"/>
              <a:gd name="connsiteY85" fmla="*/ 159353 h 2364509"/>
              <a:gd name="connsiteX86" fmla="*/ 1932732 w 1985964"/>
              <a:gd name="connsiteY86" fmla="*/ 152262 h 2364509"/>
              <a:gd name="connsiteX87" fmla="*/ 1929292 w 1985964"/>
              <a:gd name="connsiteY87" fmla="*/ 145924 h 2364509"/>
              <a:gd name="connsiteX88" fmla="*/ 1919138 w 1985964"/>
              <a:gd name="connsiteY88" fmla="*/ 133617 h 2364509"/>
              <a:gd name="connsiteX89" fmla="*/ 1905110 w 1985964"/>
              <a:gd name="connsiteY89" fmla="*/ 114377 h 2364509"/>
              <a:gd name="connsiteX90" fmla="*/ 1895612 w 1985964"/>
              <a:gd name="connsiteY90" fmla="*/ 105103 h 2364509"/>
              <a:gd name="connsiteX91" fmla="*/ 1888877 w 1985964"/>
              <a:gd name="connsiteY91" fmla="*/ 96941 h 2364509"/>
              <a:gd name="connsiteX92" fmla="*/ 1878393 w 1985964"/>
              <a:gd name="connsiteY92" fmla="*/ 88290 h 2364509"/>
              <a:gd name="connsiteX93" fmla="*/ 1865375 w 1985964"/>
              <a:gd name="connsiteY93" fmla="*/ 75579 h 2364509"/>
              <a:gd name="connsiteX94" fmla="*/ 1857537 w 1985964"/>
              <a:gd name="connsiteY94" fmla="*/ 71082 h 2364509"/>
              <a:gd name="connsiteX95" fmla="*/ 1839894 w 1985964"/>
              <a:gd name="connsiteY95" fmla="*/ 56526 h 2364509"/>
              <a:gd name="connsiteX96" fmla="*/ 1783673 w 1985964"/>
              <a:gd name="connsiteY96" fmla="*/ 26010 h 2364509"/>
              <a:gd name="connsiteX97" fmla="*/ 1773433 w 1985964"/>
              <a:gd name="connsiteY97" fmla="*/ 22831 h 2364509"/>
              <a:gd name="connsiteX98" fmla="*/ 1768644 w 1985964"/>
              <a:gd name="connsiteY98" fmla="*/ 20084 h 2364509"/>
              <a:gd name="connsiteX99" fmla="*/ 1737353 w 1985964"/>
              <a:gd name="connsiteY99" fmla="*/ 11631 h 2364509"/>
              <a:gd name="connsiteX100" fmla="*/ 1721545 w 1985964"/>
              <a:gd name="connsiteY100" fmla="*/ 6724 h 2364509"/>
              <a:gd name="connsiteX101" fmla="*/ 1717783 w 1985964"/>
              <a:gd name="connsiteY101" fmla="*/ 6345 h 2364509"/>
              <a:gd name="connsiteX102" fmla="*/ 1713431 w 1985964"/>
              <a:gd name="connsiteY102" fmla="*/ 5170 h 2364509"/>
              <a:gd name="connsiteX103" fmla="*/ 1654843 w 1985964"/>
              <a:gd name="connsiteY103" fmla="*/ 0 h 2364509"/>
              <a:gd name="connsiteX0" fmla="*/ 1654843 w 1985964"/>
              <a:gd name="connsiteY0" fmla="*/ 0 h 2364509"/>
              <a:gd name="connsiteX1" fmla="*/ 1654842 w 1985964"/>
              <a:gd name="connsiteY1" fmla="*/ 0 h 2364509"/>
              <a:gd name="connsiteX2" fmla="*/ 330977 w 1985964"/>
              <a:gd name="connsiteY2" fmla="*/ 0 h 2364509"/>
              <a:gd name="connsiteX3" fmla="*/ 330976 w 1985964"/>
              <a:gd name="connsiteY3" fmla="*/ 0 h 2364509"/>
              <a:gd name="connsiteX4" fmla="*/ 0 w 1985964"/>
              <a:gd name="connsiteY4" fmla="*/ 330976 h 2364509"/>
              <a:gd name="connsiteX5" fmla="*/ 0 w 1985964"/>
              <a:gd name="connsiteY5" fmla="*/ 2033533 h 2364509"/>
              <a:gd name="connsiteX6" fmla="*/ 330976 w 1985964"/>
              <a:gd name="connsiteY6" fmla="*/ 2364509 h 2364509"/>
              <a:gd name="connsiteX7" fmla="*/ 330977 w 1985964"/>
              <a:gd name="connsiteY7" fmla="*/ 2364509 h 2364509"/>
              <a:gd name="connsiteX8" fmla="*/ 1654842 w 1985964"/>
              <a:gd name="connsiteY8" fmla="*/ 2364509 h 2364509"/>
              <a:gd name="connsiteX9" fmla="*/ 1654843 w 1985964"/>
              <a:gd name="connsiteY9" fmla="*/ 2364509 h 2364509"/>
              <a:gd name="connsiteX10" fmla="*/ 1654850 w 1985964"/>
              <a:gd name="connsiteY10" fmla="*/ 2364508 h 2364509"/>
              <a:gd name="connsiteX11" fmla="*/ 1713430 w 1985964"/>
              <a:gd name="connsiteY11" fmla="*/ 2359339 h 2364509"/>
              <a:gd name="connsiteX12" fmla="*/ 1717781 w 1985964"/>
              <a:gd name="connsiteY12" fmla="*/ 2358164 h 2364509"/>
              <a:gd name="connsiteX13" fmla="*/ 1721546 w 1985964"/>
              <a:gd name="connsiteY13" fmla="*/ 2357784 h 2364509"/>
              <a:gd name="connsiteX14" fmla="*/ 1737367 w 1985964"/>
              <a:gd name="connsiteY14" fmla="*/ 2352873 h 2364509"/>
              <a:gd name="connsiteX15" fmla="*/ 1768643 w 1985964"/>
              <a:gd name="connsiteY15" fmla="*/ 2344425 h 2364509"/>
              <a:gd name="connsiteX16" fmla="*/ 1773429 w 1985964"/>
              <a:gd name="connsiteY16" fmla="*/ 2341679 h 2364509"/>
              <a:gd name="connsiteX17" fmla="*/ 1783674 w 1985964"/>
              <a:gd name="connsiteY17" fmla="*/ 2338499 h 2364509"/>
              <a:gd name="connsiteX18" fmla="*/ 1839895 w 1985964"/>
              <a:gd name="connsiteY18" fmla="*/ 2307983 h 2364509"/>
              <a:gd name="connsiteX19" fmla="*/ 1857542 w 1985964"/>
              <a:gd name="connsiteY19" fmla="*/ 2293423 h 2364509"/>
              <a:gd name="connsiteX20" fmla="*/ 1865374 w 1985964"/>
              <a:gd name="connsiteY20" fmla="*/ 2288930 h 2364509"/>
              <a:gd name="connsiteX21" fmla="*/ 1878381 w 1985964"/>
              <a:gd name="connsiteY21" fmla="*/ 2276229 h 2364509"/>
              <a:gd name="connsiteX22" fmla="*/ 1888878 w 1985964"/>
              <a:gd name="connsiteY22" fmla="*/ 2267568 h 2364509"/>
              <a:gd name="connsiteX23" fmla="*/ 1895621 w 1985964"/>
              <a:gd name="connsiteY23" fmla="*/ 2259396 h 2364509"/>
              <a:gd name="connsiteX24" fmla="*/ 1905109 w 1985964"/>
              <a:gd name="connsiteY24" fmla="*/ 2250132 h 2364509"/>
              <a:gd name="connsiteX25" fmla="*/ 1919122 w 1985964"/>
              <a:gd name="connsiteY25" fmla="*/ 2230912 h 2364509"/>
              <a:gd name="connsiteX26" fmla="*/ 1929293 w 1985964"/>
              <a:gd name="connsiteY26" fmla="*/ 2218585 h 2364509"/>
              <a:gd name="connsiteX27" fmla="*/ 1932739 w 1985964"/>
              <a:gd name="connsiteY27" fmla="*/ 2212236 h 2364509"/>
              <a:gd name="connsiteX28" fmla="*/ 1937902 w 1985964"/>
              <a:gd name="connsiteY28" fmla="*/ 2205156 h 2364509"/>
              <a:gd name="connsiteX29" fmla="*/ 1952079 w 1985964"/>
              <a:gd name="connsiteY29" fmla="*/ 2176606 h 2364509"/>
              <a:gd name="connsiteX30" fmla="*/ 1959809 w 1985964"/>
              <a:gd name="connsiteY30" fmla="*/ 2162364 h 2364509"/>
              <a:gd name="connsiteX31" fmla="*/ 1960907 w 1985964"/>
              <a:gd name="connsiteY31" fmla="*/ 2158828 h 2364509"/>
              <a:gd name="connsiteX32" fmla="*/ 1962861 w 1985964"/>
              <a:gd name="connsiteY32" fmla="*/ 2154893 h 2364509"/>
              <a:gd name="connsiteX33" fmla="*/ 1979076 w 1985964"/>
              <a:gd name="connsiteY33" fmla="*/ 2100297 h 2364509"/>
              <a:gd name="connsiteX34" fmla="*/ 1979095 w 1985964"/>
              <a:gd name="connsiteY34" fmla="*/ 2100236 h 2364509"/>
              <a:gd name="connsiteX35" fmla="*/ 1979098 w 1985964"/>
              <a:gd name="connsiteY35" fmla="*/ 2100200 h 2364509"/>
              <a:gd name="connsiteX36" fmla="*/ 1985963 w 1985964"/>
              <a:gd name="connsiteY36" fmla="*/ 2043903 h 2364509"/>
              <a:gd name="connsiteX37" fmla="*/ 1985963 w 1985964"/>
              <a:gd name="connsiteY37" fmla="*/ 1725393 h 2364509"/>
              <a:gd name="connsiteX38" fmla="*/ 1985964 w 1985964"/>
              <a:gd name="connsiteY38" fmla="*/ 1725393 h 2364509"/>
              <a:gd name="connsiteX39" fmla="*/ 1985964 w 1985964"/>
              <a:gd name="connsiteY39" fmla="*/ 1401883 h 2364509"/>
              <a:gd name="connsiteX40" fmla="*/ 1985819 w 1985964"/>
              <a:gd name="connsiteY40" fmla="*/ 1401165 h 2364509"/>
              <a:gd name="connsiteX41" fmla="*/ 1985819 w 1985964"/>
              <a:gd name="connsiteY41" fmla="*/ 1395747 h 2364509"/>
              <a:gd name="connsiteX42" fmla="*/ 1984725 w 1985964"/>
              <a:gd name="connsiteY42" fmla="*/ 1395747 h 2364509"/>
              <a:gd name="connsiteX43" fmla="*/ 1980350 w 1985964"/>
              <a:gd name="connsiteY43" fmla="*/ 1374076 h 2364509"/>
              <a:gd name="connsiteX44" fmla="*/ 1914526 w 1985964"/>
              <a:gd name="connsiteY44" fmla="*/ 1330445 h 2364509"/>
              <a:gd name="connsiteX45" fmla="*/ 1848702 w 1985964"/>
              <a:gd name="connsiteY45" fmla="*/ 1374076 h 2364509"/>
              <a:gd name="connsiteX46" fmla="*/ 1844327 w 1985964"/>
              <a:gd name="connsiteY46" fmla="*/ 1395747 h 2364509"/>
              <a:gd name="connsiteX47" fmla="*/ 1842312 w 1985964"/>
              <a:gd name="connsiteY47" fmla="*/ 1395747 h 2364509"/>
              <a:gd name="connsiteX48" fmla="*/ 1842311 w 1985964"/>
              <a:gd name="connsiteY48" fmla="*/ 1984395 h 2364509"/>
              <a:gd name="connsiteX49" fmla="*/ 1838060 w 1985964"/>
              <a:gd name="connsiteY49" fmla="*/ 2026564 h 2364509"/>
              <a:gd name="connsiteX50" fmla="*/ 1838058 w 1985964"/>
              <a:gd name="connsiteY50" fmla="*/ 2026570 h 2364509"/>
              <a:gd name="connsiteX51" fmla="*/ 1818140 w 1985964"/>
              <a:gd name="connsiteY51" fmla="*/ 2077302 h 2364509"/>
              <a:gd name="connsiteX52" fmla="*/ 1792175 w 1985964"/>
              <a:gd name="connsiteY52" fmla="*/ 2115814 h 2364509"/>
              <a:gd name="connsiteX53" fmla="*/ 1773416 w 1985964"/>
              <a:gd name="connsiteY53" fmla="*/ 2137481 h 2364509"/>
              <a:gd name="connsiteX54" fmla="*/ 1731490 w 1985964"/>
              <a:gd name="connsiteY54" fmla="*/ 2165749 h 2364509"/>
              <a:gd name="connsiteX55" fmla="*/ 1709927 w 1985964"/>
              <a:gd name="connsiteY55" fmla="*/ 2178120 h 2364509"/>
              <a:gd name="connsiteX56" fmla="*/ 1633141 w 1985964"/>
              <a:gd name="connsiteY56" fmla="*/ 2193622 h 2364509"/>
              <a:gd name="connsiteX57" fmla="*/ 1633070 w 1985964"/>
              <a:gd name="connsiteY57" fmla="*/ 2193635 h 2364509"/>
              <a:gd name="connsiteX58" fmla="*/ 352749 w 1985964"/>
              <a:gd name="connsiteY58" fmla="*/ 2193635 h 2364509"/>
              <a:gd name="connsiteX59" fmla="*/ 143507 w 1985964"/>
              <a:gd name="connsiteY59" fmla="*/ 1984393 h 2364509"/>
              <a:gd name="connsiteX60" fmla="*/ 143507 w 1985964"/>
              <a:gd name="connsiteY60" fmla="*/ 380114 h 2364509"/>
              <a:gd name="connsiteX61" fmla="*/ 147758 w 1985964"/>
              <a:gd name="connsiteY61" fmla="*/ 337945 h 2364509"/>
              <a:gd name="connsiteX62" fmla="*/ 159950 w 1985964"/>
              <a:gd name="connsiteY62" fmla="*/ 298669 h 2364509"/>
              <a:gd name="connsiteX63" fmla="*/ 204792 w 1985964"/>
              <a:gd name="connsiteY63" fmla="*/ 232160 h 2364509"/>
              <a:gd name="connsiteX64" fmla="*/ 352748 w 1985964"/>
              <a:gd name="connsiteY64" fmla="*/ 170874 h 2364509"/>
              <a:gd name="connsiteX65" fmla="*/ 1633069 w 1985964"/>
              <a:gd name="connsiteY65" fmla="*/ 170874 h 2364509"/>
              <a:gd name="connsiteX66" fmla="*/ 1842311 w 1985964"/>
              <a:gd name="connsiteY66" fmla="*/ 380116 h 2364509"/>
              <a:gd name="connsiteX67" fmla="*/ 1842311 w 1985964"/>
              <a:gd name="connsiteY67" fmla="*/ 390533 h 2364509"/>
              <a:gd name="connsiteX68" fmla="*/ 1842312 w 1985964"/>
              <a:gd name="connsiteY68" fmla="*/ 390533 h 2364509"/>
              <a:gd name="connsiteX69" fmla="*/ 1842312 w 1985964"/>
              <a:gd name="connsiteY69" fmla="*/ 657949 h 2364509"/>
              <a:gd name="connsiteX70" fmla="*/ 1844327 w 1985964"/>
              <a:gd name="connsiteY70" fmla="*/ 657949 h 2364509"/>
              <a:gd name="connsiteX71" fmla="*/ 1848702 w 1985964"/>
              <a:gd name="connsiteY71" fmla="*/ 679620 h 2364509"/>
              <a:gd name="connsiteX72" fmla="*/ 1914526 w 1985964"/>
              <a:gd name="connsiteY72" fmla="*/ 723251 h 2364509"/>
              <a:gd name="connsiteX73" fmla="*/ 1980350 w 1985964"/>
              <a:gd name="connsiteY73" fmla="*/ 679620 h 2364509"/>
              <a:gd name="connsiteX74" fmla="*/ 1984725 w 1985964"/>
              <a:gd name="connsiteY74" fmla="*/ 657949 h 2364509"/>
              <a:gd name="connsiteX75" fmla="*/ 1985819 w 1985964"/>
              <a:gd name="connsiteY75" fmla="*/ 657949 h 2364509"/>
              <a:gd name="connsiteX76" fmla="*/ 1985819 w 1985964"/>
              <a:gd name="connsiteY76" fmla="*/ 652531 h 2364509"/>
              <a:gd name="connsiteX77" fmla="*/ 1985964 w 1985964"/>
              <a:gd name="connsiteY77" fmla="*/ 651813 h 2364509"/>
              <a:gd name="connsiteX78" fmla="*/ 1985964 w 1985964"/>
              <a:gd name="connsiteY78" fmla="*/ 320606 h 2364509"/>
              <a:gd name="connsiteX79" fmla="*/ 1979095 w 1985964"/>
              <a:gd name="connsiteY79" fmla="*/ 264273 h 2364509"/>
              <a:gd name="connsiteX80" fmla="*/ 1962862 w 1985964"/>
              <a:gd name="connsiteY80" fmla="*/ 209616 h 2364509"/>
              <a:gd name="connsiteX81" fmla="*/ 1960902 w 1985964"/>
              <a:gd name="connsiteY81" fmla="*/ 205670 h 2364509"/>
              <a:gd name="connsiteX82" fmla="*/ 1959808 w 1985964"/>
              <a:gd name="connsiteY82" fmla="*/ 202145 h 2364509"/>
              <a:gd name="connsiteX83" fmla="*/ 1952102 w 1985964"/>
              <a:gd name="connsiteY83" fmla="*/ 187947 h 2364509"/>
              <a:gd name="connsiteX84" fmla="*/ 1937903 w 1985964"/>
              <a:gd name="connsiteY84" fmla="*/ 159353 h 2364509"/>
              <a:gd name="connsiteX85" fmla="*/ 1932732 w 1985964"/>
              <a:gd name="connsiteY85" fmla="*/ 152262 h 2364509"/>
              <a:gd name="connsiteX86" fmla="*/ 1929292 w 1985964"/>
              <a:gd name="connsiteY86" fmla="*/ 145924 h 2364509"/>
              <a:gd name="connsiteX87" fmla="*/ 1919138 w 1985964"/>
              <a:gd name="connsiteY87" fmla="*/ 133617 h 2364509"/>
              <a:gd name="connsiteX88" fmla="*/ 1905110 w 1985964"/>
              <a:gd name="connsiteY88" fmla="*/ 114377 h 2364509"/>
              <a:gd name="connsiteX89" fmla="*/ 1895612 w 1985964"/>
              <a:gd name="connsiteY89" fmla="*/ 105103 h 2364509"/>
              <a:gd name="connsiteX90" fmla="*/ 1888877 w 1985964"/>
              <a:gd name="connsiteY90" fmla="*/ 96941 h 2364509"/>
              <a:gd name="connsiteX91" fmla="*/ 1878393 w 1985964"/>
              <a:gd name="connsiteY91" fmla="*/ 88290 h 2364509"/>
              <a:gd name="connsiteX92" fmla="*/ 1865375 w 1985964"/>
              <a:gd name="connsiteY92" fmla="*/ 75579 h 2364509"/>
              <a:gd name="connsiteX93" fmla="*/ 1857537 w 1985964"/>
              <a:gd name="connsiteY93" fmla="*/ 71082 h 2364509"/>
              <a:gd name="connsiteX94" fmla="*/ 1839894 w 1985964"/>
              <a:gd name="connsiteY94" fmla="*/ 56526 h 2364509"/>
              <a:gd name="connsiteX95" fmla="*/ 1783673 w 1985964"/>
              <a:gd name="connsiteY95" fmla="*/ 26010 h 2364509"/>
              <a:gd name="connsiteX96" fmla="*/ 1773433 w 1985964"/>
              <a:gd name="connsiteY96" fmla="*/ 22831 h 2364509"/>
              <a:gd name="connsiteX97" fmla="*/ 1768644 w 1985964"/>
              <a:gd name="connsiteY97" fmla="*/ 20084 h 2364509"/>
              <a:gd name="connsiteX98" fmla="*/ 1737353 w 1985964"/>
              <a:gd name="connsiteY98" fmla="*/ 11631 h 2364509"/>
              <a:gd name="connsiteX99" fmla="*/ 1721545 w 1985964"/>
              <a:gd name="connsiteY99" fmla="*/ 6724 h 2364509"/>
              <a:gd name="connsiteX100" fmla="*/ 1717783 w 1985964"/>
              <a:gd name="connsiteY100" fmla="*/ 6345 h 2364509"/>
              <a:gd name="connsiteX101" fmla="*/ 1713431 w 1985964"/>
              <a:gd name="connsiteY101" fmla="*/ 5170 h 2364509"/>
              <a:gd name="connsiteX102" fmla="*/ 1654843 w 1985964"/>
              <a:gd name="connsiteY102" fmla="*/ 0 h 23645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</a:cxnLst>
            <a:rect l="l" t="t" r="r" b="b"/>
            <a:pathLst>
              <a:path w="1985964" h="2364509">
                <a:moveTo>
                  <a:pt x="1654843" y="0"/>
                </a:moveTo>
                <a:lnTo>
                  <a:pt x="1654842" y="0"/>
                </a:lnTo>
                <a:lnTo>
                  <a:pt x="330977" y="0"/>
                </a:lnTo>
                <a:lnTo>
                  <a:pt x="330976" y="0"/>
                </a:lnTo>
                <a:cubicBezTo>
                  <a:pt x="148183" y="0"/>
                  <a:pt x="0" y="148183"/>
                  <a:pt x="0" y="330976"/>
                </a:cubicBezTo>
                <a:lnTo>
                  <a:pt x="0" y="2033533"/>
                </a:lnTo>
                <a:cubicBezTo>
                  <a:pt x="0" y="2216326"/>
                  <a:pt x="148183" y="2364509"/>
                  <a:pt x="330976" y="2364509"/>
                </a:cubicBezTo>
                <a:lnTo>
                  <a:pt x="330977" y="2364509"/>
                </a:lnTo>
                <a:lnTo>
                  <a:pt x="1654842" y="2364509"/>
                </a:lnTo>
                <a:lnTo>
                  <a:pt x="1654843" y="2364509"/>
                </a:lnTo>
                <a:cubicBezTo>
                  <a:pt x="1654845" y="2364509"/>
                  <a:pt x="1654848" y="2364508"/>
                  <a:pt x="1654850" y="2364508"/>
                </a:cubicBezTo>
                <a:lnTo>
                  <a:pt x="1713430" y="2359339"/>
                </a:lnTo>
                <a:lnTo>
                  <a:pt x="1717781" y="2358164"/>
                </a:lnTo>
                <a:lnTo>
                  <a:pt x="1721546" y="2357784"/>
                </a:lnTo>
                <a:lnTo>
                  <a:pt x="1737367" y="2352873"/>
                </a:lnTo>
                <a:lnTo>
                  <a:pt x="1768643" y="2344425"/>
                </a:lnTo>
                <a:lnTo>
                  <a:pt x="1773429" y="2341679"/>
                </a:lnTo>
                <a:lnTo>
                  <a:pt x="1783674" y="2338499"/>
                </a:lnTo>
                <a:cubicBezTo>
                  <a:pt x="1803472" y="2330125"/>
                  <a:pt x="1822287" y="2319879"/>
                  <a:pt x="1839895" y="2307983"/>
                </a:cubicBezTo>
                <a:lnTo>
                  <a:pt x="1857542" y="2293423"/>
                </a:lnTo>
                <a:lnTo>
                  <a:pt x="1865374" y="2288930"/>
                </a:lnTo>
                <a:lnTo>
                  <a:pt x="1878381" y="2276229"/>
                </a:lnTo>
                <a:lnTo>
                  <a:pt x="1888878" y="2267568"/>
                </a:lnTo>
                <a:lnTo>
                  <a:pt x="1895621" y="2259396"/>
                </a:lnTo>
                <a:lnTo>
                  <a:pt x="1905109" y="2250132"/>
                </a:lnTo>
                <a:lnTo>
                  <a:pt x="1919122" y="2230912"/>
                </a:lnTo>
                <a:lnTo>
                  <a:pt x="1929293" y="2218585"/>
                </a:lnTo>
                <a:lnTo>
                  <a:pt x="1932739" y="2212236"/>
                </a:lnTo>
                <a:lnTo>
                  <a:pt x="1937902" y="2205156"/>
                </a:lnTo>
                <a:lnTo>
                  <a:pt x="1952079" y="2176606"/>
                </a:lnTo>
                <a:lnTo>
                  <a:pt x="1959809" y="2162364"/>
                </a:lnTo>
                <a:lnTo>
                  <a:pt x="1960907" y="2158828"/>
                </a:lnTo>
                <a:lnTo>
                  <a:pt x="1962861" y="2154893"/>
                </a:lnTo>
                <a:lnTo>
                  <a:pt x="1979076" y="2100297"/>
                </a:lnTo>
                <a:cubicBezTo>
                  <a:pt x="1979082" y="2100277"/>
                  <a:pt x="1979089" y="2100256"/>
                  <a:pt x="1979095" y="2100236"/>
                </a:cubicBezTo>
                <a:lnTo>
                  <a:pt x="1979098" y="2100200"/>
                </a:lnTo>
                <a:lnTo>
                  <a:pt x="1985963" y="2043903"/>
                </a:lnTo>
                <a:lnTo>
                  <a:pt x="1985963" y="1725393"/>
                </a:lnTo>
                <a:lnTo>
                  <a:pt x="1985964" y="1725393"/>
                </a:lnTo>
                <a:lnTo>
                  <a:pt x="1985964" y="1401883"/>
                </a:lnTo>
                <a:cubicBezTo>
                  <a:pt x="1985916" y="1401644"/>
                  <a:pt x="1985867" y="1401404"/>
                  <a:pt x="1985819" y="1401165"/>
                </a:cubicBezTo>
                <a:lnTo>
                  <a:pt x="1985819" y="1395747"/>
                </a:lnTo>
                <a:lnTo>
                  <a:pt x="1984725" y="1395747"/>
                </a:lnTo>
                <a:lnTo>
                  <a:pt x="1980350" y="1374076"/>
                </a:lnTo>
                <a:cubicBezTo>
                  <a:pt x="1969505" y="1348436"/>
                  <a:pt x="1944117" y="1330445"/>
                  <a:pt x="1914526" y="1330445"/>
                </a:cubicBezTo>
                <a:cubicBezTo>
                  <a:pt x="1884936" y="1330445"/>
                  <a:pt x="1859547" y="1348436"/>
                  <a:pt x="1848702" y="1374076"/>
                </a:cubicBezTo>
                <a:lnTo>
                  <a:pt x="1844327" y="1395747"/>
                </a:lnTo>
                <a:lnTo>
                  <a:pt x="1842312" y="1395747"/>
                </a:lnTo>
                <a:cubicBezTo>
                  <a:pt x="1842312" y="1591963"/>
                  <a:pt x="1842311" y="1788179"/>
                  <a:pt x="1842311" y="1984395"/>
                </a:cubicBezTo>
                <a:cubicBezTo>
                  <a:pt x="1842311" y="1998840"/>
                  <a:pt x="1840847" y="2012943"/>
                  <a:pt x="1838060" y="2026564"/>
                </a:cubicBezTo>
                <a:cubicBezTo>
                  <a:pt x="1838059" y="2026566"/>
                  <a:pt x="1838059" y="2026568"/>
                  <a:pt x="1838058" y="2026570"/>
                </a:cubicBezTo>
                <a:lnTo>
                  <a:pt x="1818140" y="2077302"/>
                </a:lnTo>
                <a:lnTo>
                  <a:pt x="1792175" y="2115814"/>
                </a:lnTo>
                <a:lnTo>
                  <a:pt x="1773416" y="2137481"/>
                </a:lnTo>
                <a:lnTo>
                  <a:pt x="1731490" y="2165749"/>
                </a:lnTo>
                <a:lnTo>
                  <a:pt x="1709927" y="2178120"/>
                </a:lnTo>
                <a:lnTo>
                  <a:pt x="1633141" y="2193622"/>
                </a:lnTo>
                <a:cubicBezTo>
                  <a:pt x="1633117" y="2193626"/>
                  <a:pt x="1633094" y="2193631"/>
                  <a:pt x="1633070" y="2193635"/>
                </a:cubicBezTo>
                <a:lnTo>
                  <a:pt x="352749" y="2193635"/>
                </a:lnTo>
                <a:cubicBezTo>
                  <a:pt x="237188" y="2193635"/>
                  <a:pt x="143507" y="2099954"/>
                  <a:pt x="143507" y="1984393"/>
                </a:cubicBezTo>
                <a:lnTo>
                  <a:pt x="143507" y="380114"/>
                </a:lnTo>
                <a:cubicBezTo>
                  <a:pt x="143507" y="365669"/>
                  <a:pt x="144971" y="351566"/>
                  <a:pt x="147758" y="337945"/>
                </a:cubicBezTo>
                <a:lnTo>
                  <a:pt x="159950" y="298669"/>
                </a:lnTo>
                <a:lnTo>
                  <a:pt x="204792" y="232160"/>
                </a:lnTo>
                <a:cubicBezTo>
                  <a:pt x="242657" y="194294"/>
                  <a:pt x="294968" y="170874"/>
                  <a:pt x="352748" y="170874"/>
                </a:cubicBezTo>
                <a:lnTo>
                  <a:pt x="1633069" y="170874"/>
                </a:lnTo>
                <a:cubicBezTo>
                  <a:pt x="1748630" y="170874"/>
                  <a:pt x="1842311" y="264555"/>
                  <a:pt x="1842311" y="380116"/>
                </a:cubicBezTo>
                <a:lnTo>
                  <a:pt x="1842311" y="390533"/>
                </a:lnTo>
                <a:lnTo>
                  <a:pt x="1842312" y="390533"/>
                </a:lnTo>
                <a:lnTo>
                  <a:pt x="1842312" y="657949"/>
                </a:lnTo>
                <a:lnTo>
                  <a:pt x="1844327" y="657949"/>
                </a:lnTo>
                <a:lnTo>
                  <a:pt x="1848702" y="679620"/>
                </a:lnTo>
                <a:cubicBezTo>
                  <a:pt x="1859547" y="705260"/>
                  <a:pt x="1884936" y="723251"/>
                  <a:pt x="1914526" y="723251"/>
                </a:cubicBezTo>
                <a:cubicBezTo>
                  <a:pt x="1944117" y="723251"/>
                  <a:pt x="1969505" y="705260"/>
                  <a:pt x="1980350" y="679620"/>
                </a:cubicBezTo>
                <a:lnTo>
                  <a:pt x="1984725" y="657949"/>
                </a:lnTo>
                <a:lnTo>
                  <a:pt x="1985819" y="657949"/>
                </a:lnTo>
                <a:lnTo>
                  <a:pt x="1985819" y="652531"/>
                </a:lnTo>
                <a:cubicBezTo>
                  <a:pt x="1985867" y="652292"/>
                  <a:pt x="1985916" y="652052"/>
                  <a:pt x="1985964" y="651813"/>
                </a:cubicBezTo>
                <a:lnTo>
                  <a:pt x="1985964" y="320606"/>
                </a:lnTo>
                <a:lnTo>
                  <a:pt x="1979095" y="264273"/>
                </a:lnTo>
                <a:cubicBezTo>
                  <a:pt x="1975237" y="245420"/>
                  <a:pt x="1969777" y="227152"/>
                  <a:pt x="1962862" y="209616"/>
                </a:cubicBezTo>
                <a:lnTo>
                  <a:pt x="1960902" y="205670"/>
                </a:lnTo>
                <a:lnTo>
                  <a:pt x="1959808" y="202145"/>
                </a:lnTo>
                <a:lnTo>
                  <a:pt x="1952102" y="187947"/>
                </a:lnTo>
                <a:lnTo>
                  <a:pt x="1937903" y="159353"/>
                </a:lnTo>
                <a:lnTo>
                  <a:pt x="1932732" y="152262"/>
                </a:lnTo>
                <a:lnTo>
                  <a:pt x="1929292" y="145924"/>
                </a:lnTo>
                <a:lnTo>
                  <a:pt x="1919138" y="133617"/>
                </a:lnTo>
                <a:lnTo>
                  <a:pt x="1905110" y="114377"/>
                </a:lnTo>
                <a:lnTo>
                  <a:pt x="1895612" y="105103"/>
                </a:lnTo>
                <a:lnTo>
                  <a:pt x="1888877" y="96941"/>
                </a:lnTo>
                <a:lnTo>
                  <a:pt x="1878393" y="88290"/>
                </a:lnTo>
                <a:lnTo>
                  <a:pt x="1865375" y="75579"/>
                </a:lnTo>
                <a:lnTo>
                  <a:pt x="1857537" y="71082"/>
                </a:lnTo>
                <a:lnTo>
                  <a:pt x="1839894" y="56526"/>
                </a:lnTo>
                <a:cubicBezTo>
                  <a:pt x="1822286" y="44630"/>
                  <a:pt x="1803471" y="34384"/>
                  <a:pt x="1783673" y="26010"/>
                </a:cubicBezTo>
                <a:lnTo>
                  <a:pt x="1773433" y="22831"/>
                </a:lnTo>
                <a:lnTo>
                  <a:pt x="1768644" y="20084"/>
                </a:lnTo>
                <a:lnTo>
                  <a:pt x="1737353" y="11631"/>
                </a:lnTo>
                <a:lnTo>
                  <a:pt x="1721545" y="6724"/>
                </a:lnTo>
                <a:lnTo>
                  <a:pt x="1717783" y="6345"/>
                </a:lnTo>
                <a:lnTo>
                  <a:pt x="1713431" y="5170"/>
                </a:lnTo>
                <a:cubicBezTo>
                  <a:pt x="1694415" y="1773"/>
                  <a:pt x="1674836" y="0"/>
                  <a:pt x="1654843" y="0"/>
                </a:cubicBezTo>
                <a:close/>
              </a:path>
            </a:pathLst>
          </a:cu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DIN Alternate" panose="020B0500000000000000"/>
              <a:ea typeface="+mn-ea"/>
              <a:cs typeface="Arial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="" xmlns:a16="http://schemas.microsoft.com/office/drawing/2014/main" id="{A3439718-9379-40D2-8221-A17BFA72AA5B}"/>
              </a:ext>
            </a:extLst>
          </p:cNvPr>
          <p:cNvSpPr/>
          <p:nvPr/>
        </p:nvSpPr>
        <p:spPr>
          <a:xfrm>
            <a:off x="734109" y="2403259"/>
            <a:ext cx="540060" cy="666652"/>
          </a:xfrm>
          <a:prstGeom prst="rect">
            <a:avLst/>
          </a:prstGeom>
          <a:noFill/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r>
              <a:rPr lang="en-US" sz="4400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1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="" xmlns:a16="http://schemas.microsoft.com/office/drawing/2014/main" id="{CBD16BDA-2BD0-4A97-B963-71ECD057D8BB}"/>
              </a:ext>
            </a:extLst>
          </p:cNvPr>
          <p:cNvSpPr/>
          <p:nvPr/>
        </p:nvSpPr>
        <p:spPr>
          <a:xfrm>
            <a:off x="2448913" y="2403259"/>
            <a:ext cx="540060" cy="666652"/>
          </a:xfrm>
          <a:prstGeom prst="rect">
            <a:avLst/>
          </a:prstGeom>
          <a:noFill/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r>
              <a:rPr lang="en-US" sz="4400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2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="" xmlns:a16="http://schemas.microsoft.com/office/drawing/2014/main" id="{7E83B007-40FA-404E-8383-68095961B42A}"/>
              </a:ext>
            </a:extLst>
          </p:cNvPr>
          <p:cNvSpPr/>
          <p:nvPr/>
        </p:nvSpPr>
        <p:spPr>
          <a:xfrm>
            <a:off x="4146293" y="2403259"/>
            <a:ext cx="540060" cy="666652"/>
          </a:xfrm>
          <a:prstGeom prst="rect">
            <a:avLst/>
          </a:prstGeom>
          <a:noFill/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r>
              <a:rPr lang="en-US" sz="4400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3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="" xmlns:a16="http://schemas.microsoft.com/office/drawing/2014/main" id="{2D294723-30BC-4360-A724-E2B34589923C}"/>
              </a:ext>
            </a:extLst>
          </p:cNvPr>
          <p:cNvSpPr/>
          <p:nvPr/>
        </p:nvSpPr>
        <p:spPr>
          <a:xfrm>
            <a:off x="5827237" y="2403259"/>
            <a:ext cx="540060" cy="666652"/>
          </a:xfrm>
          <a:prstGeom prst="rect">
            <a:avLst/>
          </a:prstGeom>
          <a:noFill/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r>
              <a:rPr lang="en-US" sz="4400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4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="" xmlns:a16="http://schemas.microsoft.com/office/drawing/2014/main" id="{2258FDE4-620F-42A4-80F8-720B742B5D62}"/>
              </a:ext>
            </a:extLst>
          </p:cNvPr>
          <p:cNvSpPr/>
          <p:nvPr/>
        </p:nvSpPr>
        <p:spPr>
          <a:xfrm>
            <a:off x="7785685" y="2403259"/>
            <a:ext cx="540060" cy="666652"/>
          </a:xfrm>
          <a:prstGeom prst="rect">
            <a:avLst/>
          </a:prstGeom>
          <a:noFill/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r>
              <a:rPr lang="en-US" sz="4400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5</a:t>
            </a:r>
          </a:p>
        </p:txBody>
      </p:sp>
      <p:grpSp>
        <p:nvGrpSpPr>
          <p:cNvPr id="38" name="Google Shape;506;p36">
            <a:extLst>
              <a:ext uri="{FF2B5EF4-FFF2-40B4-BE49-F238E27FC236}">
                <a16:creationId xmlns="" xmlns:a16="http://schemas.microsoft.com/office/drawing/2014/main" id="{5F0C06E0-C5CA-492B-9CD0-3C05B65AF75E}"/>
              </a:ext>
            </a:extLst>
          </p:cNvPr>
          <p:cNvGrpSpPr/>
          <p:nvPr/>
        </p:nvGrpSpPr>
        <p:grpSpPr>
          <a:xfrm>
            <a:off x="2637939" y="4634741"/>
            <a:ext cx="3417401" cy="3417290"/>
            <a:chOff x="604675" y="442665"/>
            <a:chExt cx="1797875" cy="1797817"/>
          </a:xfrm>
        </p:grpSpPr>
        <p:sp>
          <p:nvSpPr>
            <p:cNvPr id="39" name="Google Shape;507;p36">
              <a:extLst>
                <a:ext uri="{FF2B5EF4-FFF2-40B4-BE49-F238E27FC236}">
                  <a16:creationId xmlns="" xmlns:a16="http://schemas.microsoft.com/office/drawing/2014/main" id="{BEA2E90E-70B1-4636-939C-CB7048FBAAFC}"/>
                </a:ext>
              </a:extLst>
            </p:cNvPr>
            <p:cNvSpPr/>
            <p:nvPr/>
          </p:nvSpPr>
          <p:spPr>
            <a:xfrm>
              <a:off x="637875" y="461150"/>
              <a:ext cx="1751575" cy="1751575"/>
            </a:xfrm>
            <a:custGeom>
              <a:avLst/>
              <a:gdLst/>
              <a:ahLst/>
              <a:cxnLst/>
              <a:rect l="l" t="t" r="r" b="b"/>
              <a:pathLst>
                <a:path w="70063" h="70063" extrusionOk="0">
                  <a:moveTo>
                    <a:pt x="35032" y="1"/>
                  </a:moveTo>
                  <a:cubicBezTo>
                    <a:pt x="25741" y="1"/>
                    <a:pt x="16828" y="3690"/>
                    <a:pt x="10262" y="10262"/>
                  </a:cubicBezTo>
                  <a:cubicBezTo>
                    <a:pt x="3690" y="16828"/>
                    <a:pt x="1" y="25742"/>
                    <a:pt x="1" y="35032"/>
                  </a:cubicBezTo>
                  <a:cubicBezTo>
                    <a:pt x="1" y="44322"/>
                    <a:pt x="3690" y="53236"/>
                    <a:pt x="10262" y="59802"/>
                  </a:cubicBezTo>
                  <a:cubicBezTo>
                    <a:pt x="16828" y="66374"/>
                    <a:pt x="25741" y="70063"/>
                    <a:pt x="35032" y="70063"/>
                  </a:cubicBezTo>
                  <a:cubicBezTo>
                    <a:pt x="44322" y="70063"/>
                    <a:pt x="53236" y="66374"/>
                    <a:pt x="59802" y="59802"/>
                  </a:cubicBezTo>
                  <a:cubicBezTo>
                    <a:pt x="66374" y="53236"/>
                    <a:pt x="70063" y="44322"/>
                    <a:pt x="70063" y="35032"/>
                  </a:cubicBezTo>
                  <a:cubicBezTo>
                    <a:pt x="70063" y="25742"/>
                    <a:pt x="66374" y="16828"/>
                    <a:pt x="59802" y="10262"/>
                  </a:cubicBezTo>
                  <a:cubicBezTo>
                    <a:pt x="53236" y="3690"/>
                    <a:pt x="44322" y="1"/>
                    <a:pt x="35032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/>
                <a:sym typeface="Arial"/>
              </a:endParaRPr>
            </a:p>
          </p:txBody>
        </p:sp>
        <p:sp>
          <p:nvSpPr>
            <p:cNvPr id="40" name="Google Shape;508;p36">
              <a:extLst>
                <a:ext uri="{FF2B5EF4-FFF2-40B4-BE49-F238E27FC236}">
                  <a16:creationId xmlns="" xmlns:a16="http://schemas.microsoft.com/office/drawing/2014/main" id="{467C22DC-D63A-4283-BA20-A9E6FE2311BD}"/>
                </a:ext>
              </a:extLst>
            </p:cNvPr>
            <p:cNvSpPr/>
            <p:nvPr/>
          </p:nvSpPr>
          <p:spPr>
            <a:xfrm>
              <a:off x="604675" y="442665"/>
              <a:ext cx="1797817" cy="1797817"/>
            </a:xfrm>
            <a:custGeom>
              <a:avLst/>
              <a:gdLst/>
              <a:ahLst/>
              <a:cxnLst/>
              <a:rect l="l" t="t" r="r" b="b"/>
              <a:pathLst>
                <a:path w="70063" h="70063" extrusionOk="0">
                  <a:moveTo>
                    <a:pt x="35031" y="1"/>
                  </a:moveTo>
                  <a:cubicBezTo>
                    <a:pt x="25741" y="1"/>
                    <a:pt x="16827" y="3690"/>
                    <a:pt x="10255" y="10262"/>
                  </a:cubicBezTo>
                  <a:cubicBezTo>
                    <a:pt x="3689" y="16828"/>
                    <a:pt x="0" y="25742"/>
                    <a:pt x="0" y="35032"/>
                  </a:cubicBezTo>
                  <a:cubicBezTo>
                    <a:pt x="0" y="44322"/>
                    <a:pt x="3689" y="53236"/>
                    <a:pt x="10255" y="59802"/>
                  </a:cubicBezTo>
                  <a:cubicBezTo>
                    <a:pt x="16827" y="66374"/>
                    <a:pt x="25741" y="70063"/>
                    <a:pt x="35031" y="70063"/>
                  </a:cubicBezTo>
                  <a:cubicBezTo>
                    <a:pt x="44321" y="70063"/>
                    <a:pt x="53229" y="66374"/>
                    <a:pt x="59801" y="59802"/>
                  </a:cubicBezTo>
                  <a:cubicBezTo>
                    <a:pt x="66373" y="53236"/>
                    <a:pt x="70062" y="44322"/>
                    <a:pt x="70062" y="35032"/>
                  </a:cubicBezTo>
                  <a:cubicBezTo>
                    <a:pt x="70062" y="25742"/>
                    <a:pt x="66373" y="16828"/>
                    <a:pt x="59801" y="10262"/>
                  </a:cubicBezTo>
                  <a:cubicBezTo>
                    <a:pt x="53229" y="3690"/>
                    <a:pt x="44321" y="1"/>
                    <a:pt x="35031" y="1"/>
                  </a:cubicBezTo>
                  <a:close/>
                </a:path>
              </a:pathLst>
            </a:custGeom>
            <a:solidFill>
              <a:srgbClr val="1C4587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/>
                <a:sym typeface="Arial"/>
              </a:endParaRPr>
            </a:p>
          </p:txBody>
        </p:sp>
        <p:sp>
          <p:nvSpPr>
            <p:cNvPr id="41" name="Google Shape;509;p36">
              <a:extLst>
                <a:ext uri="{FF2B5EF4-FFF2-40B4-BE49-F238E27FC236}">
                  <a16:creationId xmlns="" xmlns:a16="http://schemas.microsoft.com/office/drawing/2014/main" id="{C9B1AA6D-B017-49E1-913F-CA664C7CAE7E}"/>
                </a:ext>
              </a:extLst>
            </p:cNvPr>
            <p:cNvSpPr/>
            <p:nvPr/>
          </p:nvSpPr>
          <p:spPr>
            <a:xfrm>
              <a:off x="1767250" y="1012250"/>
              <a:ext cx="635300" cy="893775"/>
            </a:xfrm>
            <a:custGeom>
              <a:avLst/>
              <a:gdLst/>
              <a:ahLst/>
              <a:cxnLst/>
              <a:rect l="l" t="t" r="r" b="b"/>
              <a:pathLst>
                <a:path w="25412" h="35751" extrusionOk="0">
                  <a:moveTo>
                    <a:pt x="23764" y="2774"/>
                  </a:moveTo>
                  <a:cubicBezTo>
                    <a:pt x="23764" y="2777"/>
                    <a:pt x="23766" y="2782"/>
                    <a:pt x="23768" y="2788"/>
                  </a:cubicBezTo>
                  <a:lnTo>
                    <a:pt x="23768" y="2788"/>
                  </a:lnTo>
                  <a:cubicBezTo>
                    <a:pt x="23767" y="2783"/>
                    <a:pt x="23765" y="2779"/>
                    <a:pt x="23764" y="2774"/>
                  </a:cubicBezTo>
                  <a:close/>
                  <a:moveTo>
                    <a:pt x="23768" y="2788"/>
                  </a:moveTo>
                  <a:lnTo>
                    <a:pt x="23768" y="2788"/>
                  </a:lnTo>
                  <a:cubicBezTo>
                    <a:pt x="23775" y="2808"/>
                    <a:pt x="23781" y="2828"/>
                    <a:pt x="23787" y="2848"/>
                  </a:cubicBezTo>
                  <a:lnTo>
                    <a:pt x="23787" y="2848"/>
                  </a:lnTo>
                  <a:cubicBezTo>
                    <a:pt x="23784" y="2833"/>
                    <a:pt x="23780" y="2818"/>
                    <a:pt x="23776" y="2803"/>
                  </a:cubicBezTo>
                  <a:cubicBezTo>
                    <a:pt x="23773" y="2798"/>
                    <a:pt x="23770" y="2793"/>
                    <a:pt x="23768" y="2788"/>
                  </a:cubicBezTo>
                  <a:close/>
                  <a:moveTo>
                    <a:pt x="13608" y="1"/>
                  </a:moveTo>
                  <a:cubicBezTo>
                    <a:pt x="13595" y="1"/>
                    <a:pt x="13581" y="1"/>
                    <a:pt x="13568" y="3"/>
                  </a:cubicBezTo>
                  <a:lnTo>
                    <a:pt x="9908" y="268"/>
                  </a:lnTo>
                  <a:cubicBezTo>
                    <a:pt x="9849" y="273"/>
                    <a:pt x="9796" y="291"/>
                    <a:pt x="9743" y="315"/>
                  </a:cubicBezTo>
                  <a:lnTo>
                    <a:pt x="8614" y="915"/>
                  </a:lnTo>
                  <a:cubicBezTo>
                    <a:pt x="8555" y="944"/>
                    <a:pt x="8490" y="962"/>
                    <a:pt x="8420" y="962"/>
                  </a:cubicBezTo>
                  <a:lnTo>
                    <a:pt x="6860" y="962"/>
                  </a:lnTo>
                  <a:lnTo>
                    <a:pt x="6213" y="903"/>
                  </a:lnTo>
                  <a:cubicBezTo>
                    <a:pt x="6199" y="901"/>
                    <a:pt x="6184" y="900"/>
                    <a:pt x="6170" y="900"/>
                  </a:cubicBezTo>
                  <a:cubicBezTo>
                    <a:pt x="6100" y="900"/>
                    <a:pt x="6029" y="922"/>
                    <a:pt x="5966" y="956"/>
                  </a:cubicBezTo>
                  <a:lnTo>
                    <a:pt x="4313" y="1897"/>
                  </a:lnTo>
                  <a:cubicBezTo>
                    <a:pt x="4183" y="1974"/>
                    <a:pt x="4101" y="2115"/>
                    <a:pt x="4101" y="2262"/>
                  </a:cubicBezTo>
                  <a:lnTo>
                    <a:pt x="4101" y="3898"/>
                  </a:lnTo>
                  <a:cubicBezTo>
                    <a:pt x="4101" y="4033"/>
                    <a:pt x="4036" y="4157"/>
                    <a:pt x="3930" y="4239"/>
                  </a:cubicBezTo>
                  <a:lnTo>
                    <a:pt x="206" y="6898"/>
                  </a:lnTo>
                  <a:cubicBezTo>
                    <a:pt x="65" y="6998"/>
                    <a:pt x="0" y="7169"/>
                    <a:pt x="41" y="7340"/>
                  </a:cubicBezTo>
                  <a:lnTo>
                    <a:pt x="206" y="7987"/>
                  </a:lnTo>
                  <a:cubicBezTo>
                    <a:pt x="253" y="8169"/>
                    <a:pt x="418" y="8305"/>
                    <a:pt x="612" y="8305"/>
                  </a:cubicBezTo>
                  <a:cubicBezTo>
                    <a:pt x="871" y="8305"/>
                    <a:pt x="1071" y="8534"/>
                    <a:pt x="1024" y="8793"/>
                  </a:cubicBezTo>
                  <a:lnTo>
                    <a:pt x="936" y="9305"/>
                  </a:lnTo>
                  <a:cubicBezTo>
                    <a:pt x="912" y="9446"/>
                    <a:pt x="812" y="9570"/>
                    <a:pt x="671" y="9623"/>
                  </a:cubicBezTo>
                  <a:lnTo>
                    <a:pt x="571" y="9658"/>
                  </a:lnTo>
                  <a:cubicBezTo>
                    <a:pt x="412" y="9723"/>
                    <a:pt x="300" y="9876"/>
                    <a:pt x="300" y="10052"/>
                  </a:cubicBezTo>
                  <a:lnTo>
                    <a:pt x="282" y="12735"/>
                  </a:lnTo>
                  <a:cubicBezTo>
                    <a:pt x="282" y="12835"/>
                    <a:pt x="318" y="12935"/>
                    <a:pt x="388" y="13011"/>
                  </a:cubicBezTo>
                  <a:lnTo>
                    <a:pt x="3707" y="16789"/>
                  </a:lnTo>
                  <a:cubicBezTo>
                    <a:pt x="3785" y="16878"/>
                    <a:pt x="3890" y="16930"/>
                    <a:pt x="4006" y="16930"/>
                  </a:cubicBezTo>
                  <a:cubicBezTo>
                    <a:pt x="4012" y="16930"/>
                    <a:pt x="4018" y="16930"/>
                    <a:pt x="4024" y="16930"/>
                  </a:cubicBezTo>
                  <a:lnTo>
                    <a:pt x="5378" y="16930"/>
                  </a:lnTo>
                  <a:lnTo>
                    <a:pt x="5460" y="16748"/>
                  </a:lnTo>
                  <a:lnTo>
                    <a:pt x="8084" y="16748"/>
                  </a:lnTo>
                  <a:cubicBezTo>
                    <a:pt x="8190" y="16748"/>
                    <a:pt x="8290" y="16712"/>
                    <a:pt x="8372" y="16642"/>
                  </a:cubicBezTo>
                  <a:lnTo>
                    <a:pt x="8931" y="16124"/>
                  </a:lnTo>
                  <a:cubicBezTo>
                    <a:pt x="9008" y="16053"/>
                    <a:pt x="9114" y="16012"/>
                    <a:pt x="9214" y="16012"/>
                  </a:cubicBezTo>
                  <a:lnTo>
                    <a:pt x="10467" y="16012"/>
                  </a:lnTo>
                  <a:cubicBezTo>
                    <a:pt x="10579" y="16012"/>
                    <a:pt x="10685" y="16059"/>
                    <a:pt x="10761" y="16136"/>
                  </a:cubicBezTo>
                  <a:lnTo>
                    <a:pt x="11397" y="16765"/>
                  </a:lnTo>
                  <a:cubicBezTo>
                    <a:pt x="11467" y="16830"/>
                    <a:pt x="11555" y="16871"/>
                    <a:pt x="11650" y="16883"/>
                  </a:cubicBezTo>
                  <a:lnTo>
                    <a:pt x="13432" y="17054"/>
                  </a:lnTo>
                  <a:cubicBezTo>
                    <a:pt x="13662" y="17077"/>
                    <a:pt x="13832" y="17283"/>
                    <a:pt x="13809" y="17512"/>
                  </a:cubicBezTo>
                  <a:lnTo>
                    <a:pt x="13544" y="20089"/>
                  </a:lnTo>
                  <a:cubicBezTo>
                    <a:pt x="13538" y="20172"/>
                    <a:pt x="13556" y="20260"/>
                    <a:pt x="13603" y="20337"/>
                  </a:cubicBezTo>
                  <a:lnTo>
                    <a:pt x="16045" y="24626"/>
                  </a:lnTo>
                  <a:cubicBezTo>
                    <a:pt x="16115" y="24755"/>
                    <a:pt x="16115" y="24902"/>
                    <a:pt x="16051" y="25032"/>
                  </a:cubicBezTo>
                  <a:lnTo>
                    <a:pt x="14839" y="27356"/>
                  </a:lnTo>
                  <a:cubicBezTo>
                    <a:pt x="14803" y="27432"/>
                    <a:pt x="14786" y="27515"/>
                    <a:pt x="14791" y="27591"/>
                  </a:cubicBezTo>
                  <a:lnTo>
                    <a:pt x="14891" y="28538"/>
                  </a:lnTo>
                  <a:cubicBezTo>
                    <a:pt x="14903" y="28638"/>
                    <a:pt x="14950" y="28732"/>
                    <a:pt x="15021" y="28797"/>
                  </a:cubicBezTo>
                  <a:lnTo>
                    <a:pt x="15903" y="29644"/>
                  </a:lnTo>
                  <a:cubicBezTo>
                    <a:pt x="15986" y="29727"/>
                    <a:pt x="16033" y="29833"/>
                    <a:pt x="16033" y="29950"/>
                  </a:cubicBezTo>
                  <a:lnTo>
                    <a:pt x="16033" y="32622"/>
                  </a:lnTo>
                  <a:cubicBezTo>
                    <a:pt x="16033" y="32710"/>
                    <a:pt x="16056" y="32786"/>
                    <a:pt x="16104" y="32857"/>
                  </a:cubicBezTo>
                  <a:lnTo>
                    <a:pt x="17245" y="34551"/>
                  </a:lnTo>
                  <a:cubicBezTo>
                    <a:pt x="17292" y="34616"/>
                    <a:pt x="17321" y="34698"/>
                    <a:pt x="17321" y="34781"/>
                  </a:cubicBezTo>
                  <a:lnTo>
                    <a:pt x="17321" y="35328"/>
                  </a:lnTo>
                  <a:cubicBezTo>
                    <a:pt x="17318" y="35586"/>
                    <a:pt x="17528" y="35751"/>
                    <a:pt x="17744" y="35751"/>
                  </a:cubicBezTo>
                  <a:cubicBezTo>
                    <a:pt x="17862" y="35751"/>
                    <a:pt x="17983" y="35700"/>
                    <a:pt x="18069" y="35587"/>
                  </a:cubicBezTo>
                  <a:cubicBezTo>
                    <a:pt x="22746" y="29491"/>
                    <a:pt x="25406" y="21907"/>
                    <a:pt x="25406" y="13688"/>
                  </a:cubicBezTo>
                  <a:cubicBezTo>
                    <a:pt x="25411" y="10013"/>
                    <a:pt x="24866" y="6355"/>
                    <a:pt x="23787" y="2848"/>
                  </a:cubicBezTo>
                  <a:lnTo>
                    <a:pt x="23787" y="2848"/>
                  </a:lnTo>
                  <a:cubicBezTo>
                    <a:pt x="23836" y="3103"/>
                    <a:pt x="23643" y="3351"/>
                    <a:pt x="23376" y="3351"/>
                  </a:cubicBezTo>
                  <a:lnTo>
                    <a:pt x="22405" y="3351"/>
                  </a:lnTo>
                  <a:cubicBezTo>
                    <a:pt x="22317" y="3351"/>
                    <a:pt x="22228" y="3321"/>
                    <a:pt x="22158" y="3268"/>
                  </a:cubicBezTo>
                  <a:lnTo>
                    <a:pt x="20610" y="2115"/>
                  </a:lnTo>
                  <a:cubicBezTo>
                    <a:pt x="20542" y="2061"/>
                    <a:pt x="20456" y="2036"/>
                    <a:pt x="20368" y="2036"/>
                  </a:cubicBezTo>
                  <a:cubicBezTo>
                    <a:pt x="20351" y="2036"/>
                    <a:pt x="20334" y="2037"/>
                    <a:pt x="20316" y="2039"/>
                  </a:cubicBezTo>
                  <a:lnTo>
                    <a:pt x="18981" y="2186"/>
                  </a:lnTo>
                  <a:cubicBezTo>
                    <a:pt x="18769" y="2209"/>
                    <a:pt x="18610" y="2392"/>
                    <a:pt x="18610" y="2603"/>
                  </a:cubicBezTo>
                  <a:lnTo>
                    <a:pt x="18610" y="2927"/>
                  </a:lnTo>
                  <a:cubicBezTo>
                    <a:pt x="18610" y="3162"/>
                    <a:pt x="18422" y="3351"/>
                    <a:pt x="18186" y="3351"/>
                  </a:cubicBezTo>
                  <a:lnTo>
                    <a:pt x="18086" y="3351"/>
                  </a:lnTo>
                  <a:cubicBezTo>
                    <a:pt x="18004" y="3345"/>
                    <a:pt x="17922" y="3321"/>
                    <a:pt x="17851" y="3274"/>
                  </a:cubicBezTo>
                  <a:lnTo>
                    <a:pt x="17374" y="2945"/>
                  </a:lnTo>
                  <a:cubicBezTo>
                    <a:pt x="17333" y="2915"/>
                    <a:pt x="17286" y="2898"/>
                    <a:pt x="17239" y="2886"/>
                  </a:cubicBezTo>
                  <a:lnTo>
                    <a:pt x="14338" y="2162"/>
                  </a:lnTo>
                  <a:cubicBezTo>
                    <a:pt x="14150" y="2115"/>
                    <a:pt x="14021" y="1944"/>
                    <a:pt x="14021" y="1750"/>
                  </a:cubicBezTo>
                  <a:lnTo>
                    <a:pt x="14021" y="421"/>
                  </a:lnTo>
                  <a:cubicBezTo>
                    <a:pt x="14021" y="187"/>
                    <a:pt x="13837" y="1"/>
                    <a:pt x="13608" y="1"/>
                  </a:cubicBezTo>
                  <a:close/>
                </a:path>
              </a:pathLst>
            </a:custGeom>
            <a:solidFill>
              <a:srgbClr val="87B7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/>
                <a:sym typeface="Arial"/>
              </a:endParaRPr>
            </a:p>
          </p:txBody>
        </p:sp>
        <p:sp>
          <p:nvSpPr>
            <p:cNvPr id="42" name="Google Shape;510;p36">
              <a:extLst>
                <a:ext uri="{FF2B5EF4-FFF2-40B4-BE49-F238E27FC236}">
                  <a16:creationId xmlns="" xmlns:a16="http://schemas.microsoft.com/office/drawing/2014/main" id="{D2147F42-60CD-4348-B3A0-AEB0D671C345}"/>
                </a:ext>
              </a:extLst>
            </p:cNvPr>
            <p:cNvSpPr/>
            <p:nvPr/>
          </p:nvSpPr>
          <p:spPr>
            <a:xfrm>
              <a:off x="663834" y="553203"/>
              <a:ext cx="1024950" cy="1666850"/>
            </a:xfrm>
            <a:custGeom>
              <a:avLst/>
              <a:gdLst/>
              <a:ahLst/>
              <a:cxnLst/>
              <a:rect l="l" t="t" r="r" b="b"/>
              <a:pathLst>
                <a:path w="40998" h="66674" extrusionOk="0">
                  <a:moveTo>
                    <a:pt x="29077" y="3119"/>
                  </a:moveTo>
                  <a:lnTo>
                    <a:pt x="29076" y="3120"/>
                  </a:lnTo>
                  <a:lnTo>
                    <a:pt x="29076" y="3120"/>
                  </a:lnTo>
                  <a:lnTo>
                    <a:pt x="29095" y="3119"/>
                  </a:lnTo>
                  <a:close/>
                  <a:moveTo>
                    <a:pt x="17310" y="1"/>
                  </a:moveTo>
                  <a:lnTo>
                    <a:pt x="15109" y="1648"/>
                  </a:lnTo>
                  <a:lnTo>
                    <a:pt x="17115" y="1648"/>
                  </a:lnTo>
                  <a:lnTo>
                    <a:pt x="17310" y="2225"/>
                  </a:lnTo>
                  <a:lnTo>
                    <a:pt x="16780" y="2737"/>
                  </a:lnTo>
                  <a:lnTo>
                    <a:pt x="19022" y="2801"/>
                  </a:lnTo>
                  <a:lnTo>
                    <a:pt x="19357" y="3601"/>
                  </a:lnTo>
                  <a:lnTo>
                    <a:pt x="16845" y="3496"/>
                  </a:lnTo>
                  <a:lnTo>
                    <a:pt x="16715" y="2884"/>
                  </a:lnTo>
                  <a:lnTo>
                    <a:pt x="15150" y="2548"/>
                  </a:lnTo>
                  <a:lnTo>
                    <a:pt x="14303" y="2084"/>
                  </a:lnTo>
                  <a:lnTo>
                    <a:pt x="12962" y="2101"/>
                  </a:lnTo>
                  <a:cubicBezTo>
                    <a:pt x="3177" y="7402"/>
                    <a:pt x="0" y="19734"/>
                    <a:pt x="0" y="19734"/>
                  </a:cubicBezTo>
                  <a:lnTo>
                    <a:pt x="1647" y="20470"/>
                  </a:lnTo>
                  <a:lnTo>
                    <a:pt x="1647" y="23429"/>
                  </a:lnTo>
                  <a:lnTo>
                    <a:pt x="3107" y="25947"/>
                  </a:lnTo>
                  <a:lnTo>
                    <a:pt x="4295" y="26136"/>
                  </a:lnTo>
                  <a:lnTo>
                    <a:pt x="4460" y="25271"/>
                  </a:lnTo>
                  <a:lnTo>
                    <a:pt x="3018" y="23064"/>
                  </a:lnTo>
                  <a:lnTo>
                    <a:pt x="2742" y="20929"/>
                  </a:lnTo>
                  <a:lnTo>
                    <a:pt x="3583" y="20929"/>
                  </a:lnTo>
                  <a:lnTo>
                    <a:pt x="3924" y="23135"/>
                  </a:lnTo>
                  <a:lnTo>
                    <a:pt x="5995" y="26136"/>
                  </a:lnTo>
                  <a:lnTo>
                    <a:pt x="5466" y="27107"/>
                  </a:lnTo>
                  <a:lnTo>
                    <a:pt x="6796" y="29095"/>
                  </a:lnTo>
                  <a:lnTo>
                    <a:pt x="10090" y="29919"/>
                  </a:lnTo>
                  <a:lnTo>
                    <a:pt x="10090" y="29389"/>
                  </a:lnTo>
                  <a:lnTo>
                    <a:pt x="11361" y="29578"/>
                  </a:lnTo>
                  <a:lnTo>
                    <a:pt x="11214" y="30490"/>
                  </a:lnTo>
                  <a:lnTo>
                    <a:pt x="12220" y="30678"/>
                  </a:lnTo>
                  <a:lnTo>
                    <a:pt x="13779" y="31119"/>
                  </a:lnTo>
                  <a:lnTo>
                    <a:pt x="16015" y="33655"/>
                  </a:lnTo>
                  <a:lnTo>
                    <a:pt x="18845" y="33867"/>
                  </a:lnTo>
                  <a:lnTo>
                    <a:pt x="19122" y="36191"/>
                  </a:lnTo>
                  <a:lnTo>
                    <a:pt x="17174" y="37544"/>
                  </a:lnTo>
                  <a:lnTo>
                    <a:pt x="17092" y="39615"/>
                  </a:lnTo>
                  <a:lnTo>
                    <a:pt x="16815" y="40892"/>
                  </a:lnTo>
                  <a:lnTo>
                    <a:pt x="19628" y="44422"/>
                  </a:lnTo>
                  <a:lnTo>
                    <a:pt x="19840" y="45622"/>
                  </a:lnTo>
                  <a:cubicBezTo>
                    <a:pt x="19840" y="45622"/>
                    <a:pt x="20869" y="45899"/>
                    <a:pt x="20993" y="45899"/>
                  </a:cubicBezTo>
                  <a:cubicBezTo>
                    <a:pt x="21116" y="45899"/>
                    <a:pt x="23311" y="47546"/>
                    <a:pt x="23311" y="47546"/>
                  </a:cubicBezTo>
                  <a:lnTo>
                    <a:pt x="23311" y="53906"/>
                  </a:lnTo>
                  <a:lnTo>
                    <a:pt x="24058" y="54118"/>
                  </a:lnTo>
                  <a:lnTo>
                    <a:pt x="23523" y="57060"/>
                  </a:lnTo>
                  <a:lnTo>
                    <a:pt x="24829" y="58790"/>
                  </a:lnTo>
                  <a:lnTo>
                    <a:pt x="24576" y="61708"/>
                  </a:lnTo>
                  <a:lnTo>
                    <a:pt x="26306" y="64709"/>
                  </a:lnTo>
                  <a:lnTo>
                    <a:pt x="28506" y="66633"/>
                  </a:lnTo>
                  <a:lnTo>
                    <a:pt x="30701" y="66674"/>
                  </a:lnTo>
                  <a:lnTo>
                    <a:pt x="30936" y="65980"/>
                  </a:lnTo>
                  <a:lnTo>
                    <a:pt x="29306" y="64603"/>
                  </a:lnTo>
                  <a:lnTo>
                    <a:pt x="29395" y="63926"/>
                  </a:lnTo>
                  <a:lnTo>
                    <a:pt x="29689" y="63085"/>
                  </a:lnTo>
                  <a:lnTo>
                    <a:pt x="29748" y="62238"/>
                  </a:lnTo>
                  <a:lnTo>
                    <a:pt x="28647" y="62214"/>
                  </a:lnTo>
                  <a:lnTo>
                    <a:pt x="28100" y="61520"/>
                  </a:lnTo>
                  <a:lnTo>
                    <a:pt x="29006" y="60631"/>
                  </a:lnTo>
                  <a:lnTo>
                    <a:pt x="29136" y="59955"/>
                  </a:lnTo>
                  <a:lnTo>
                    <a:pt x="28100" y="59678"/>
                  </a:lnTo>
                  <a:lnTo>
                    <a:pt x="28159" y="59043"/>
                  </a:lnTo>
                  <a:lnTo>
                    <a:pt x="29624" y="58837"/>
                  </a:lnTo>
                  <a:lnTo>
                    <a:pt x="31848" y="57778"/>
                  </a:lnTo>
                  <a:lnTo>
                    <a:pt x="32584" y="56407"/>
                  </a:lnTo>
                  <a:lnTo>
                    <a:pt x="34908" y="53447"/>
                  </a:lnTo>
                  <a:lnTo>
                    <a:pt x="34384" y="51123"/>
                  </a:lnTo>
                  <a:lnTo>
                    <a:pt x="35078" y="49894"/>
                  </a:lnTo>
                  <a:lnTo>
                    <a:pt x="37214" y="49958"/>
                  </a:lnTo>
                  <a:lnTo>
                    <a:pt x="38650" y="48817"/>
                  </a:lnTo>
                  <a:lnTo>
                    <a:pt x="39114" y="44340"/>
                  </a:lnTo>
                  <a:lnTo>
                    <a:pt x="40703" y="42310"/>
                  </a:lnTo>
                  <a:lnTo>
                    <a:pt x="40997" y="41021"/>
                  </a:lnTo>
                  <a:lnTo>
                    <a:pt x="39538" y="40551"/>
                  </a:lnTo>
                  <a:lnTo>
                    <a:pt x="38567" y="38968"/>
                  </a:lnTo>
                  <a:lnTo>
                    <a:pt x="35290" y="38944"/>
                  </a:lnTo>
                  <a:lnTo>
                    <a:pt x="32719" y="37950"/>
                  </a:lnTo>
                  <a:lnTo>
                    <a:pt x="32589" y="36091"/>
                  </a:lnTo>
                  <a:lnTo>
                    <a:pt x="31725" y="34590"/>
                  </a:lnTo>
                  <a:lnTo>
                    <a:pt x="29377" y="34549"/>
                  </a:lnTo>
                  <a:lnTo>
                    <a:pt x="28000" y="32414"/>
                  </a:lnTo>
                  <a:lnTo>
                    <a:pt x="26800" y="31825"/>
                  </a:lnTo>
                  <a:lnTo>
                    <a:pt x="26735" y="32478"/>
                  </a:lnTo>
                  <a:lnTo>
                    <a:pt x="24535" y="32608"/>
                  </a:lnTo>
                  <a:lnTo>
                    <a:pt x="23729" y="31484"/>
                  </a:lnTo>
                  <a:lnTo>
                    <a:pt x="21452" y="31019"/>
                  </a:lnTo>
                  <a:lnTo>
                    <a:pt x="19563" y="33214"/>
                  </a:lnTo>
                  <a:lnTo>
                    <a:pt x="16586" y="32708"/>
                  </a:lnTo>
                  <a:lnTo>
                    <a:pt x="16374" y="29348"/>
                  </a:lnTo>
                  <a:lnTo>
                    <a:pt x="14221" y="28989"/>
                  </a:lnTo>
                  <a:lnTo>
                    <a:pt x="15086" y="27342"/>
                  </a:lnTo>
                  <a:lnTo>
                    <a:pt x="14833" y="26412"/>
                  </a:lnTo>
                  <a:lnTo>
                    <a:pt x="11979" y="28313"/>
                  </a:lnTo>
                  <a:lnTo>
                    <a:pt x="10202" y="28083"/>
                  </a:lnTo>
                  <a:lnTo>
                    <a:pt x="9543" y="26683"/>
                  </a:lnTo>
                  <a:lnTo>
                    <a:pt x="9949" y="25247"/>
                  </a:lnTo>
                  <a:lnTo>
                    <a:pt x="10944" y="23400"/>
                  </a:lnTo>
                  <a:lnTo>
                    <a:pt x="13203" y="22211"/>
                  </a:lnTo>
                  <a:lnTo>
                    <a:pt x="17604" y="22211"/>
                  </a:lnTo>
                  <a:lnTo>
                    <a:pt x="17580" y="23588"/>
                  </a:lnTo>
                  <a:lnTo>
                    <a:pt x="19163" y="24324"/>
                  </a:lnTo>
                  <a:lnTo>
                    <a:pt x="19039" y="22047"/>
                  </a:lnTo>
                  <a:lnTo>
                    <a:pt x="20175" y="20911"/>
                  </a:lnTo>
                  <a:lnTo>
                    <a:pt x="22458" y="19411"/>
                  </a:lnTo>
                  <a:lnTo>
                    <a:pt x="22623" y="18358"/>
                  </a:lnTo>
                  <a:lnTo>
                    <a:pt x="24905" y="15969"/>
                  </a:lnTo>
                  <a:lnTo>
                    <a:pt x="27329" y="14616"/>
                  </a:lnTo>
                  <a:lnTo>
                    <a:pt x="27118" y="14445"/>
                  </a:lnTo>
                  <a:lnTo>
                    <a:pt x="28771" y="12903"/>
                  </a:lnTo>
                  <a:lnTo>
                    <a:pt x="29359" y="13051"/>
                  </a:lnTo>
                  <a:lnTo>
                    <a:pt x="29630" y="13386"/>
                  </a:lnTo>
                  <a:lnTo>
                    <a:pt x="30265" y="12709"/>
                  </a:lnTo>
                  <a:lnTo>
                    <a:pt x="30412" y="12627"/>
                  </a:lnTo>
                  <a:lnTo>
                    <a:pt x="29712" y="12545"/>
                  </a:lnTo>
                  <a:lnTo>
                    <a:pt x="29000" y="12315"/>
                  </a:lnTo>
                  <a:lnTo>
                    <a:pt x="29000" y="11639"/>
                  </a:lnTo>
                  <a:lnTo>
                    <a:pt x="29412" y="11380"/>
                  </a:lnTo>
                  <a:lnTo>
                    <a:pt x="30236" y="11380"/>
                  </a:lnTo>
                  <a:lnTo>
                    <a:pt x="30601" y="11509"/>
                  </a:lnTo>
                  <a:lnTo>
                    <a:pt x="30971" y="12156"/>
                  </a:lnTo>
                  <a:lnTo>
                    <a:pt x="31383" y="12080"/>
                  </a:lnTo>
                  <a:lnTo>
                    <a:pt x="31383" y="12039"/>
                  </a:lnTo>
                  <a:lnTo>
                    <a:pt x="31477" y="12056"/>
                  </a:lnTo>
                  <a:lnTo>
                    <a:pt x="32601" y="11891"/>
                  </a:lnTo>
                  <a:lnTo>
                    <a:pt x="32748" y="11338"/>
                  </a:lnTo>
                  <a:lnTo>
                    <a:pt x="33401" y="11486"/>
                  </a:lnTo>
                  <a:lnTo>
                    <a:pt x="33725" y="11721"/>
                  </a:lnTo>
                  <a:lnTo>
                    <a:pt x="35078" y="11280"/>
                  </a:lnTo>
                  <a:lnTo>
                    <a:pt x="35143" y="9968"/>
                  </a:lnTo>
                  <a:lnTo>
                    <a:pt x="33725" y="9103"/>
                  </a:lnTo>
                  <a:lnTo>
                    <a:pt x="33619" y="6914"/>
                  </a:lnTo>
                  <a:lnTo>
                    <a:pt x="31677" y="7891"/>
                  </a:lnTo>
                  <a:lnTo>
                    <a:pt x="30977" y="7891"/>
                  </a:lnTo>
                  <a:lnTo>
                    <a:pt x="31148" y="6214"/>
                  </a:lnTo>
                  <a:lnTo>
                    <a:pt x="28477" y="5572"/>
                  </a:lnTo>
                  <a:lnTo>
                    <a:pt x="27347" y="6396"/>
                  </a:lnTo>
                  <a:lnTo>
                    <a:pt x="27347" y="8932"/>
                  </a:lnTo>
                  <a:lnTo>
                    <a:pt x="25411" y="9544"/>
                  </a:lnTo>
                  <a:lnTo>
                    <a:pt x="24658" y="11197"/>
                  </a:lnTo>
                  <a:lnTo>
                    <a:pt x="23858" y="11344"/>
                  </a:lnTo>
                  <a:lnTo>
                    <a:pt x="23858" y="9226"/>
                  </a:lnTo>
                  <a:lnTo>
                    <a:pt x="21969" y="8973"/>
                  </a:lnTo>
                  <a:lnTo>
                    <a:pt x="21022" y="8355"/>
                  </a:lnTo>
                  <a:lnTo>
                    <a:pt x="20652" y="7002"/>
                  </a:lnTo>
                  <a:lnTo>
                    <a:pt x="23964" y="5061"/>
                  </a:lnTo>
                  <a:lnTo>
                    <a:pt x="25570" y="4555"/>
                  </a:lnTo>
                  <a:lnTo>
                    <a:pt x="25741" y="5655"/>
                  </a:lnTo>
                  <a:lnTo>
                    <a:pt x="26647" y="5614"/>
                  </a:lnTo>
                  <a:lnTo>
                    <a:pt x="26712" y="5067"/>
                  </a:lnTo>
                  <a:lnTo>
                    <a:pt x="27659" y="4919"/>
                  </a:lnTo>
                  <a:lnTo>
                    <a:pt x="27682" y="4725"/>
                  </a:lnTo>
                  <a:lnTo>
                    <a:pt x="27259" y="4555"/>
                  </a:lnTo>
                  <a:lnTo>
                    <a:pt x="27176" y="3990"/>
                  </a:lnTo>
                  <a:lnTo>
                    <a:pt x="28336" y="3902"/>
                  </a:lnTo>
                  <a:lnTo>
                    <a:pt x="29076" y="3120"/>
                  </a:lnTo>
                  <a:lnTo>
                    <a:pt x="29076" y="3120"/>
                  </a:lnTo>
                  <a:lnTo>
                    <a:pt x="27912" y="3160"/>
                  </a:lnTo>
                  <a:lnTo>
                    <a:pt x="26476" y="2948"/>
                  </a:lnTo>
                  <a:lnTo>
                    <a:pt x="26265" y="1995"/>
                  </a:lnTo>
                  <a:lnTo>
                    <a:pt x="27635" y="748"/>
                  </a:lnTo>
                  <a:lnTo>
                    <a:pt x="25164" y="618"/>
                  </a:lnTo>
                  <a:lnTo>
                    <a:pt x="24446" y="854"/>
                  </a:lnTo>
                  <a:lnTo>
                    <a:pt x="24129" y="1678"/>
                  </a:lnTo>
                  <a:lnTo>
                    <a:pt x="25058" y="1848"/>
                  </a:lnTo>
                  <a:lnTo>
                    <a:pt x="24870" y="2754"/>
                  </a:lnTo>
                  <a:lnTo>
                    <a:pt x="23305" y="2866"/>
                  </a:lnTo>
                  <a:lnTo>
                    <a:pt x="23052" y="3478"/>
                  </a:lnTo>
                  <a:lnTo>
                    <a:pt x="20775" y="3543"/>
                  </a:lnTo>
                  <a:cubicBezTo>
                    <a:pt x="20775" y="3543"/>
                    <a:pt x="20710" y="2254"/>
                    <a:pt x="20628" y="2254"/>
                  </a:cubicBezTo>
                  <a:cubicBezTo>
                    <a:pt x="20522" y="2254"/>
                    <a:pt x="22399" y="2213"/>
                    <a:pt x="22399" y="2213"/>
                  </a:cubicBezTo>
                  <a:lnTo>
                    <a:pt x="23770" y="883"/>
                  </a:lnTo>
                  <a:lnTo>
                    <a:pt x="23029" y="501"/>
                  </a:lnTo>
                  <a:lnTo>
                    <a:pt x="22040" y="1472"/>
                  </a:lnTo>
                  <a:lnTo>
                    <a:pt x="20387" y="1377"/>
                  </a:lnTo>
                  <a:lnTo>
                    <a:pt x="19416" y="1"/>
                  </a:lnTo>
                  <a:close/>
                </a:path>
              </a:pathLst>
            </a:custGeom>
            <a:solidFill>
              <a:srgbClr val="87B7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/>
                <a:sym typeface="Arial"/>
              </a:endParaRPr>
            </a:p>
          </p:txBody>
        </p:sp>
        <p:sp>
          <p:nvSpPr>
            <p:cNvPr id="43" name="Google Shape;511;p36">
              <a:extLst>
                <a:ext uri="{FF2B5EF4-FFF2-40B4-BE49-F238E27FC236}">
                  <a16:creationId xmlns="" xmlns:a16="http://schemas.microsoft.com/office/drawing/2014/main" id="{59824CEF-FF01-4CC3-97C0-94F6A9A8A662}"/>
                </a:ext>
              </a:extLst>
            </p:cNvPr>
            <p:cNvSpPr/>
            <p:nvPr/>
          </p:nvSpPr>
          <p:spPr>
            <a:xfrm>
              <a:off x="1887678" y="675374"/>
              <a:ext cx="453800" cy="335700"/>
            </a:xfrm>
            <a:custGeom>
              <a:avLst/>
              <a:gdLst/>
              <a:ahLst/>
              <a:cxnLst/>
              <a:rect l="l" t="t" r="r" b="b"/>
              <a:pathLst>
                <a:path w="18152" h="13428" extrusionOk="0">
                  <a:moveTo>
                    <a:pt x="8543" y="1"/>
                  </a:moveTo>
                  <a:cubicBezTo>
                    <a:pt x="8532" y="7"/>
                    <a:pt x="8526" y="19"/>
                    <a:pt x="8514" y="24"/>
                  </a:cubicBezTo>
                  <a:lnTo>
                    <a:pt x="7520" y="425"/>
                  </a:lnTo>
                  <a:cubicBezTo>
                    <a:pt x="7490" y="436"/>
                    <a:pt x="7467" y="454"/>
                    <a:pt x="7449" y="478"/>
                  </a:cubicBezTo>
                  <a:lnTo>
                    <a:pt x="6808" y="1148"/>
                  </a:lnTo>
                  <a:cubicBezTo>
                    <a:pt x="6767" y="1195"/>
                    <a:pt x="6743" y="1266"/>
                    <a:pt x="6755" y="1331"/>
                  </a:cubicBezTo>
                  <a:lnTo>
                    <a:pt x="6878" y="1990"/>
                  </a:lnTo>
                  <a:cubicBezTo>
                    <a:pt x="6896" y="2078"/>
                    <a:pt x="6967" y="2143"/>
                    <a:pt x="7049" y="2154"/>
                  </a:cubicBezTo>
                  <a:lnTo>
                    <a:pt x="7679" y="2243"/>
                  </a:lnTo>
                  <a:cubicBezTo>
                    <a:pt x="7749" y="2254"/>
                    <a:pt x="7814" y="2301"/>
                    <a:pt x="7837" y="2372"/>
                  </a:cubicBezTo>
                  <a:lnTo>
                    <a:pt x="8267" y="3408"/>
                  </a:lnTo>
                  <a:cubicBezTo>
                    <a:pt x="8299" y="3484"/>
                    <a:pt x="8375" y="3533"/>
                    <a:pt x="8457" y="3533"/>
                  </a:cubicBezTo>
                  <a:cubicBezTo>
                    <a:pt x="8482" y="3533"/>
                    <a:pt x="8507" y="3529"/>
                    <a:pt x="8532" y="3519"/>
                  </a:cubicBezTo>
                  <a:lnTo>
                    <a:pt x="9626" y="3090"/>
                  </a:lnTo>
                  <a:cubicBezTo>
                    <a:pt x="9652" y="3079"/>
                    <a:pt x="9678" y="3074"/>
                    <a:pt x="9704" y="3074"/>
                  </a:cubicBezTo>
                  <a:cubicBezTo>
                    <a:pt x="9801" y="3074"/>
                    <a:pt x="9889" y="3146"/>
                    <a:pt x="9903" y="3249"/>
                  </a:cubicBezTo>
                  <a:lnTo>
                    <a:pt x="10091" y="4567"/>
                  </a:lnTo>
                  <a:cubicBezTo>
                    <a:pt x="10108" y="4690"/>
                    <a:pt x="10008" y="4802"/>
                    <a:pt x="9885" y="4802"/>
                  </a:cubicBezTo>
                  <a:lnTo>
                    <a:pt x="9644" y="4802"/>
                  </a:lnTo>
                  <a:lnTo>
                    <a:pt x="8443" y="4608"/>
                  </a:lnTo>
                  <a:cubicBezTo>
                    <a:pt x="8432" y="4605"/>
                    <a:pt x="8420" y="4603"/>
                    <a:pt x="8409" y="4603"/>
                  </a:cubicBezTo>
                  <a:cubicBezTo>
                    <a:pt x="8398" y="4603"/>
                    <a:pt x="8388" y="4605"/>
                    <a:pt x="8379" y="4608"/>
                  </a:cubicBezTo>
                  <a:lnTo>
                    <a:pt x="7102" y="4814"/>
                  </a:lnTo>
                  <a:cubicBezTo>
                    <a:pt x="7043" y="4820"/>
                    <a:pt x="6996" y="4849"/>
                    <a:pt x="6967" y="4896"/>
                  </a:cubicBezTo>
                  <a:lnTo>
                    <a:pt x="5713" y="6655"/>
                  </a:lnTo>
                  <a:cubicBezTo>
                    <a:pt x="5684" y="6702"/>
                    <a:pt x="5631" y="6732"/>
                    <a:pt x="5578" y="6738"/>
                  </a:cubicBezTo>
                  <a:lnTo>
                    <a:pt x="3889" y="6997"/>
                  </a:lnTo>
                  <a:cubicBezTo>
                    <a:pt x="3801" y="7008"/>
                    <a:pt x="3731" y="7079"/>
                    <a:pt x="3713" y="7167"/>
                  </a:cubicBezTo>
                  <a:lnTo>
                    <a:pt x="3495" y="8479"/>
                  </a:lnTo>
                  <a:cubicBezTo>
                    <a:pt x="3478" y="8585"/>
                    <a:pt x="3542" y="8685"/>
                    <a:pt x="3648" y="8715"/>
                  </a:cubicBezTo>
                  <a:lnTo>
                    <a:pt x="4072" y="8809"/>
                  </a:lnTo>
                  <a:cubicBezTo>
                    <a:pt x="4178" y="8838"/>
                    <a:pt x="4248" y="8944"/>
                    <a:pt x="4225" y="9056"/>
                  </a:cubicBezTo>
                  <a:lnTo>
                    <a:pt x="4078" y="9715"/>
                  </a:lnTo>
                  <a:cubicBezTo>
                    <a:pt x="4057" y="9812"/>
                    <a:pt x="3974" y="9878"/>
                    <a:pt x="3880" y="9878"/>
                  </a:cubicBezTo>
                  <a:cubicBezTo>
                    <a:pt x="3865" y="9878"/>
                    <a:pt x="3851" y="9877"/>
                    <a:pt x="3837" y="9874"/>
                  </a:cubicBezTo>
                  <a:lnTo>
                    <a:pt x="2171" y="9538"/>
                  </a:lnTo>
                  <a:cubicBezTo>
                    <a:pt x="2160" y="9535"/>
                    <a:pt x="2146" y="9534"/>
                    <a:pt x="2132" y="9534"/>
                  </a:cubicBezTo>
                  <a:cubicBezTo>
                    <a:pt x="2119" y="9534"/>
                    <a:pt x="2104" y="9535"/>
                    <a:pt x="2089" y="9538"/>
                  </a:cubicBezTo>
                  <a:lnTo>
                    <a:pt x="483" y="9885"/>
                  </a:lnTo>
                  <a:cubicBezTo>
                    <a:pt x="418" y="9903"/>
                    <a:pt x="359" y="9950"/>
                    <a:pt x="336" y="10015"/>
                  </a:cubicBezTo>
                  <a:lnTo>
                    <a:pt x="18" y="10833"/>
                  </a:lnTo>
                  <a:cubicBezTo>
                    <a:pt x="0" y="10868"/>
                    <a:pt x="0" y="10903"/>
                    <a:pt x="6" y="10939"/>
                  </a:cubicBezTo>
                  <a:lnTo>
                    <a:pt x="300" y="12827"/>
                  </a:lnTo>
                  <a:cubicBezTo>
                    <a:pt x="306" y="12892"/>
                    <a:pt x="353" y="12951"/>
                    <a:pt x="412" y="12980"/>
                  </a:cubicBezTo>
                  <a:lnTo>
                    <a:pt x="1289" y="13398"/>
                  </a:lnTo>
                  <a:cubicBezTo>
                    <a:pt x="1312" y="13416"/>
                    <a:pt x="1348" y="13421"/>
                    <a:pt x="1377" y="13421"/>
                  </a:cubicBezTo>
                  <a:lnTo>
                    <a:pt x="3054" y="13398"/>
                  </a:lnTo>
                  <a:lnTo>
                    <a:pt x="3072" y="13398"/>
                  </a:lnTo>
                  <a:lnTo>
                    <a:pt x="4101" y="13304"/>
                  </a:lnTo>
                  <a:cubicBezTo>
                    <a:pt x="4178" y="13298"/>
                    <a:pt x="4243" y="13245"/>
                    <a:pt x="4272" y="13174"/>
                  </a:cubicBezTo>
                  <a:lnTo>
                    <a:pt x="4578" y="12392"/>
                  </a:lnTo>
                  <a:cubicBezTo>
                    <a:pt x="4584" y="12374"/>
                    <a:pt x="4590" y="12357"/>
                    <a:pt x="4601" y="12339"/>
                  </a:cubicBezTo>
                  <a:lnTo>
                    <a:pt x="6325" y="10097"/>
                  </a:lnTo>
                  <a:cubicBezTo>
                    <a:pt x="6363" y="10050"/>
                    <a:pt x="6424" y="10022"/>
                    <a:pt x="6486" y="10022"/>
                  </a:cubicBezTo>
                  <a:cubicBezTo>
                    <a:pt x="6501" y="10022"/>
                    <a:pt x="6516" y="10023"/>
                    <a:pt x="6531" y="10027"/>
                  </a:cubicBezTo>
                  <a:lnTo>
                    <a:pt x="7508" y="10233"/>
                  </a:lnTo>
                  <a:cubicBezTo>
                    <a:pt x="7521" y="10235"/>
                    <a:pt x="7534" y="10236"/>
                    <a:pt x="7547" y="10236"/>
                  </a:cubicBezTo>
                  <a:cubicBezTo>
                    <a:pt x="7598" y="10236"/>
                    <a:pt x="7647" y="10217"/>
                    <a:pt x="7684" y="10180"/>
                  </a:cubicBezTo>
                  <a:lnTo>
                    <a:pt x="8526" y="9421"/>
                  </a:lnTo>
                  <a:cubicBezTo>
                    <a:pt x="8566" y="9383"/>
                    <a:pt x="8615" y="9365"/>
                    <a:pt x="8664" y="9365"/>
                  </a:cubicBezTo>
                  <a:cubicBezTo>
                    <a:pt x="8751" y="9365"/>
                    <a:pt x="8835" y="9421"/>
                    <a:pt x="8861" y="9515"/>
                  </a:cubicBezTo>
                  <a:lnTo>
                    <a:pt x="8985" y="9950"/>
                  </a:lnTo>
                  <a:cubicBezTo>
                    <a:pt x="8996" y="9997"/>
                    <a:pt x="9026" y="10033"/>
                    <a:pt x="9067" y="10062"/>
                  </a:cubicBezTo>
                  <a:lnTo>
                    <a:pt x="11726" y="11868"/>
                  </a:lnTo>
                  <a:cubicBezTo>
                    <a:pt x="11821" y="11933"/>
                    <a:pt x="11844" y="12062"/>
                    <a:pt x="11774" y="12157"/>
                  </a:cubicBezTo>
                  <a:lnTo>
                    <a:pt x="11626" y="12362"/>
                  </a:lnTo>
                  <a:cubicBezTo>
                    <a:pt x="11588" y="12412"/>
                    <a:pt x="11530" y="12445"/>
                    <a:pt x="11465" y="12445"/>
                  </a:cubicBezTo>
                  <a:cubicBezTo>
                    <a:pt x="11460" y="12445"/>
                    <a:pt x="11455" y="12445"/>
                    <a:pt x="11450" y="12445"/>
                  </a:cubicBezTo>
                  <a:lnTo>
                    <a:pt x="10662" y="12410"/>
                  </a:lnTo>
                  <a:cubicBezTo>
                    <a:pt x="10656" y="12409"/>
                    <a:pt x="10651" y="12409"/>
                    <a:pt x="10646" y="12409"/>
                  </a:cubicBezTo>
                  <a:cubicBezTo>
                    <a:pt x="10485" y="12409"/>
                    <a:pt x="10388" y="12590"/>
                    <a:pt x="10479" y="12727"/>
                  </a:cubicBezTo>
                  <a:lnTo>
                    <a:pt x="10691" y="13039"/>
                  </a:lnTo>
                  <a:cubicBezTo>
                    <a:pt x="10720" y="13080"/>
                    <a:pt x="10767" y="13110"/>
                    <a:pt x="10820" y="13121"/>
                  </a:cubicBezTo>
                  <a:lnTo>
                    <a:pt x="11497" y="13263"/>
                  </a:lnTo>
                  <a:cubicBezTo>
                    <a:pt x="11512" y="13265"/>
                    <a:pt x="11528" y="13266"/>
                    <a:pt x="11544" y="13266"/>
                  </a:cubicBezTo>
                  <a:cubicBezTo>
                    <a:pt x="11571" y="13266"/>
                    <a:pt x="11598" y="13262"/>
                    <a:pt x="11621" y="13251"/>
                  </a:cubicBezTo>
                  <a:lnTo>
                    <a:pt x="12368" y="12927"/>
                  </a:lnTo>
                  <a:cubicBezTo>
                    <a:pt x="12444" y="12898"/>
                    <a:pt x="12491" y="12821"/>
                    <a:pt x="12491" y="12739"/>
                  </a:cubicBezTo>
                  <a:lnTo>
                    <a:pt x="12474" y="11880"/>
                  </a:lnTo>
                  <a:cubicBezTo>
                    <a:pt x="12474" y="11803"/>
                    <a:pt x="12515" y="11733"/>
                    <a:pt x="12585" y="11698"/>
                  </a:cubicBezTo>
                  <a:lnTo>
                    <a:pt x="12650" y="11662"/>
                  </a:lnTo>
                  <a:cubicBezTo>
                    <a:pt x="12768" y="11603"/>
                    <a:pt x="12797" y="11439"/>
                    <a:pt x="12703" y="11345"/>
                  </a:cubicBezTo>
                  <a:lnTo>
                    <a:pt x="12580" y="11203"/>
                  </a:lnTo>
                  <a:cubicBezTo>
                    <a:pt x="12562" y="11192"/>
                    <a:pt x="12544" y="11180"/>
                    <a:pt x="12527" y="11168"/>
                  </a:cubicBezTo>
                  <a:lnTo>
                    <a:pt x="10697" y="10138"/>
                  </a:lnTo>
                  <a:cubicBezTo>
                    <a:pt x="10656" y="10115"/>
                    <a:pt x="10626" y="10074"/>
                    <a:pt x="10609" y="10027"/>
                  </a:cubicBezTo>
                  <a:lnTo>
                    <a:pt x="10220" y="8932"/>
                  </a:lnTo>
                  <a:cubicBezTo>
                    <a:pt x="10173" y="8797"/>
                    <a:pt x="10273" y="8656"/>
                    <a:pt x="10414" y="8656"/>
                  </a:cubicBezTo>
                  <a:lnTo>
                    <a:pt x="11644" y="8656"/>
                  </a:lnTo>
                  <a:cubicBezTo>
                    <a:pt x="11703" y="8656"/>
                    <a:pt x="11756" y="8679"/>
                    <a:pt x="11791" y="8720"/>
                  </a:cubicBezTo>
                  <a:lnTo>
                    <a:pt x="12232" y="9162"/>
                  </a:lnTo>
                  <a:lnTo>
                    <a:pt x="12244" y="9174"/>
                  </a:lnTo>
                  <a:lnTo>
                    <a:pt x="13568" y="10321"/>
                  </a:lnTo>
                  <a:cubicBezTo>
                    <a:pt x="13615" y="10356"/>
                    <a:pt x="13639" y="10409"/>
                    <a:pt x="13645" y="10468"/>
                  </a:cubicBezTo>
                  <a:lnTo>
                    <a:pt x="13680" y="11739"/>
                  </a:lnTo>
                  <a:cubicBezTo>
                    <a:pt x="13680" y="11786"/>
                    <a:pt x="13703" y="11833"/>
                    <a:pt x="13739" y="11868"/>
                  </a:cubicBezTo>
                  <a:lnTo>
                    <a:pt x="14862" y="13068"/>
                  </a:lnTo>
                  <a:cubicBezTo>
                    <a:pt x="14902" y="13112"/>
                    <a:pt x="14954" y="13133"/>
                    <a:pt x="15006" y="13133"/>
                  </a:cubicBezTo>
                  <a:cubicBezTo>
                    <a:pt x="15092" y="13133"/>
                    <a:pt x="15178" y="13076"/>
                    <a:pt x="15204" y="12980"/>
                  </a:cubicBezTo>
                  <a:lnTo>
                    <a:pt x="15639" y="11327"/>
                  </a:lnTo>
                  <a:cubicBezTo>
                    <a:pt x="15651" y="11274"/>
                    <a:pt x="15692" y="11227"/>
                    <a:pt x="15739" y="11203"/>
                  </a:cubicBezTo>
                  <a:lnTo>
                    <a:pt x="16386" y="10844"/>
                  </a:lnTo>
                  <a:cubicBezTo>
                    <a:pt x="16419" y="10827"/>
                    <a:pt x="16453" y="10819"/>
                    <a:pt x="16486" y="10819"/>
                  </a:cubicBezTo>
                  <a:cubicBezTo>
                    <a:pt x="16586" y="10819"/>
                    <a:pt x="16679" y="10892"/>
                    <a:pt x="16692" y="10997"/>
                  </a:cubicBezTo>
                  <a:lnTo>
                    <a:pt x="16839" y="12309"/>
                  </a:lnTo>
                  <a:cubicBezTo>
                    <a:pt x="16839" y="12357"/>
                    <a:pt x="16863" y="12398"/>
                    <a:pt x="16892" y="12427"/>
                  </a:cubicBezTo>
                  <a:lnTo>
                    <a:pt x="17757" y="13363"/>
                  </a:lnTo>
                  <a:cubicBezTo>
                    <a:pt x="17792" y="13404"/>
                    <a:pt x="17845" y="13427"/>
                    <a:pt x="17904" y="13427"/>
                  </a:cubicBezTo>
                  <a:cubicBezTo>
                    <a:pt x="18051" y="13427"/>
                    <a:pt x="18151" y="13280"/>
                    <a:pt x="18098" y="13145"/>
                  </a:cubicBezTo>
                  <a:cubicBezTo>
                    <a:pt x="16051" y="8150"/>
                    <a:pt x="12927" y="3666"/>
                    <a:pt x="8949" y="24"/>
                  </a:cubicBezTo>
                  <a:cubicBezTo>
                    <a:pt x="8913" y="28"/>
                    <a:pt x="8877" y="29"/>
                    <a:pt x="8841" y="29"/>
                  </a:cubicBezTo>
                  <a:cubicBezTo>
                    <a:pt x="8742" y="29"/>
                    <a:pt x="8642" y="18"/>
                    <a:pt x="8543" y="1"/>
                  </a:cubicBezTo>
                  <a:close/>
                </a:path>
              </a:pathLst>
            </a:custGeom>
            <a:solidFill>
              <a:srgbClr val="87B7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/>
                <a:sym typeface="Arial"/>
              </a:endParaRPr>
            </a:p>
          </p:txBody>
        </p:sp>
      </p:grpSp>
      <p:grpSp>
        <p:nvGrpSpPr>
          <p:cNvPr id="45" name="Google Shape;245;p28">
            <a:extLst>
              <a:ext uri="{FF2B5EF4-FFF2-40B4-BE49-F238E27FC236}">
                <a16:creationId xmlns="" xmlns:a16="http://schemas.microsoft.com/office/drawing/2014/main" id="{1873288E-9C22-4640-96D3-6A7779A71338}"/>
              </a:ext>
            </a:extLst>
          </p:cNvPr>
          <p:cNvGrpSpPr/>
          <p:nvPr/>
        </p:nvGrpSpPr>
        <p:grpSpPr>
          <a:xfrm>
            <a:off x="2890648" y="5836842"/>
            <a:ext cx="2911982" cy="761934"/>
            <a:chOff x="5703550" y="3997650"/>
            <a:chExt cx="5242652" cy="1394210"/>
          </a:xfrm>
        </p:grpSpPr>
        <p:sp>
          <p:nvSpPr>
            <p:cNvPr id="46" name="Google Shape;246;p28">
              <a:extLst>
                <a:ext uri="{FF2B5EF4-FFF2-40B4-BE49-F238E27FC236}">
                  <a16:creationId xmlns="" xmlns:a16="http://schemas.microsoft.com/office/drawing/2014/main" id="{7991482F-5A73-45F5-8F46-CEB5421AABA4}"/>
                </a:ext>
              </a:extLst>
            </p:cNvPr>
            <p:cNvSpPr/>
            <p:nvPr/>
          </p:nvSpPr>
          <p:spPr>
            <a:xfrm>
              <a:off x="8092864" y="5081599"/>
              <a:ext cx="110708" cy="74583"/>
            </a:xfrm>
            <a:custGeom>
              <a:avLst/>
              <a:gdLst/>
              <a:ahLst/>
              <a:cxnLst/>
              <a:rect l="l" t="t" r="r" b="b"/>
              <a:pathLst>
                <a:path w="1235" h="832" extrusionOk="0">
                  <a:moveTo>
                    <a:pt x="201" y="0"/>
                  </a:moveTo>
                  <a:cubicBezTo>
                    <a:pt x="80" y="0"/>
                    <a:pt x="0" y="165"/>
                    <a:pt x="117" y="256"/>
                  </a:cubicBezTo>
                  <a:lnTo>
                    <a:pt x="1005" y="809"/>
                  </a:lnTo>
                  <a:cubicBezTo>
                    <a:pt x="1029" y="824"/>
                    <a:pt x="1055" y="831"/>
                    <a:pt x="1082" y="831"/>
                  </a:cubicBezTo>
                  <a:cubicBezTo>
                    <a:pt x="1128" y="831"/>
                    <a:pt x="1173" y="809"/>
                    <a:pt x="1199" y="768"/>
                  </a:cubicBezTo>
                  <a:lnTo>
                    <a:pt x="1193" y="768"/>
                  </a:lnTo>
                  <a:cubicBezTo>
                    <a:pt x="1235" y="697"/>
                    <a:pt x="1217" y="615"/>
                    <a:pt x="1152" y="574"/>
                  </a:cubicBezTo>
                  <a:lnTo>
                    <a:pt x="264" y="15"/>
                  </a:lnTo>
                  <a:cubicBezTo>
                    <a:pt x="242" y="5"/>
                    <a:pt x="221" y="0"/>
                    <a:pt x="201" y="0"/>
                  </a:cubicBezTo>
                  <a:close/>
                </a:path>
              </a:pathLst>
            </a:custGeom>
            <a:solidFill>
              <a:srgbClr val="C7C7C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" name="Google Shape;247;p28">
              <a:extLst>
                <a:ext uri="{FF2B5EF4-FFF2-40B4-BE49-F238E27FC236}">
                  <a16:creationId xmlns="" xmlns:a16="http://schemas.microsoft.com/office/drawing/2014/main" id="{64EDEE3A-EF6C-4840-97CB-7DBE98C14E3E}"/>
                </a:ext>
              </a:extLst>
            </p:cNvPr>
            <p:cNvSpPr/>
            <p:nvPr/>
          </p:nvSpPr>
          <p:spPr>
            <a:xfrm>
              <a:off x="8273224" y="5039916"/>
              <a:ext cx="110708" cy="74941"/>
            </a:xfrm>
            <a:custGeom>
              <a:avLst/>
              <a:gdLst/>
              <a:ahLst/>
              <a:cxnLst/>
              <a:rect l="l" t="t" r="r" b="b"/>
              <a:pathLst>
                <a:path w="1235" h="836" extrusionOk="0">
                  <a:moveTo>
                    <a:pt x="201" y="0"/>
                  </a:moveTo>
                  <a:cubicBezTo>
                    <a:pt x="80" y="0"/>
                    <a:pt x="1" y="165"/>
                    <a:pt x="117" y="256"/>
                  </a:cubicBezTo>
                  <a:lnTo>
                    <a:pt x="1005" y="815"/>
                  </a:lnTo>
                  <a:cubicBezTo>
                    <a:pt x="1027" y="829"/>
                    <a:pt x="1052" y="835"/>
                    <a:pt x="1077" y="835"/>
                  </a:cubicBezTo>
                  <a:cubicBezTo>
                    <a:pt x="1124" y="835"/>
                    <a:pt x="1172" y="811"/>
                    <a:pt x="1199" y="768"/>
                  </a:cubicBezTo>
                  <a:cubicBezTo>
                    <a:pt x="1235" y="703"/>
                    <a:pt x="1217" y="615"/>
                    <a:pt x="1152" y="580"/>
                  </a:cubicBezTo>
                  <a:lnTo>
                    <a:pt x="264" y="15"/>
                  </a:lnTo>
                  <a:cubicBezTo>
                    <a:pt x="242" y="5"/>
                    <a:pt x="221" y="0"/>
                    <a:pt x="201" y="0"/>
                  </a:cubicBezTo>
                  <a:close/>
                </a:path>
              </a:pathLst>
            </a:custGeom>
            <a:solidFill>
              <a:srgbClr val="C7C7C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" name="Google Shape;248;p28">
              <a:extLst>
                <a:ext uri="{FF2B5EF4-FFF2-40B4-BE49-F238E27FC236}">
                  <a16:creationId xmlns="" xmlns:a16="http://schemas.microsoft.com/office/drawing/2014/main" id="{C6C3CE02-A69C-4D7E-B774-474DA18FACE5}"/>
                </a:ext>
              </a:extLst>
            </p:cNvPr>
            <p:cNvSpPr/>
            <p:nvPr/>
          </p:nvSpPr>
          <p:spPr>
            <a:xfrm>
              <a:off x="10358294" y="4572434"/>
              <a:ext cx="111067" cy="74762"/>
            </a:xfrm>
            <a:custGeom>
              <a:avLst/>
              <a:gdLst/>
              <a:ahLst/>
              <a:cxnLst/>
              <a:rect l="l" t="t" r="r" b="b"/>
              <a:pathLst>
                <a:path w="1239" h="834" extrusionOk="0">
                  <a:moveTo>
                    <a:pt x="202" y="1"/>
                  </a:moveTo>
                  <a:cubicBezTo>
                    <a:pt x="81" y="1"/>
                    <a:pt x="0" y="168"/>
                    <a:pt x="121" y="258"/>
                  </a:cubicBezTo>
                  <a:lnTo>
                    <a:pt x="1009" y="811"/>
                  </a:lnTo>
                  <a:cubicBezTo>
                    <a:pt x="1033" y="826"/>
                    <a:pt x="1059" y="833"/>
                    <a:pt x="1086" y="833"/>
                  </a:cubicBezTo>
                  <a:cubicBezTo>
                    <a:pt x="1132" y="833"/>
                    <a:pt x="1177" y="811"/>
                    <a:pt x="1203" y="770"/>
                  </a:cubicBezTo>
                  <a:lnTo>
                    <a:pt x="1197" y="770"/>
                  </a:lnTo>
                  <a:cubicBezTo>
                    <a:pt x="1239" y="705"/>
                    <a:pt x="1221" y="617"/>
                    <a:pt x="1156" y="576"/>
                  </a:cubicBezTo>
                  <a:lnTo>
                    <a:pt x="268" y="17"/>
                  </a:lnTo>
                  <a:cubicBezTo>
                    <a:pt x="245" y="6"/>
                    <a:pt x="223" y="1"/>
                    <a:pt x="202" y="1"/>
                  </a:cubicBezTo>
                  <a:close/>
                </a:path>
              </a:pathLst>
            </a:custGeom>
            <a:solidFill>
              <a:srgbClr val="C7C7C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" name="Google Shape;249;p28">
              <a:extLst>
                <a:ext uri="{FF2B5EF4-FFF2-40B4-BE49-F238E27FC236}">
                  <a16:creationId xmlns="" xmlns:a16="http://schemas.microsoft.com/office/drawing/2014/main" id="{03BCE717-8C39-4C6C-A18E-AA313FE39238}"/>
                </a:ext>
              </a:extLst>
            </p:cNvPr>
            <p:cNvSpPr/>
            <p:nvPr/>
          </p:nvSpPr>
          <p:spPr>
            <a:xfrm>
              <a:off x="5703550" y="3997650"/>
              <a:ext cx="5242652" cy="1394210"/>
            </a:xfrm>
            <a:custGeom>
              <a:avLst/>
              <a:gdLst/>
              <a:ahLst/>
              <a:cxnLst/>
              <a:rect l="l" t="t" r="r" b="b"/>
              <a:pathLst>
                <a:path w="58484" h="15553" extrusionOk="0">
                  <a:moveTo>
                    <a:pt x="52875" y="0"/>
                  </a:moveTo>
                  <a:cubicBezTo>
                    <a:pt x="51801" y="0"/>
                    <a:pt x="50051" y="239"/>
                    <a:pt x="47128" y="975"/>
                  </a:cubicBezTo>
                  <a:cubicBezTo>
                    <a:pt x="46687" y="1092"/>
                    <a:pt x="46298" y="1198"/>
                    <a:pt x="45957" y="1310"/>
                  </a:cubicBezTo>
                  <a:lnTo>
                    <a:pt x="45069" y="1516"/>
                  </a:lnTo>
                  <a:lnTo>
                    <a:pt x="16939" y="7976"/>
                  </a:lnTo>
                  <a:cubicBezTo>
                    <a:pt x="16622" y="8020"/>
                    <a:pt x="16192" y="8061"/>
                    <a:pt x="15682" y="8061"/>
                  </a:cubicBezTo>
                  <a:cubicBezTo>
                    <a:pt x="14466" y="8061"/>
                    <a:pt x="12798" y="7829"/>
                    <a:pt x="11132" y="6847"/>
                  </a:cubicBezTo>
                  <a:cubicBezTo>
                    <a:pt x="7467" y="4693"/>
                    <a:pt x="2836" y="1404"/>
                    <a:pt x="2836" y="1404"/>
                  </a:cubicBezTo>
                  <a:lnTo>
                    <a:pt x="0" y="2057"/>
                  </a:lnTo>
                  <a:lnTo>
                    <a:pt x="6407" y="11477"/>
                  </a:lnTo>
                  <a:lnTo>
                    <a:pt x="6402" y="11471"/>
                  </a:lnTo>
                  <a:cubicBezTo>
                    <a:pt x="3966" y="12601"/>
                    <a:pt x="2571" y="13672"/>
                    <a:pt x="2748" y="14454"/>
                  </a:cubicBezTo>
                  <a:cubicBezTo>
                    <a:pt x="2918" y="15193"/>
                    <a:pt x="4459" y="15553"/>
                    <a:pt x="6887" y="15553"/>
                  </a:cubicBezTo>
                  <a:cubicBezTo>
                    <a:pt x="9488" y="15553"/>
                    <a:pt x="13107" y="15140"/>
                    <a:pt x="17151" y="14336"/>
                  </a:cubicBezTo>
                  <a:cubicBezTo>
                    <a:pt x="17276" y="14357"/>
                    <a:pt x="17401" y="14367"/>
                    <a:pt x="17526" y="14367"/>
                  </a:cubicBezTo>
                  <a:cubicBezTo>
                    <a:pt x="17688" y="14367"/>
                    <a:pt x="17850" y="14350"/>
                    <a:pt x="18010" y="14313"/>
                  </a:cubicBezTo>
                  <a:lnTo>
                    <a:pt x="45581" y="7988"/>
                  </a:lnTo>
                  <a:cubicBezTo>
                    <a:pt x="47010" y="7865"/>
                    <a:pt x="48428" y="7641"/>
                    <a:pt x="49823" y="7317"/>
                  </a:cubicBezTo>
                  <a:cubicBezTo>
                    <a:pt x="54747" y="6188"/>
                    <a:pt x="58483" y="4158"/>
                    <a:pt x="58172" y="2781"/>
                  </a:cubicBezTo>
                  <a:cubicBezTo>
                    <a:pt x="58072" y="2346"/>
                    <a:pt x="57566" y="2022"/>
                    <a:pt x="56765" y="1828"/>
                  </a:cubicBezTo>
                  <a:cubicBezTo>
                    <a:pt x="56236" y="1557"/>
                    <a:pt x="55124" y="987"/>
                    <a:pt x="54818" y="734"/>
                  </a:cubicBezTo>
                  <a:cubicBezTo>
                    <a:pt x="54575" y="533"/>
                    <a:pt x="54479" y="0"/>
                    <a:pt x="52875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" name="Google Shape;250;p28">
              <a:extLst>
                <a:ext uri="{FF2B5EF4-FFF2-40B4-BE49-F238E27FC236}">
                  <a16:creationId xmlns="" xmlns:a16="http://schemas.microsoft.com/office/drawing/2014/main" id="{897DE123-6211-4AE3-9842-BDCDE09692AA}"/>
                </a:ext>
              </a:extLst>
            </p:cNvPr>
            <p:cNvSpPr/>
            <p:nvPr/>
          </p:nvSpPr>
          <p:spPr>
            <a:xfrm>
              <a:off x="10071619" y="4176486"/>
              <a:ext cx="66515" cy="63646"/>
            </a:xfrm>
            <a:custGeom>
              <a:avLst/>
              <a:gdLst/>
              <a:ahLst/>
              <a:cxnLst/>
              <a:rect l="l" t="t" r="r" b="b"/>
              <a:pathLst>
                <a:path w="742" h="710" extrusionOk="0">
                  <a:moveTo>
                    <a:pt x="491" y="0"/>
                  </a:moveTo>
                  <a:cubicBezTo>
                    <a:pt x="481" y="0"/>
                    <a:pt x="470" y="1"/>
                    <a:pt x="459" y="4"/>
                  </a:cubicBezTo>
                  <a:lnTo>
                    <a:pt x="136" y="80"/>
                  </a:lnTo>
                  <a:cubicBezTo>
                    <a:pt x="53" y="98"/>
                    <a:pt x="0" y="180"/>
                    <a:pt x="18" y="262"/>
                  </a:cubicBezTo>
                  <a:lnTo>
                    <a:pt x="95" y="586"/>
                  </a:lnTo>
                  <a:cubicBezTo>
                    <a:pt x="109" y="660"/>
                    <a:pt x="170" y="709"/>
                    <a:pt x="237" y="709"/>
                  </a:cubicBezTo>
                  <a:cubicBezTo>
                    <a:pt x="250" y="709"/>
                    <a:pt x="264" y="707"/>
                    <a:pt x="277" y="704"/>
                  </a:cubicBezTo>
                  <a:lnTo>
                    <a:pt x="601" y="633"/>
                  </a:lnTo>
                  <a:cubicBezTo>
                    <a:pt x="689" y="610"/>
                    <a:pt x="742" y="527"/>
                    <a:pt x="718" y="445"/>
                  </a:cubicBezTo>
                  <a:lnTo>
                    <a:pt x="648" y="121"/>
                  </a:lnTo>
                  <a:cubicBezTo>
                    <a:pt x="627" y="50"/>
                    <a:pt x="562" y="0"/>
                    <a:pt x="491" y="0"/>
                  </a:cubicBezTo>
                  <a:close/>
                </a:path>
              </a:pathLst>
            </a:custGeom>
            <a:solidFill>
              <a:srgbClr val="4A6CB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" name="Google Shape;251;p28">
              <a:extLst>
                <a:ext uri="{FF2B5EF4-FFF2-40B4-BE49-F238E27FC236}">
                  <a16:creationId xmlns="" xmlns:a16="http://schemas.microsoft.com/office/drawing/2014/main" id="{418A4439-3E4E-4718-97AA-3E1D6EEBF241}"/>
                </a:ext>
              </a:extLst>
            </p:cNvPr>
            <p:cNvSpPr/>
            <p:nvPr/>
          </p:nvSpPr>
          <p:spPr>
            <a:xfrm>
              <a:off x="9941907" y="4204902"/>
              <a:ext cx="66515" cy="64005"/>
            </a:xfrm>
            <a:custGeom>
              <a:avLst/>
              <a:gdLst/>
              <a:ahLst/>
              <a:cxnLst/>
              <a:rect l="l" t="t" r="r" b="b"/>
              <a:pathLst>
                <a:path w="742" h="714" extrusionOk="0">
                  <a:moveTo>
                    <a:pt x="493" y="1"/>
                  </a:moveTo>
                  <a:cubicBezTo>
                    <a:pt x="482" y="1"/>
                    <a:pt x="470" y="2"/>
                    <a:pt x="459" y="4"/>
                  </a:cubicBezTo>
                  <a:lnTo>
                    <a:pt x="135" y="81"/>
                  </a:lnTo>
                  <a:cubicBezTo>
                    <a:pt x="53" y="98"/>
                    <a:pt x="0" y="187"/>
                    <a:pt x="18" y="269"/>
                  </a:cubicBezTo>
                  <a:lnTo>
                    <a:pt x="94" y="593"/>
                  </a:lnTo>
                  <a:cubicBezTo>
                    <a:pt x="110" y="664"/>
                    <a:pt x="178" y="714"/>
                    <a:pt x="250" y="714"/>
                  </a:cubicBezTo>
                  <a:cubicBezTo>
                    <a:pt x="261" y="714"/>
                    <a:pt x="272" y="713"/>
                    <a:pt x="282" y="710"/>
                  </a:cubicBezTo>
                  <a:lnTo>
                    <a:pt x="606" y="634"/>
                  </a:lnTo>
                  <a:cubicBezTo>
                    <a:pt x="688" y="616"/>
                    <a:pt x="741" y="534"/>
                    <a:pt x="724" y="446"/>
                  </a:cubicBezTo>
                  <a:lnTo>
                    <a:pt x="647" y="122"/>
                  </a:lnTo>
                  <a:cubicBezTo>
                    <a:pt x="632" y="50"/>
                    <a:pt x="568" y="1"/>
                    <a:pt x="493" y="1"/>
                  </a:cubicBezTo>
                  <a:close/>
                </a:path>
              </a:pathLst>
            </a:custGeom>
            <a:solidFill>
              <a:srgbClr val="4A6CB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" name="Google Shape;252;p28">
              <a:extLst>
                <a:ext uri="{FF2B5EF4-FFF2-40B4-BE49-F238E27FC236}">
                  <a16:creationId xmlns="" xmlns:a16="http://schemas.microsoft.com/office/drawing/2014/main" id="{112ED6BB-93C4-4E25-B0BE-4AA637B1AECF}"/>
                </a:ext>
              </a:extLst>
            </p:cNvPr>
            <p:cNvSpPr/>
            <p:nvPr/>
          </p:nvSpPr>
          <p:spPr>
            <a:xfrm>
              <a:off x="9812106" y="4235022"/>
              <a:ext cx="66515" cy="63646"/>
            </a:xfrm>
            <a:custGeom>
              <a:avLst/>
              <a:gdLst/>
              <a:ahLst/>
              <a:cxnLst/>
              <a:rect l="l" t="t" r="r" b="b"/>
              <a:pathLst>
                <a:path w="742" h="710" extrusionOk="0">
                  <a:moveTo>
                    <a:pt x="494" y="0"/>
                  </a:moveTo>
                  <a:cubicBezTo>
                    <a:pt x="482" y="0"/>
                    <a:pt x="471" y="1"/>
                    <a:pt x="460" y="4"/>
                  </a:cubicBezTo>
                  <a:lnTo>
                    <a:pt x="136" y="80"/>
                  </a:lnTo>
                  <a:cubicBezTo>
                    <a:pt x="54" y="98"/>
                    <a:pt x="1" y="180"/>
                    <a:pt x="18" y="263"/>
                  </a:cubicBezTo>
                  <a:lnTo>
                    <a:pt x="95" y="586"/>
                  </a:lnTo>
                  <a:cubicBezTo>
                    <a:pt x="110" y="660"/>
                    <a:pt x="170" y="709"/>
                    <a:pt x="241" y="709"/>
                  </a:cubicBezTo>
                  <a:cubicBezTo>
                    <a:pt x="255" y="709"/>
                    <a:pt x="269" y="708"/>
                    <a:pt x="283" y="704"/>
                  </a:cubicBezTo>
                  <a:lnTo>
                    <a:pt x="607" y="633"/>
                  </a:lnTo>
                  <a:cubicBezTo>
                    <a:pt x="689" y="610"/>
                    <a:pt x="742" y="527"/>
                    <a:pt x="724" y="445"/>
                  </a:cubicBezTo>
                  <a:lnTo>
                    <a:pt x="648" y="121"/>
                  </a:lnTo>
                  <a:cubicBezTo>
                    <a:pt x="632" y="50"/>
                    <a:pt x="568" y="0"/>
                    <a:pt x="494" y="0"/>
                  </a:cubicBezTo>
                  <a:close/>
                </a:path>
              </a:pathLst>
            </a:custGeom>
            <a:solidFill>
              <a:srgbClr val="4A6CB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" name="Google Shape;253;p28">
              <a:extLst>
                <a:ext uri="{FF2B5EF4-FFF2-40B4-BE49-F238E27FC236}">
                  <a16:creationId xmlns="" xmlns:a16="http://schemas.microsoft.com/office/drawing/2014/main" id="{007340F7-C73B-42AF-9AAD-2B0F0FBD0FAE}"/>
                </a:ext>
              </a:extLst>
            </p:cNvPr>
            <p:cNvSpPr/>
            <p:nvPr/>
          </p:nvSpPr>
          <p:spPr>
            <a:xfrm>
              <a:off x="9681856" y="4266127"/>
              <a:ext cx="66515" cy="63646"/>
            </a:xfrm>
            <a:custGeom>
              <a:avLst/>
              <a:gdLst/>
              <a:ahLst/>
              <a:cxnLst/>
              <a:rect l="l" t="t" r="r" b="b"/>
              <a:pathLst>
                <a:path w="742" h="710" extrusionOk="0">
                  <a:moveTo>
                    <a:pt x="493" y="0"/>
                  </a:moveTo>
                  <a:cubicBezTo>
                    <a:pt x="482" y="0"/>
                    <a:pt x="471" y="1"/>
                    <a:pt x="459" y="4"/>
                  </a:cubicBezTo>
                  <a:lnTo>
                    <a:pt x="136" y="80"/>
                  </a:lnTo>
                  <a:cubicBezTo>
                    <a:pt x="53" y="98"/>
                    <a:pt x="0" y="180"/>
                    <a:pt x="24" y="263"/>
                  </a:cubicBezTo>
                  <a:lnTo>
                    <a:pt x="95" y="586"/>
                  </a:lnTo>
                  <a:cubicBezTo>
                    <a:pt x="109" y="660"/>
                    <a:pt x="174" y="710"/>
                    <a:pt x="243" y="710"/>
                  </a:cubicBezTo>
                  <a:cubicBezTo>
                    <a:pt x="256" y="710"/>
                    <a:pt x="270" y="708"/>
                    <a:pt x="283" y="704"/>
                  </a:cubicBezTo>
                  <a:lnTo>
                    <a:pt x="606" y="633"/>
                  </a:lnTo>
                  <a:cubicBezTo>
                    <a:pt x="689" y="610"/>
                    <a:pt x="742" y="527"/>
                    <a:pt x="724" y="445"/>
                  </a:cubicBezTo>
                  <a:lnTo>
                    <a:pt x="648" y="121"/>
                  </a:lnTo>
                  <a:cubicBezTo>
                    <a:pt x="632" y="50"/>
                    <a:pt x="568" y="0"/>
                    <a:pt x="493" y="0"/>
                  </a:cubicBezTo>
                  <a:close/>
                </a:path>
              </a:pathLst>
            </a:custGeom>
            <a:solidFill>
              <a:srgbClr val="4A6CB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" name="Google Shape;254;p28">
              <a:extLst>
                <a:ext uri="{FF2B5EF4-FFF2-40B4-BE49-F238E27FC236}">
                  <a16:creationId xmlns="" xmlns:a16="http://schemas.microsoft.com/office/drawing/2014/main" id="{2B460B59-0063-4DFF-95D9-66980AD4EEF0}"/>
                </a:ext>
              </a:extLst>
            </p:cNvPr>
            <p:cNvSpPr/>
            <p:nvPr/>
          </p:nvSpPr>
          <p:spPr>
            <a:xfrm>
              <a:off x="9552593" y="4294634"/>
              <a:ext cx="66604" cy="63646"/>
            </a:xfrm>
            <a:custGeom>
              <a:avLst/>
              <a:gdLst/>
              <a:ahLst/>
              <a:cxnLst/>
              <a:rect l="l" t="t" r="r" b="b"/>
              <a:pathLst>
                <a:path w="743" h="710" extrusionOk="0">
                  <a:moveTo>
                    <a:pt x="492" y="0"/>
                  </a:moveTo>
                  <a:cubicBezTo>
                    <a:pt x="481" y="0"/>
                    <a:pt x="471" y="1"/>
                    <a:pt x="460" y="3"/>
                  </a:cubicBezTo>
                  <a:lnTo>
                    <a:pt x="136" y="80"/>
                  </a:lnTo>
                  <a:cubicBezTo>
                    <a:pt x="54" y="98"/>
                    <a:pt x="1" y="180"/>
                    <a:pt x="19" y="262"/>
                  </a:cubicBezTo>
                  <a:lnTo>
                    <a:pt x="95" y="586"/>
                  </a:lnTo>
                  <a:cubicBezTo>
                    <a:pt x="110" y="660"/>
                    <a:pt x="170" y="709"/>
                    <a:pt x="241" y="709"/>
                  </a:cubicBezTo>
                  <a:cubicBezTo>
                    <a:pt x="255" y="709"/>
                    <a:pt x="269" y="707"/>
                    <a:pt x="283" y="704"/>
                  </a:cubicBezTo>
                  <a:lnTo>
                    <a:pt x="607" y="633"/>
                  </a:lnTo>
                  <a:cubicBezTo>
                    <a:pt x="689" y="610"/>
                    <a:pt x="742" y="527"/>
                    <a:pt x="725" y="445"/>
                  </a:cubicBezTo>
                  <a:lnTo>
                    <a:pt x="648" y="121"/>
                  </a:lnTo>
                  <a:cubicBezTo>
                    <a:pt x="633" y="49"/>
                    <a:pt x="564" y="0"/>
                    <a:pt x="492" y="0"/>
                  </a:cubicBezTo>
                  <a:close/>
                </a:path>
              </a:pathLst>
            </a:custGeom>
            <a:solidFill>
              <a:srgbClr val="4A6CB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" name="Google Shape;255;p28">
              <a:extLst>
                <a:ext uri="{FF2B5EF4-FFF2-40B4-BE49-F238E27FC236}">
                  <a16:creationId xmlns="" xmlns:a16="http://schemas.microsoft.com/office/drawing/2014/main" id="{EE35580D-2900-4D51-AE61-8894583C03DB}"/>
                </a:ext>
              </a:extLst>
            </p:cNvPr>
            <p:cNvSpPr/>
            <p:nvPr/>
          </p:nvSpPr>
          <p:spPr>
            <a:xfrm>
              <a:off x="9422881" y="4324484"/>
              <a:ext cx="66515" cy="63646"/>
            </a:xfrm>
            <a:custGeom>
              <a:avLst/>
              <a:gdLst/>
              <a:ahLst/>
              <a:cxnLst/>
              <a:rect l="l" t="t" r="r" b="b"/>
              <a:pathLst>
                <a:path w="742" h="710" extrusionOk="0">
                  <a:moveTo>
                    <a:pt x="499" y="0"/>
                  </a:moveTo>
                  <a:cubicBezTo>
                    <a:pt x="486" y="0"/>
                    <a:pt x="473" y="2"/>
                    <a:pt x="459" y="6"/>
                  </a:cubicBezTo>
                  <a:lnTo>
                    <a:pt x="136" y="76"/>
                  </a:lnTo>
                  <a:cubicBezTo>
                    <a:pt x="53" y="94"/>
                    <a:pt x="1" y="182"/>
                    <a:pt x="18" y="265"/>
                  </a:cubicBezTo>
                  <a:lnTo>
                    <a:pt x="95" y="588"/>
                  </a:lnTo>
                  <a:cubicBezTo>
                    <a:pt x="110" y="660"/>
                    <a:pt x="174" y="709"/>
                    <a:pt x="245" y="709"/>
                  </a:cubicBezTo>
                  <a:cubicBezTo>
                    <a:pt x="256" y="709"/>
                    <a:pt x="266" y="708"/>
                    <a:pt x="277" y="706"/>
                  </a:cubicBezTo>
                  <a:lnTo>
                    <a:pt x="601" y="630"/>
                  </a:lnTo>
                  <a:cubicBezTo>
                    <a:pt x="689" y="612"/>
                    <a:pt x="742" y="529"/>
                    <a:pt x="718" y="441"/>
                  </a:cubicBezTo>
                  <a:lnTo>
                    <a:pt x="648" y="118"/>
                  </a:lnTo>
                  <a:cubicBezTo>
                    <a:pt x="628" y="49"/>
                    <a:pt x="567" y="0"/>
                    <a:pt x="499" y="0"/>
                  </a:cubicBezTo>
                  <a:close/>
                </a:path>
              </a:pathLst>
            </a:custGeom>
            <a:solidFill>
              <a:srgbClr val="4A6CB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" name="Google Shape;256;p28">
              <a:extLst>
                <a:ext uri="{FF2B5EF4-FFF2-40B4-BE49-F238E27FC236}">
                  <a16:creationId xmlns="" xmlns:a16="http://schemas.microsoft.com/office/drawing/2014/main" id="{EE1DBC83-F993-4DAF-AA1D-5640CA7C7BE4}"/>
                </a:ext>
              </a:extLst>
            </p:cNvPr>
            <p:cNvSpPr/>
            <p:nvPr/>
          </p:nvSpPr>
          <p:spPr>
            <a:xfrm>
              <a:off x="9292631" y="4355590"/>
              <a:ext cx="66515" cy="63646"/>
            </a:xfrm>
            <a:custGeom>
              <a:avLst/>
              <a:gdLst/>
              <a:ahLst/>
              <a:cxnLst/>
              <a:rect l="l" t="t" r="r" b="b"/>
              <a:pathLst>
                <a:path w="742" h="710" extrusionOk="0">
                  <a:moveTo>
                    <a:pt x="499" y="0"/>
                  </a:moveTo>
                  <a:cubicBezTo>
                    <a:pt x="486" y="0"/>
                    <a:pt x="473" y="2"/>
                    <a:pt x="459" y="6"/>
                  </a:cubicBezTo>
                  <a:lnTo>
                    <a:pt x="136" y="77"/>
                  </a:lnTo>
                  <a:cubicBezTo>
                    <a:pt x="53" y="94"/>
                    <a:pt x="0" y="182"/>
                    <a:pt x="18" y="265"/>
                  </a:cubicBezTo>
                  <a:lnTo>
                    <a:pt x="94" y="588"/>
                  </a:lnTo>
                  <a:cubicBezTo>
                    <a:pt x="110" y="660"/>
                    <a:pt x="174" y="710"/>
                    <a:pt x="245" y="710"/>
                  </a:cubicBezTo>
                  <a:cubicBezTo>
                    <a:pt x="255" y="710"/>
                    <a:pt x="266" y="708"/>
                    <a:pt x="277" y="706"/>
                  </a:cubicBezTo>
                  <a:lnTo>
                    <a:pt x="600" y="630"/>
                  </a:lnTo>
                  <a:cubicBezTo>
                    <a:pt x="689" y="612"/>
                    <a:pt x="742" y="530"/>
                    <a:pt x="718" y="441"/>
                  </a:cubicBezTo>
                  <a:lnTo>
                    <a:pt x="647" y="118"/>
                  </a:lnTo>
                  <a:cubicBezTo>
                    <a:pt x="628" y="49"/>
                    <a:pt x="567" y="0"/>
                    <a:pt x="499" y="0"/>
                  </a:cubicBezTo>
                  <a:close/>
                </a:path>
              </a:pathLst>
            </a:custGeom>
            <a:solidFill>
              <a:srgbClr val="4A6CB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" name="Google Shape;257;p28">
              <a:extLst>
                <a:ext uri="{FF2B5EF4-FFF2-40B4-BE49-F238E27FC236}">
                  <a16:creationId xmlns="" xmlns:a16="http://schemas.microsoft.com/office/drawing/2014/main" id="{4FC4F22B-C18D-4874-8683-3EFC27C33E48}"/>
                </a:ext>
              </a:extLst>
            </p:cNvPr>
            <p:cNvSpPr/>
            <p:nvPr/>
          </p:nvSpPr>
          <p:spPr>
            <a:xfrm>
              <a:off x="9162830" y="4384096"/>
              <a:ext cx="66604" cy="63646"/>
            </a:xfrm>
            <a:custGeom>
              <a:avLst/>
              <a:gdLst/>
              <a:ahLst/>
              <a:cxnLst/>
              <a:rect l="l" t="t" r="r" b="b"/>
              <a:pathLst>
                <a:path w="743" h="710" extrusionOk="0">
                  <a:moveTo>
                    <a:pt x="505" y="0"/>
                  </a:moveTo>
                  <a:cubicBezTo>
                    <a:pt x="492" y="0"/>
                    <a:pt x="479" y="2"/>
                    <a:pt x="466" y="6"/>
                  </a:cubicBezTo>
                  <a:lnTo>
                    <a:pt x="142" y="76"/>
                  </a:lnTo>
                  <a:cubicBezTo>
                    <a:pt x="54" y="94"/>
                    <a:pt x="1" y="182"/>
                    <a:pt x="24" y="265"/>
                  </a:cubicBezTo>
                  <a:lnTo>
                    <a:pt x="95" y="588"/>
                  </a:lnTo>
                  <a:cubicBezTo>
                    <a:pt x="116" y="660"/>
                    <a:pt x="181" y="709"/>
                    <a:pt x="251" y="709"/>
                  </a:cubicBezTo>
                  <a:cubicBezTo>
                    <a:pt x="262" y="709"/>
                    <a:pt x="273" y="708"/>
                    <a:pt x="283" y="706"/>
                  </a:cubicBezTo>
                  <a:lnTo>
                    <a:pt x="607" y="629"/>
                  </a:lnTo>
                  <a:cubicBezTo>
                    <a:pt x="695" y="612"/>
                    <a:pt x="742" y="529"/>
                    <a:pt x="725" y="447"/>
                  </a:cubicBezTo>
                  <a:lnTo>
                    <a:pt x="654" y="117"/>
                  </a:lnTo>
                  <a:cubicBezTo>
                    <a:pt x="634" y="48"/>
                    <a:pt x="573" y="0"/>
                    <a:pt x="505" y="0"/>
                  </a:cubicBezTo>
                  <a:close/>
                </a:path>
              </a:pathLst>
            </a:custGeom>
            <a:solidFill>
              <a:srgbClr val="4A6CB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" name="Google Shape;258;p28">
              <a:extLst>
                <a:ext uri="{FF2B5EF4-FFF2-40B4-BE49-F238E27FC236}">
                  <a16:creationId xmlns="" xmlns:a16="http://schemas.microsoft.com/office/drawing/2014/main" id="{E54B3200-AA36-4E7A-8B84-6486C18E99D1}"/>
                </a:ext>
              </a:extLst>
            </p:cNvPr>
            <p:cNvSpPr/>
            <p:nvPr/>
          </p:nvSpPr>
          <p:spPr>
            <a:xfrm>
              <a:off x="8956653" y="4422732"/>
              <a:ext cx="65977" cy="63467"/>
            </a:xfrm>
            <a:custGeom>
              <a:avLst/>
              <a:gdLst/>
              <a:ahLst/>
              <a:cxnLst/>
              <a:rect l="l" t="t" r="r" b="b"/>
              <a:pathLst>
                <a:path w="736" h="708" extrusionOk="0">
                  <a:moveTo>
                    <a:pt x="491" y="1"/>
                  </a:moveTo>
                  <a:cubicBezTo>
                    <a:pt x="481" y="1"/>
                    <a:pt x="470" y="2"/>
                    <a:pt x="459" y="4"/>
                  </a:cubicBezTo>
                  <a:lnTo>
                    <a:pt x="136" y="75"/>
                  </a:lnTo>
                  <a:cubicBezTo>
                    <a:pt x="53" y="98"/>
                    <a:pt x="0" y="181"/>
                    <a:pt x="18" y="263"/>
                  </a:cubicBezTo>
                  <a:lnTo>
                    <a:pt x="89" y="587"/>
                  </a:lnTo>
                  <a:cubicBezTo>
                    <a:pt x="109" y="658"/>
                    <a:pt x="174" y="708"/>
                    <a:pt x="245" y="708"/>
                  </a:cubicBezTo>
                  <a:cubicBezTo>
                    <a:pt x="256" y="708"/>
                    <a:pt x="266" y="707"/>
                    <a:pt x="277" y="704"/>
                  </a:cubicBezTo>
                  <a:lnTo>
                    <a:pt x="601" y="628"/>
                  </a:lnTo>
                  <a:cubicBezTo>
                    <a:pt x="683" y="610"/>
                    <a:pt x="736" y="528"/>
                    <a:pt x="718" y="445"/>
                  </a:cubicBezTo>
                  <a:lnTo>
                    <a:pt x="642" y="122"/>
                  </a:lnTo>
                  <a:cubicBezTo>
                    <a:pt x="626" y="50"/>
                    <a:pt x="562" y="1"/>
                    <a:pt x="491" y="1"/>
                  </a:cubicBezTo>
                  <a:close/>
                </a:path>
              </a:pathLst>
            </a:custGeom>
            <a:solidFill>
              <a:srgbClr val="4A6CB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" name="Google Shape;259;p28">
              <a:extLst>
                <a:ext uri="{FF2B5EF4-FFF2-40B4-BE49-F238E27FC236}">
                  <a16:creationId xmlns="" xmlns:a16="http://schemas.microsoft.com/office/drawing/2014/main" id="{8FC6F56A-5907-4F2E-B579-03ADDE1AFA97}"/>
                </a:ext>
              </a:extLst>
            </p:cNvPr>
            <p:cNvSpPr/>
            <p:nvPr/>
          </p:nvSpPr>
          <p:spPr>
            <a:xfrm>
              <a:off x="8773605" y="4474455"/>
              <a:ext cx="66067" cy="63467"/>
            </a:xfrm>
            <a:custGeom>
              <a:avLst/>
              <a:gdLst/>
              <a:ahLst/>
              <a:cxnLst/>
              <a:rect l="l" t="t" r="r" b="b"/>
              <a:pathLst>
                <a:path w="737" h="708" extrusionOk="0">
                  <a:moveTo>
                    <a:pt x="494" y="0"/>
                  </a:moveTo>
                  <a:cubicBezTo>
                    <a:pt x="483" y="0"/>
                    <a:pt x="471" y="1"/>
                    <a:pt x="460" y="4"/>
                  </a:cubicBezTo>
                  <a:lnTo>
                    <a:pt x="136" y="74"/>
                  </a:lnTo>
                  <a:cubicBezTo>
                    <a:pt x="48" y="98"/>
                    <a:pt x="1" y="180"/>
                    <a:pt x="18" y="263"/>
                  </a:cubicBezTo>
                  <a:lnTo>
                    <a:pt x="89" y="586"/>
                  </a:lnTo>
                  <a:cubicBezTo>
                    <a:pt x="109" y="662"/>
                    <a:pt x="173" y="708"/>
                    <a:pt x="243" y="708"/>
                  </a:cubicBezTo>
                  <a:cubicBezTo>
                    <a:pt x="254" y="708"/>
                    <a:pt x="266" y="706"/>
                    <a:pt x="277" y="704"/>
                  </a:cubicBezTo>
                  <a:lnTo>
                    <a:pt x="601" y="633"/>
                  </a:lnTo>
                  <a:cubicBezTo>
                    <a:pt x="689" y="610"/>
                    <a:pt x="736" y="527"/>
                    <a:pt x="719" y="445"/>
                  </a:cubicBezTo>
                  <a:lnTo>
                    <a:pt x="648" y="121"/>
                  </a:lnTo>
                  <a:cubicBezTo>
                    <a:pt x="628" y="46"/>
                    <a:pt x="564" y="0"/>
                    <a:pt x="494" y="0"/>
                  </a:cubicBezTo>
                  <a:close/>
                </a:path>
              </a:pathLst>
            </a:custGeom>
            <a:solidFill>
              <a:srgbClr val="4A6CB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" name="Google Shape;260;p28">
              <a:extLst>
                <a:ext uri="{FF2B5EF4-FFF2-40B4-BE49-F238E27FC236}">
                  <a16:creationId xmlns="" xmlns:a16="http://schemas.microsoft.com/office/drawing/2014/main" id="{C1048AD1-7EA0-46F2-B236-208F402FA562}"/>
                </a:ext>
              </a:extLst>
            </p:cNvPr>
            <p:cNvSpPr/>
            <p:nvPr/>
          </p:nvSpPr>
          <p:spPr>
            <a:xfrm>
              <a:off x="8643893" y="4503230"/>
              <a:ext cx="66515" cy="63646"/>
            </a:xfrm>
            <a:custGeom>
              <a:avLst/>
              <a:gdLst/>
              <a:ahLst/>
              <a:cxnLst/>
              <a:rect l="l" t="t" r="r" b="b"/>
              <a:pathLst>
                <a:path w="742" h="710" extrusionOk="0">
                  <a:moveTo>
                    <a:pt x="501" y="1"/>
                  </a:moveTo>
                  <a:cubicBezTo>
                    <a:pt x="488" y="1"/>
                    <a:pt x="474" y="3"/>
                    <a:pt x="459" y="6"/>
                  </a:cubicBezTo>
                  <a:lnTo>
                    <a:pt x="136" y="77"/>
                  </a:lnTo>
                  <a:cubicBezTo>
                    <a:pt x="53" y="101"/>
                    <a:pt x="0" y="183"/>
                    <a:pt x="18" y="265"/>
                  </a:cubicBezTo>
                  <a:lnTo>
                    <a:pt x="95" y="589"/>
                  </a:lnTo>
                  <a:cubicBezTo>
                    <a:pt x="110" y="661"/>
                    <a:pt x="174" y="710"/>
                    <a:pt x="249" y="710"/>
                  </a:cubicBezTo>
                  <a:cubicBezTo>
                    <a:pt x="260" y="710"/>
                    <a:pt x="271" y="709"/>
                    <a:pt x="283" y="707"/>
                  </a:cubicBezTo>
                  <a:lnTo>
                    <a:pt x="606" y="630"/>
                  </a:lnTo>
                  <a:cubicBezTo>
                    <a:pt x="689" y="612"/>
                    <a:pt x="742" y="530"/>
                    <a:pt x="724" y="448"/>
                  </a:cubicBezTo>
                  <a:lnTo>
                    <a:pt x="648" y="124"/>
                  </a:lnTo>
                  <a:cubicBezTo>
                    <a:pt x="633" y="50"/>
                    <a:pt x="572" y="1"/>
                    <a:pt x="501" y="1"/>
                  </a:cubicBezTo>
                  <a:close/>
                </a:path>
              </a:pathLst>
            </a:custGeom>
            <a:solidFill>
              <a:srgbClr val="4A6CB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" name="Google Shape;261;p28">
              <a:extLst>
                <a:ext uri="{FF2B5EF4-FFF2-40B4-BE49-F238E27FC236}">
                  <a16:creationId xmlns="" xmlns:a16="http://schemas.microsoft.com/office/drawing/2014/main" id="{F1E5A8C6-C63A-455C-BBE6-C1E1C401F3D5}"/>
                </a:ext>
              </a:extLst>
            </p:cNvPr>
            <p:cNvSpPr/>
            <p:nvPr/>
          </p:nvSpPr>
          <p:spPr>
            <a:xfrm>
              <a:off x="8514181" y="4532812"/>
              <a:ext cx="66515" cy="63646"/>
            </a:xfrm>
            <a:custGeom>
              <a:avLst/>
              <a:gdLst/>
              <a:ahLst/>
              <a:cxnLst/>
              <a:rect l="l" t="t" r="r" b="b"/>
              <a:pathLst>
                <a:path w="742" h="710" extrusionOk="0">
                  <a:moveTo>
                    <a:pt x="501" y="0"/>
                  </a:moveTo>
                  <a:cubicBezTo>
                    <a:pt x="487" y="0"/>
                    <a:pt x="473" y="2"/>
                    <a:pt x="459" y="6"/>
                  </a:cubicBezTo>
                  <a:lnTo>
                    <a:pt x="135" y="76"/>
                  </a:lnTo>
                  <a:cubicBezTo>
                    <a:pt x="53" y="94"/>
                    <a:pt x="0" y="182"/>
                    <a:pt x="18" y="265"/>
                  </a:cubicBezTo>
                  <a:lnTo>
                    <a:pt x="94" y="588"/>
                  </a:lnTo>
                  <a:cubicBezTo>
                    <a:pt x="110" y="660"/>
                    <a:pt x="178" y="709"/>
                    <a:pt x="250" y="709"/>
                  </a:cubicBezTo>
                  <a:cubicBezTo>
                    <a:pt x="261" y="709"/>
                    <a:pt x="272" y="708"/>
                    <a:pt x="282" y="706"/>
                  </a:cubicBezTo>
                  <a:lnTo>
                    <a:pt x="606" y="630"/>
                  </a:lnTo>
                  <a:cubicBezTo>
                    <a:pt x="688" y="612"/>
                    <a:pt x="741" y="530"/>
                    <a:pt x="724" y="441"/>
                  </a:cubicBezTo>
                  <a:lnTo>
                    <a:pt x="647" y="118"/>
                  </a:lnTo>
                  <a:cubicBezTo>
                    <a:pt x="632" y="49"/>
                    <a:pt x="572" y="0"/>
                    <a:pt x="501" y="0"/>
                  </a:cubicBezTo>
                  <a:close/>
                </a:path>
              </a:pathLst>
            </a:custGeom>
            <a:solidFill>
              <a:srgbClr val="4A6CB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" name="Google Shape;262;p28">
              <a:extLst>
                <a:ext uri="{FF2B5EF4-FFF2-40B4-BE49-F238E27FC236}">
                  <a16:creationId xmlns="" xmlns:a16="http://schemas.microsoft.com/office/drawing/2014/main" id="{977D5F3C-16B1-40C3-B6E3-168DA5403BB5}"/>
                </a:ext>
              </a:extLst>
            </p:cNvPr>
            <p:cNvSpPr/>
            <p:nvPr/>
          </p:nvSpPr>
          <p:spPr>
            <a:xfrm>
              <a:off x="8383842" y="4563559"/>
              <a:ext cx="66604" cy="64005"/>
            </a:xfrm>
            <a:custGeom>
              <a:avLst/>
              <a:gdLst/>
              <a:ahLst/>
              <a:cxnLst/>
              <a:rect l="l" t="t" r="r" b="b"/>
              <a:pathLst>
                <a:path w="743" h="714" extrusionOk="0">
                  <a:moveTo>
                    <a:pt x="494" y="1"/>
                  </a:moveTo>
                  <a:cubicBezTo>
                    <a:pt x="483" y="1"/>
                    <a:pt x="471" y="2"/>
                    <a:pt x="460" y="4"/>
                  </a:cubicBezTo>
                  <a:lnTo>
                    <a:pt x="136" y="81"/>
                  </a:lnTo>
                  <a:cubicBezTo>
                    <a:pt x="54" y="98"/>
                    <a:pt x="1" y="181"/>
                    <a:pt x="18" y="269"/>
                  </a:cubicBezTo>
                  <a:lnTo>
                    <a:pt x="95" y="592"/>
                  </a:lnTo>
                  <a:cubicBezTo>
                    <a:pt x="110" y="664"/>
                    <a:pt x="175" y="714"/>
                    <a:pt x="249" y="714"/>
                  </a:cubicBezTo>
                  <a:cubicBezTo>
                    <a:pt x="260" y="714"/>
                    <a:pt x="272" y="712"/>
                    <a:pt x="283" y="710"/>
                  </a:cubicBezTo>
                  <a:lnTo>
                    <a:pt x="607" y="634"/>
                  </a:lnTo>
                  <a:cubicBezTo>
                    <a:pt x="689" y="616"/>
                    <a:pt x="742" y="534"/>
                    <a:pt x="724" y="445"/>
                  </a:cubicBezTo>
                  <a:lnTo>
                    <a:pt x="648" y="122"/>
                  </a:lnTo>
                  <a:cubicBezTo>
                    <a:pt x="633" y="50"/>
                    <a:pt x="568" y="1"/>
                    <a:pt x="494" y="1"/>
                  </a:cubicBezTo>
                  <a:close/>
                </a:path>
              </a:pathLst>
            </a:custGeom>
            <a:solidFill>
              <a:srgbClr val="4A6CB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" name="Google Shape;263;p28">
              <a:extLst>
                <a:ext uri="{FF2B5EF4-FFF2-40B4-BE49-F238E27FC236}">
                  <a16:creationId xmlns="" xmlns:a16="http://schemas.microsoft.com/office/drawing/2014/main" id="{092CB70F-7A3C-4C11-8608-52534791A10D}"/>
                </a:ext>
              </a:extLst>
            </p:cNvPr>
            <p:cNvSpPr/>
            <p:nvPr/>
          </p:nvSpPr>
          <p:spPr>
            <a:xfrm>
              <a:off x="8254130" y="4593589"/>
              <a:ext cx="66515" cy="63736"/>
            </a:xfrm>
            <a:custGeom>
              <a:avLst/>
              <a:gdLst/>
              <a:ahLst/>
              <a:cxnLst/>
              <a:rect l="l" t="t" r="r" b="b"/>
              <a:pathLst>
                <a:path w="742" h="711" extrusionOk="0">
                  <a:moveTo>
                    <a:pt x="494" y="1"/>
                  </a:moveTo>
                  <a:cubicBezTo>
                    <a:pt x="483" y="1"/>
                    <a:pt x="471" y="2"/>
                    <a:pt x="459" y="4"/>
                  </a:cubicBezTo>
                  <a:lnTo>
                    <a:pt x="136" y="81"/>
                  </a:lnTo>
                  <a:cubicBezTo>
                    <a:pt x="53" y="99"/>
                    <a:pt x="0" y="181"/>
                    <a:pt x="18" y="263"/>
                  </a:cubicBezTo>
                  <a:lnTo>
                    <a:pt x="95" y="587"/>
                  </a:lnTo>
                  <a:cubicBezTo>
                    <a:pt x="109" y="661"/>
                    <a:pt x="170" y="710"/>
                    <a:pt x="241" y="710"/>
                  </a:cubicBezTo>
                  <a:cubicBezTo>
                    <a:pt x="255" y="710"/>
                    <a:pt x="269" y="708"/>
                    <a:pt x="283" y="705"/>
                  </a:cubicBezTo>
                  <a:lnTo>
                    <a:pt x="606" y="634"/>
                  </a:lnTo>
                  <a:cubicBezTo>
                    <a:pt x="689" y="611"/>
                    <a:pt x="742" y="528"/>
                    <a:pt x="724" y="446"/>
                  </a:cubicBezTo>
                  <a:lnTo>
                    <a:pt x="648" y="122"/>
                  </a:lnTo>
                  <a:cubicBezTo>
                    <a:pt x="632" y="46"/>
                    <a:pt x="565" y="1"/>
                    <a:pt x="494" y="1"/>
                  </a:cubicBezTo>
                  <a:close/>
                </a:path>
              </a:pathLst>
            </a:custGeom>
            <a:solidFill>
              <a:srgbClr val="4A6CB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" name="Google Shape;264;p28">
              <a:extLst>
                <a:ext uri="{FF2B5EF4-FFF2-40B4-BE49-F238E27FC236}">
                  <a16:creationId xmlns="" xmlns:a16="http://schemas.microsoft.com/office/drawing/2014/main" id="{62C11EF2-4894-4606-AE2E-A58058FE41BA}"/>
                </a:ext>
              </a:extLst>
            </p:cNvPr>
            <p:cNvSpPr/>
            <p:nvPr/>
          </p:nvSpPr>
          <p:spPr>
            <a:xfrm>
              <a:off x="8124867" y="4622454"/>
              <a:ext cx="66604" cy="63646"/>
            </a:xfrm>
            <a:custGeom>
              <a:avLst/>
              <a:gdLst/>
              <a:ahLst/>
              <a:cxnLst/>
              <a:rect l="l" t="t" r="r" b="b"/>
              <a:pathLst>
                <a:path w="743" h="710" extrusionOk="0">
                  <a:moveTo>
                    <a:pt x="499" y="1"/>
                  </a:moveTo>
                  <a:cubicBezTo>
                    <a:pt x="486" y="1"/>
                    <a:pt x="473" y="2"/>
                    <a:pt x="460" y="6"/>
                  </a:cubicBezTo>
                  <a:lnTo>
                    <a:pt x="136" y="77"/>
                  </a:lnTo>
                  <a:cubicBezTo>
                    <a:pt x="48" y="100"/>
                    <a:pt x="1" y="183"/>
                    <a:pt x="19" y="265"/>
                  </a:cubicBezTo>
                  <a:lnTo>
                    <a:pt x="89" y="589"/>
                  </a:lnTo>
                  <a:cubicBezTo>
                    <a:pt x="110" y="660"/>
                    <a:pt x="175" y="710"/>
                    <a:pt x="245" y="710"/>
                  </a:cubicBezTo>
                  <a:cubicBezTo>
                    <a:pt x="256" y="710"/>
                    <a:pt x="267" y="709"/>
                    <a:pt x="277" y="706"/>
                  </a:cubicBezTo>
                  <a:lnTo>
                    <a:pt x="601" y="630"/>
                  </a:lnTo>
                  <a:cubicBezTo>
                    <a:pt x="689" y="612"/>
                    <a:pt x="742" y="530"/>
                    <a:pt x="719" y="447"/>
                  </a:cubicBezTo>
                  <a:lnTo>
                    <a:pt x="648" y="124"/>
                  </a:lnTo>
                  <a:cubicBezTo>
                    <a:pt x="628" y="50"/>
                    <a:pt x="567" y="1"/>
                    <a:pt x="499" y="1"/>
                  </a:cubicBezTo>
                  <a:close/>
                </a:path>
              </a:pathLst>
            </a:custGeom>
            <a:solidFill>
              <a:srgbClr val="4A6CB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" name="Google Shape;265;p28">
              <a:extLst>
                <a:ext uri="{FF2B5EF4-FFF2-40B4-BE49-F238E27FC236}">
                  <a16:creationId xmlns="" xmlns:a16="http://schemas.microsoft.com/office/drawing/2014/main" id="{B266B09B-2215-4079-995B-357AA59B8F22}"/>
                </a:ext>
              </a:extLst>
            </p:cNvPr>
            <p:cNvSpPr/>
            <p:nvPr/>
          </p:nvSpPr>
          <p:spPr>
            <a:xfrm>
              <a:off x="7994079" y="4653201"/>
              <a:ext cx="66604" cy="64005"/>
            </a:xfrm>
            <a:custGeom>
              <a:avLst/>
              <a:gdLst/>
              <a:ahLst/>
              <a:cxnLst/>
              <a:rect l="l" t="t" r="r" b="b"/>
              <a:pathLst>
                <a:path w="743" h="714" extrusionOk="0">
                  <a:moveTo>
                    <a:pt x="498" y="1"/>
                  </a:moveTo>
                  <a:cubicBezTo>
                    <a:pt x="487" y="1"/>
                    <a:pt x="476" y="2"/>
                    <a:pt x="466" y="4"/>
                  </a:cubicBezTo>
                  <a:lnTo>
                    <a:pt x="142" y="81"/>
                  </a:lnTo>
                  <a:cubicBezTo>
                    <a:pt x="54" y="98"/>
                    <a:pt x="1" y="187"/>
                    <a:pt x="24" y="269"/>
                  </a:cubicBezTo>
                  <a:lnTo>
                    <a:pt x="95" y="593"/>
                  </a:lnTo>
                  <a:cubicBezTo>
                    <a:pt x="115" y="664"/>
                    <a:pt x="180" y="714"/>
                    <a:pt x="251" y="714"/>
                  </a:cubicBezTo>
                  <a:cubicBezTo>
                    <a:pt x="262" y="714"/>
                    <a:pt x="272" y="713"/>
                    <a:pt x="283" y="710"/>
                  </a:cubicBezTo>
                  <a:lnTo>
                    <a:pt x="607" y="634"/>
                  </a:lnTo>
                  <a:cubicBezTo>
                    <a:pt x="695" y="616"/>
                    <a:pt x="742" y="534"/>
                    <a:pt x="724" y="446"/>
                  </a:cubicBezTo>
                  <a:lnTo>
                    <a:pt x="648" y="122"/>
                  </a:lnTo>
                  <a:cubicBezTo>
                    <a:pt x="633" y="50"/>
                    <a:pt x="568" y="1"/>
                    <a:pt x="498" y="1"/>
                  </a:cubicBezTo>
                  <a:close/>
                </a:path>
              </a:pathLst>
            </a:custGeom>
            <a:solidFill>
              <a:srgbClr val="4A6CB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" name="Google Shape;266;p28">
              <a:extLst>
                <a:ext uri="{FF2B5EF4-FFF2-40B4-BE49-F238E27FC236}">
                  <a16:creationId xmlns="" xmlns:a16="http://schemas.microsoft.com/office/drawing/2014/main" id="{3E0831DC-A11E-43BD-9D66-F26B84835F42}"/>
                </a:ext>
              </a:extLst>
            </p:cNvPr>
            <p:cNvSpPr/>
            <p:nvPr/>
          </p:nvSpPr>
          <p:spPr>
            <a:xfrm>
              <a:off x="7864905" y="4682783"/>
              <a:ext cx="66515" cy="64005"/>
            </a:xfrm>
            <a:custGeom>
              <a:avLst/>
              <a:gdLst/>
              <a:ahLst/>
              <a:cxnLst/>
              <a:rect l="l" t="t" r="r" b="b"/>
              <a:pathLst>
                <a:path w="742" h="714" extrusionOk="0">
                  <a:moveTo>
                    <a:pt x="491" y="0"/>
                  </a:moveTo>
                  <a:cubicBezTo>
                    <a:pt x="481" y="0"/>
                    <a:pt x="470" y="2"/>
                    <a:pt x="459" y="4"/>
                  </a:cubicBezTo>
                  <a:lnTo>
                    <a:pt x="136" y="80"/>
                  </a:lnTo>
                  <a:cubicBezTo>
                    <a:pt x="47" y="98"/>
                    <a:pt x="0" y="180"/>
                    <a:pt x="18" y="269"/>
                  </a:cubicBezTo>
                  <a:lnTo>
                    <a:pt x="94" y="592"/>
                  </a:lnTo>
                  <a:cubicBezTo>
                    <a:pt x="110" y="664"/>
                    <a:pt x="174" y="713"/>
                    <a:pt x="245" y="713"/>
                  </a:cubicBezTo>
                  <a:cubicBezTo>
                    <a:pt x="255" y="713"/>
                    <a:pt x="266" y="712"/>
                    <a:pt x="277" y="710"/>
                  </a:cubicBezTo>
                  <a:lnTo>
                    <a:pt x="600" y="633"/>
                  </a:lnTo>
                  <a:cubicBezTo>
                    <a:pt x="689" y="616"/>
                    <a:pt x="742" y="533"/>
                    <a:pt x="718" y="445"/>
                  </a:cubicBezTo>
                  <a:lnTo>
                    <a:pt x="647" y="122"/>
                  </a:lnTo>
                  <a:cubicBezTo>
                    <a:pt x="627" y="50"/>
                    <a:pt x="562" y="0"/>
                    <a:pt x="491" y="0"/>
                  </a:cubicBezTo>
                  <a:close/>
                </a:path>
              </a:pathLst>
            </a:custGeom>
            <a:solidFill>
              <a:srgbClr val="4A6CB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" name="Google Shape;267;p28">
              <a:extLst>
                <a:ext uri="{FF2B5EF4-FFF2-40B4-BE49-F238E27FC236}">
                  <a16:creationId xmlns="" xmlns:a16="http://schemas.microsoft.com/office/drawing/2014/main" id="{9A7B2852-B46A-47DA-B6B2-B91080BA66B8}"/>
                </a:ext>
              </a:extLst>
            </p:cNvPr>
            <p:cNvSpPr/>
            <p:nvPr/>
          </p:nvSpPr>
          <p:spPr>
            <a:xfrm>
              <a:off x="7735104" y="4711558"/>
              <a:ext cx="66604" cy="63646"/>
            </a:xfrm>
            <a:custGeom>
              <a:avLst/>
              <a:gdLst/>
              <a:ahLst/>
              <a:cxnLst/>
              <a:rect l="l" t="t" r="r" b="b"/>
              <a:pathLst>
                <a:path w="743" h="710" extrusionOk="0">
                  <a:moveTo>
                    <a:pt x="505" y="1"/>
                  </a:moveTo>
                  <a:cubicBezTo>
                    <a:pt x="492" y="1"/>
                    <a:pt x="479" y="3"/>
                    <a:pt x="466" y="6"/>
                  </a:cubicBezTo>
                  <a:lnTo>
                    <a:pt x="142" y="77"/>
                  </a:lnTo>
                  <a:cubicBezTo>
                    <a:pt x="54" y="101"/>
                    <a:pt x="1" y="183"/>
                    <a:pt x="24" y="265"/>
                  </a:cubicBezTo>
                  <a:lnTo>
                    <a:pt x="95" y="589"/>
                  </a:lnTo>
                  <a:cubicBezTo>
                    <a:pt x="116" y="661"/>
                    <a:pt x="181" y="710"/>
                    <a:pt x="251" y="710"/>
                  </a:cubicBezTo>
                  <a:cubicBezTo>
                    <a:pt x="262" y="710"/>
                    <a:pt x="273" y="709"/>
                    <a:pt x="283" y="707"/>
                  </a:cubicBezTo>
                  <a:lnTo>
                    <a:pt x="607" y="630"/>
                  </a:lnTo>
                  <a:cubicBezTo>
                    <a:pt x="695" y="612"/>
                    <a:pt x="742" y="530"/>
                    <a:pt x="725" y="448"/>
                  </a:cubicBezTo>
                  <a:lnTo>
                    <a:pt x="648" y="124"/>
                  </a:lnTo>
                  <a:cubicBezTo>
                    <a:pt x="633" y="50"/>
                    <a:pt x="573" y="1"/>
                    <a:pt x="505" y="1"/>
                  </a:cubicBezTo>
                  <a:close/>
                </a:path>
              </a:pathLst>
            </a:custGeom>
            <a:solidFill>
              <a:srgbClr val="4A6CB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" name="Google Shape;268;p28">
              <a:extLst>
                <a:ext uri="{FF2B5EF4-FFF2-40B4-BE49-F238E27FC236}">
                  <a16:creationId xmlns="" xmlns:a16="http://schemas.microsoft.com/office/drawing/2014/main" id="{5D3586D0-0E0B-46FD-BD30-268FBF5997E1}"/>
                </a:ext>
              </a:extLst>
            </p:cNvPr>
            <p:cNvSpPr/>
            <p:nvPr/>
          </p:nvSpPr>
          <p:spPr>
            <a:xfrm>
              <a:off x="7605392" y="4741319"/>
              <a:ext cx="66515" cy="64005"/>
            </a:xfrm>
            <a:custGeom>
              <a:avLst/>
              <a:gdLst/>
              <a:ahLst/>
              <a:cxnLst/>
              <a:rect l="l" t="t" r="r" b="b"/>
              <a:pathLst>
                <a:path w="742" h="714" extrusionOk="0">
                  <a:moveTo>
                    <a:pt x="497" y="1"/>
                  </a:moveTo>
                  <a:cubicBezTo>
                    <a:pt x="487" y="1"/>
                    <a:pt x="476" y="2"/>
                    <a:pt x="465" y="4"/>
                  </a:cubicBezTo>
                  <a:lnTo>
                    <a:pt x="142" y="80"/>
                  </a:lnTo>
                  <a:cubicBezTo>
                    <a:pt x="54" y="98"/>
                    <a:pt x="1" y="180"/>
                    <a:pt x="24" y="269"/>
                  </a:cubicBezTo>
                  <a:lnTo>
                    <a:pt x="95" y="592"/>
                  </a:lnTo>
                  <a:cubicBezTo>
                    <a:pt x="115" y="664"/>
                    <a:pt x="180" y="713"/>
                    <a:pt x="251" y="713"/>
                  </a:cubicBezTo>
                  <a:cubicBezTo>
                    <a:pt x="262" y="713"/>
                    <a:pt x="272" y="712"/>
                    <a:pt x="283" y="710"/>
                  </a:cubicBezTo>
                  <a:lnTo>
                    <a:pt x="607" y="633"/>
                  </a:lnTo>
                  <a:cubicBezTo>
                    <a:pt x="689" y="616"/>
                    <a:pt x="742" y="533"/>
                    <a:pt x="724" y="445"/>
                  </a:cubicBezTo>
                  <a:lnTo>
                    <a:pt x="648" y="122"/>
                  </a:lnTo>
                  <a:cubicBezTo>
                    <a:pt x="632" y="50"/>
                    <a:pt x="568" y="1"/>
                    <a:pt x="497" y="1"/>
                  </a:cubicBezTo>
                  <a:close/>
                </a:path>
              </a:pathLst>
            </a:custGeom>
            <a:solidFill>
              <a:srgbClr val="4A6CB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" name="Google Shape;269;p28">
              <a:extLst>
                <a:ext uri="{FF2B5EF4-FFF2-40B4-BE49-F238E27FC236}">
                  <a16:creationId xmlns="" xmlns:a16="http://schemas.microsoft.com/office/drawing/2014/main" id="{84D40E14-90FA-4F75-BC3B-464765E5CD2B}"/>
                </a:ext>
              </a:extLst>
            </p:cNvPr>
            <p:cNvSpPr/>
            <p:nvPr/>
          </p:nvSpPr>
          <p:spPr>
            <a:xfrm>
              <a:off x="7475680" y="4771170"/>
              <a:ext cx="66515" cy="63736"/>
            </a:xfrm>
            <a:custGeom>
              <a:avLst/>
              <a:gdLst/>
              <a:ahLst/>
              <a:cxnLst/>
              <a:rect l="l" t="t" r="r" b="b"/>
              <a:pathLst>
                <a:path w="742" h="711" extrusionOk="0">
                  <a:moveTo>
                    <a:pt x="501" y="1"/>
                  </a:moveTo>
                  <a:cubicBezTo>
                    <a:pt x="487" y="1"/>
                    <a:pt x="473" y="2"/>
                    <a:pt x="459" y="6"/>
                  </a:cubicBezTo>
                  <a:lnTo>
                    <a:pt x="136" y="77"/>
                  </a:lnTo>
                  <a:cubicBezTo>
                    <a:pt x="53" y="100"/>
                    <a:pt x="0" y="183"/>
                    <a:pt x="24" y="265"/>
                  </a:cubicBezTo>
                  <a:lnTo>
                    <a:pt x="94" y="589"/>
                  </a:lnTo>
                  <a:cubicBezTo>
                    <a:pt x="110" y="665"/>
                    <a:pt x="177" y="710"/>
                    <a:pt x="248" y="710"/>
                  </a:cubicBezTo>
                  <a:cubicBezTo>
                    <a:pt x="259" y="710"/>
                    <a:pt x="271" y="709"/>
                    <a:pt x="283" y="706"/>
                  </a:cubicBezTo>
                  <a:lnTo>
                    <a:pt x="606" y="630"/>
                  </a:lnTo>
                  <a:cubicBezTo>
                    <a:pt x="689" y="612"/>
                    <a:pt x="742" y="530"/>
                    <a:pt x="724" y="448"/>
                  </a:cubicBezTo>
                  <a:lnTo>
                    <a:pt x="647" y="124"/>
                  </a:lnTo>
                  <a:cubicBezTo>
                    <a:pt x="633" y="50"/>
                    <a:pt x="572" y="1"/>
                    <a:pt x="501" y="1"/>
                  </a:cubicBezTo>
                  <a:close/>
                </a:path>
              </a:pathLst>
            </a:custGeom>
            <a:solidFill>
              <a:srgbClr val="4A6CB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" name="Google Shape;270;p28">
              <a:extLst>
                <a:ext uri="{FF2B5EF4-FFF2-40B4-BE49-F238E27FC236}">
                  <a16:creationId xmlns="" xmlns:a16="http://schemas.microsoft.com/office/drawing/2014/main" id="{2433EC04-7B38-4887-8FF4-4E94C87AB592}"/>
                </a:ext>
              </a:extLst>
            </p:cNvPr>
            <p:cNvSpPr/>
            <p:nvPr/>
          </p:nvSpPr>
          <p:spPr>
            <a:xfrm>
              <a:off x="7345341" y="4802006"/>
              <a:ext cx="66604" cy="63915"/>
            </a:xfrm>
            <a:custGeom>
              <a:avLst/>
              <a:gdLst/>
              <a:ahLst/>
              <a:cxnLst/>
              <a:rect l="l" t="t" r="r" b="b"/>
              <a:pathLst>
                <a:path w="743" h="713" extrusionOk="0">
                  <a:moveTo>
                    <a:pt x="494" y="0"/>
                  </a:moveTo>
                  <a:cubicBezTo>
                    <a:pt x="483" y="0"/>
                    <a:pt x="471" y="1"/>
                    <a:pt x="460" y="4"/>
                  </a:cubicBezTo>
                  <a:lnTo>
                    <a:pt x="136" y="80"/>
                  </a:lnTo>
                  <a:cubicBezTo>
                    <a:pt x="54" y="98"/>
                    <a:pt x="1" y="180"/>
                    <a:pt x="19" y="268"/>
                  </a:cubicBezTo>
                  <a:lnTo>
                    <a:pt x="95" y="592"/>
                  </a:lnTo>
                  <a:cubicBezTo>
                    <a:pt x="110" y="664"/>
                    <a:pt x="175" y="713"/>
                    <a:pt x="249" y="713"/>
                  </a:cubicBezTo>
                  <a:cubicBezTo>
                    <a:pt x="261" y="713"/>
                    <a:pt x="272" y="712"/>
                    <a:pt x="283" y="710"/>
                  </a:cubicBezTo>
                  <a:lnTo>
                    <a:pt x="607" y="633"/>
                  </a:lnTo>
                  <a:cubicBezTo>
                    <a:pt x="689" y="615"/>
                    <a:pt x="742" y="533"/>
                    <a:pt x="725" y="445"/>
                  </a:cubicBezTo>
                  <a:lnTo>
                    <a:pt x="648" y="121"/>
                  </a:lnTo>
                  <a:cubicBezTo>
                    <a:pt x="633" y="50"/>
                    <a:pt x="568" y="0"/>
                    <a:pt x="494" y="0"/>
                  </a:cubicBezTo>
                  <a:close/>
                </a:path>
              </a:pathLst>
            </a:custGeom>
            <a:solidFill>
              <a:srgbClr val="4A6CB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" name="Google Shape;271;p28">
              <a:extLst>
                <a:ext uri="{FF2B5EF4-FFF2-40B4-BE49-F238E27FC236}">
                  <a16:creationId xmlns="" xmlns:a16="http://schemas.microsoft.com/office/drawing/2014/main" id="{97D2C02B-8694-44CA-BAB5-DF3ADE9D4F4D}"/>
                </a:ext>
              </a:extLst>
            </p:cNvPr>
            <p:cNvSpPr/>
            <p:nvPr/>
          </p:nvSpPr>
          <p:spPr>
            <a:xfrm>
              <a:off x="5958760" y="5044398"/>
              <a:ext cx="855100" cy="249027"/>
            </a:xfrm>
            <a:custGeom>
              <a:avLst/>
              <a:gdLst/>
              <a:ahLst/>
              <a:cxnLst/>
              <a:rect l="l" t="t" r="r" b="b"/>
              <a:pathLst>
                <a:path w="9539" h="2778" extrusionOk="0">
                  <a:moveTo>
                    <a:pt x="9362" y="0"/>
                  </a:moveTo>
                  <a:cubicBezTo>
                    <a:pt x="8820" y="0"/>
                    <a:pt x="6726" y="524"/>
                    <a:pt x="4255" y="1289"/>
                  </a:cubicBezTo>
                  <a:cubicBezTo>
                    <a:pt x="2454" y="1848"/>
                    <a:pt x="889" y="2401"/>
                    <a:pt x="1" y="2777"/>
                  </a:cubicBezTo>
                  <a:lnTo>
                    <a:pt x="6667" y="1247"/>
                  </a:lnTo>
                  <a:cubicBezTo>
                    <a:pt x="8379" y="659"/>
                    <a:pt x="9538" y="165"/>
                    <a:pt x="9497" y="35"/>
                  </a:cubicBezTo>
                  <a:cubicBezTo>
                    <a:pt x="9485" y="12"/>
                    <a:pt x="9444" y="0"/>
                    <a:pt x="9362" y="0"/>
                  </a:cubicBezTo>
                  <a:close/>
                </a:path>
              </a:pathLst>
            </a:custGeom>
            <a:solidFill>
              <a:srgbClr val="C7C7C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" name="Google Shape;272;p28">
              <a:extLst>
                <a:ext uri="{FF2B5EF4-FFF2-40B4-BE49-F238E27FC236}">
                  <a16:creationId xmlns="" xmlns:a16="http://schemas.microsoft.com/office/drawing/2014/main" id="{18A721B4-24AD-4C45-B52F-EC335FE2A9A2}"/>
                </a:ext>
              </a:extLst>
            </p:cNvPr>
            <p:cNvSpPr/>
            <p:nvPr/>
          </p:nvSpPr>
          <p:spPr>
            <a:xfrm>
              <a:off x="5950872" y="5156182"/>
              <a:ext cx="606073" cy="169873"/>
            </a:xfrm>
            <a:custGeom>
              <a:avLst/>
              <a:gdLst/>
              <a:ahLst/>
              <a:cxnLst/>
              <a:rect l="l" t="t" r="r" b="b"/>
              <a:pathLst>
                <a:path w="6761" h="1895" extrusionOk="0">
                  <a:moveTo>
                    <a:pt x="6755" y="0"/>
                  </a:moveTo>
                  <a:lnTo>
                    <a:pt x="89" y="1530"/>
                  </a:lnTo>
                  <a:lnTo>
                    <a:pt x="1" y="1565"/>
                  </a:lnTo>
                  <a:cubicBezTo>
                    <a:pt x="42" y="1695"/>
                    <a:pt x="112" y="1807"/>
                    <a:pt x="212" y="1895"/>
                  </a:cubicBezTo>
                  <a:cubicBezTo>
                    <a:pt x="1160" y="1707"/>
                    <a:pt x="2760" y="1277"/>
                    <a:pt x="4555" y="718"/>
                  </a:cubicBezTo>
                  <a:cubicBezTo>
                    <a:pt x="5349" y="477"/>
                    <a:pt x="6096" y="230"/>
                    <a:pt x="6761" y="0"/>
                  </a:cubicBezTo>
                  <a:close/>
                </a:path>
              </a:pathLst>
            </a:custGeom>
            <a:solidFill>
              <a:srgbClr val="EA551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" name="Google Shape;273;p28">
              <a:extLst>
                <a:ext uri="{FF2B5EF4-FFF2-40B4-BE49-F238E27FC236}">
                  <a16:creationId xmlns="" xmlns:a16="http://schemas.microsoft.com/office/drawing/2014/main" id="{28170031-307F-4210-870E-D877BE077D0A}"/>
                </a:ext>
              </a:extLst>
            </p:cNvPr>
            <p:cNvSpPr/>
            <p:nvPr/>
          </p:nvSpPr>
          <p:spPr>
            <a:xfrm>
              <a:off x="10443991" y="4063895"/>
              <a:ext cx="122990" cy="95559"/>
            </a:xfrm>
            <a:custGeom>
              <a:avLst/>
              <a:gdLst/>
              <a:ahLst/>
              <a:cxnLst/>
              <a:rect l="l" t="t" r="r" b="b"/>
              <a:pathLst>
                <a:path w="1372" h="1066" extrusionOk="0">
                  <a:moveTo>
                    <a:pt x="912" y="0"/>
                  </a:moveTo>
                  <a:lnTo>
                    <a:pt x="0" y="212"/>
                  </a:lnTo>
                  <a:lnTo>
                    <a:pt x="459" y="1065"/>
                  </a:lnTo>
                  <a:lnTo>
                    <a:pt x="1371" y="854"/>
                  </a:lnTo>
                  <a:lnTo>
                    <a:pt x="912" y="0"/>
                  </a:lnTo>
                  <a:close/>
                </a:path>
              </a:pathLst>
            </a:custGeom>
            <a:solidFill>
              <a:srgbClr val="F4996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" name="Google Shape;274;p28">
              <a:extLst>
                <a:ext uri="{FF2B5EF4-FFF2-40B4-BE49-F238E27FC236}">
                  <a16:creationId xmlns="" xmlns:a16="http://schemas.microsoft.com/office/drawing/2014/main" id="{CD6BB70C-1B8A-4792-8327-6B939D106F53}"/>
                </a:ext>
              </a:extLst>
            </p:cNvPr>
            <p:cNvSpPr/>
            <p:nvPr/>
          </p:nvSpPr>
          <p:spPr>
            <a:xfrm>
              <a:off x="7956698" y="4500810"/>
              <a:ext cx="1684114" cy="652687"/>
            </a:xfrm>
            <a:custGeom>
              <a:avLst/>
              <a:gdLst/>
              <a:ahLst/>
              <a:cxnLst/>
              <a:rect l="l" t="t" r="r" b="b"/>
              <a:pathLst>
                <a:path w="18787" h="7281" extrusionOk="0">
                  <a:moveTo>
                    <a:pt x="17793" y="0"/>
                  </a:moveTo>
                  <a:cubicBezTo>
                    <a:pt x="17765" y="0"/>
                    <a:pt x="17738" y="3"/>
                    <a:pt x="17710" y="10"/>
                  </a:cubicBezTo>
                  <a:lnTo>
                    <a:pt x="324" y="3999"/>
                  </a:lnTo>
                  <a:cubicBezTo>
                    <a:pt x="124" y="4046"/>
                    <a:pt x="0" y="4246"/>
                    <a:pt x="47" y="4452"/>
                  </a:cubicBezTo>
                  <a:lnTo>
                    <a:pt x="630" y="6988"/>
                  </a:lnTo>
                  <a:cubicBezTo>
                    <a:pt x="670" y="7164"/>
                    <a:pt x="823" y="7280"/>
                    <a:pt x="991" y="7280"/>
                  </a:cubicBezTo>
                  <a:cubicBezTo>
                    <a:pt x="1019" y="7280"/>
                    <a:pt x="1048" y="7277"/>
                    <a:pt x="1077" y="7270"/>
                  </a:cubicBezTo>
                  <a:lnTo>
                    <a:pt x="1083" y="7270"/>
                  </a:lnTo>
                  <a:lnTo>
                    <a:pt x="18463" y="3281"/>
                  </a:lnTo>
                  <a:cubicBezTo>
                    <a:pt x="18663" y="3234"/>
                    <a:pt x="18786" y="3034"/>
                    <a:pt x="18739" y="2834"/>
                  </a:cubicBezTo>
                  <a:lnTo>
                    <a:pt x="18157" y="292"/>
                  </a:lnTo>
                  <a:cubicBezTo>
                    <a:pt x="18116" y="120"/>
                    <a:pt x="17963" y="0"/>
                    <a:pt x="17793" y="0"/>
                  </a:cubicBezTo>
                  <a:close/>
                </a:path>
              </a:pathLst>
            </a:custGeom>
            <a:solidFill>
              <a:srgbClr val="FDFDFB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" name="Google Shape;275;p28">
              <a:extLst>
                <a:ext uri="{FF2B5EF4-FFF2-40B4-BE49-F238E27FC236}">
                  <a16:creationId xmlns="" xmlns:a16="http://schemas.microsoft.com/office/drawing/2014/main" id="{680EE3D8-835C-426D-BF1C-948D64A462EC}"/>
                </a:ext>
              </a:extLst>
            </p:cNvPr>
            <p:cNvSpPr/>
            <p:nvPr/>
          </p:nvSpPr>
          <p:spPr>
            <a:xfrm>
              <a:off x="9799466" y="4522772"/>
              <a:ext cx="785985" cy="190490"/>
            </a:xfrm>
            <a:custGeom>
              <a:avLst/>
              <a:gdLst/>
              <a:ahLst/>
              <a:cxnLst/>
              <a:rect l="l" t="t" r="r" b="b"/>
              <a:pathLst>
                <a:path w="8768" h="2125" extrusionOk="0">
                  <a:moveTo>
                    <a:pt x="8767" y="0"/>
                  </a:moveTo>
                  <a:lnTo>
                    <a:pt x="359" y="1936"/>
                  </a:lnTo>
                  <a:cubicBezTo>
                    <a:pt x="224" y="1965"/>
                    <a:pt x="100" y="2030"/>
                    <a:pt x="0" y="2124"/>
                  </a:cubicBezTo>
                  <a:cubicBezTo>
                    <a:pt x="1389" y="2001"/>
                    <a:pt x="2772" y="1777"/>
                    <a:pt x="4137" y="1459"/>
                  </a:cubicBezTo>
                  <a:cubicBezTo>
                    <a:pt x="5719" y="1106"/>
                    <a:pt x="7267" y="618"/>
                    <a:pt x="8767" y="0"/>
                  </a:cubicBezTo>
                  <a:close/>
                </a:path>
              </a:pathLst>
            </a:custGeom>
            <a:solidFill>
              <a:srgbClr val="EA551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" name="Google Shape;276;p28">
              <a:extLst>
                <a:ext uri="{FF2B5EF4-FFF2-40B4-BE49-F238E27FC236}">
                  <a16:creationId xmlns="" xmlns:a16="http://schemas.microsoft.com/office/drawing/2014/main" id="{1B0CDB92-925D-4E44-B3B2-9188971AA9B0}"/>
                </a:ext>
              </a:extLst>
            </p:cNvPr>
            <p:cNvSpPr/>
            <p:nvPr/>
          </p:nvSpPr>
          <p:spPr>
            <a:xfrm>
              <a:off x="7851190" y="5008990"/>
              <a:ext cx="160370" cy="149882"/>
            </a:xfrm>
            <a:custGeom>
              <a:avLst/>
              <a:gdLst/>
              <a:ahLst/>
              <a:cxnLst/>
              <a:rect l="l" t="t" r="r" b="b"/>
              <a:pathLst>
                <a:path w="1789" h="1672" extrusionOk="0">
                  <a:moveTo>
                    <a:pt x="1501" y="1"/>
                  </a:moveTo>
                  <a:lnTo>
                    <a:pt x="0" y="1672"/>
                  </a:lnTo>
                  <a:lnTo>
                    <a:pt x="1789" y="1260"/>
                  </a:lnTo>
                  <a:lnTo>
                    <a:pt x="1501" y="1"/>
                  </a:lnTo>
                  <a:close/>
                </a:path>
              </a:pathLst>
            </a:custGeom>
            <a:solidFill>
              <a:srgbClr val="EA551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7" name="Google Shape;277;p28">
              <a:extLst>
                <a:ext uri="{FF2B5EF4-FFF2-40B4-BE49-F238E27FC236}">
                  <a16:creationId xmlns="" xmlns:a16="http://schemas.microsoft.com/office/drawing/2014/main" id="{56D1100B-5659-43C6-97BE-50573CE048F7}"/>
                </a:ext>
              </a:extLst>
            </p:cNvPr>
            <p:cNvSpPr/>
            <p:nvPr/>
          </p:nvSpPr>
          <p:spPr>
            <a:xfrm>
              <a:off x="7985653" y="4557553"/>
              <a:ext cx="1334508" cy="564389"/>
            </a:xfrm>
            <a:custGeom>
              <a:avLst/>
              <a:gdLst/>
              <a:ahLst/>
              <a:cxnLst/>
              <a:rect l="l" t="t" r="r" b="b"/>
              <a:pathLst>
                <a:path w="14887" h="6296" extrusionOk="0">
                  <a:moveTo>
                    <a:pt x="14886" y="1"/>
                  </a:moveTo>
                  <a:lnTo>
                    <a:pt x="1783" y="3054"/>
                  </a:lnTo>
                  <a:lnTo>
                    <a:pt x="1" y="5037"/>
                  </a:lnTo>
                  <a:lnTo>
                    <a:pt x="289" y="6296"/>
                  </a:lnTo>
                  <a:lnTo>
                    <a:pt x="795" y="6178"/>
                  </a:lnTo>
                  <a:lnTo>
                    <a:pt x="14886" y="1"/>
                  </a:lnTo>
                  <a:close/>
                </a:path>
              </a:pathLst>
            </a:custGeom>
            <a:solidFill>
              <a:srgbClr val="C5C5C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8" name="Google Shape;278;p28">
              <a:extLst>
                <a:ext uri="{FF2B5EF4-FFF2-40B4-BE49-F238E27FC236}">
                  <a16:creationId xmlns="" xmlns:a16="http://schemas.microsoft.com/office/drawing/2014/main" id="{26DDEA24-B9F4-43D5-B703-782E288C334B}"/>
                </a:ext>
              </a:extLst>
            </p:cNvPr>
            <p:cNvSpPr/>
            <p:nvPr/>
          </p:nvSpPr>
          <p:spPr>
            <a:xfrm>
              <a:off x="5705074" y="4179892"/>
              <a:ext cx="1128241" cy="846673"/>
            </a:xfrm>
            <a:custGeom>
              <a:avLst/>
              <a:gdLst/>
              <a:ahLst/>
              <a:cxnLst/>
              <a:rect l="l" t="t" r="r" b="b"/>
              <a:pathLst>
                <a:path w="12586" h="9445" extrusionOk="0">
                  <a:moveTo>
                    <a:pt x="83" y="1"/>
                  </a:moveTo>
                  <a:lnTo>
                    <a:pt x="1" y="19"/>
                  </a:lnTo>
                  <a:lnTo>
                    <a:pt x="1913" y="2843"/>
                  </a:lnTo>
                  <a:lnTo>
                    <a:pt x="3290" y="1842"/>
                  </a:lnTo>
                  <a:lnTo>
                    <a:pt x="83" y="1"/>
                  </a:lnTo>
                  <a:close/>
                  <a:moveTo>
                    <a:pt x="10550" y="6002"/>
                  </a:moveTo>
                  <a:lnTo>
                    <a:pt x="6385" y="9444"/>
                  </a:lnTo>
                  <a:lnTo>
                    <a:pt x="12586" y="7167"/>
                  </a:lnTo>
                  <a:lnTo>
                    <a:pt x="10550" y="6002"/>
                  </a:lnTo>
                  <a:close/>
                </a:path>
              </a:pathLst>
            </a:custGeom>
            <a:solidFill>
              <a:srgbClr val="C7C7C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9" name="Google Shape;279;p28">
              <a:extLst>
                <a:ext uri="{FF2B5EF4-FFF2-40B4-BE49-F238E27FC236}">
                  <a16:creationId xmlns="" xmlns:a16="http://schemas.microsoft.com/office/drawing/2014/main" id="{9BDEBAF9-E35E-4B99-B020-8784ECA52B4D}"/>
                </a:ext>
              </a:extLst>
            </p:cNvPr>
            <p:cNvSpPr/>
            <p:nvPr/>
          </p:nvSpPr>
          <p:spPr>
            <a:xfrm>
              <a:off x="5876559" y="4345012"/>
              <a:ext cx="774332" cy="681552"/>
            </a:xfrm>
            <a:custGeom>
              <a:avLst/>
              <a:gdLst/>
              <a:ahLst/>
              <a:cxnLst/>
              <a:rect l="l" t="t" r="r" b="b"/>
              <a:pathLst>
                <a:path w="8638" h="7603" extrusionOk="0">
                  <a:moveTo>
                    <a:pt x="1383" y="0"/>
                  </a:moveTo>
                  <a:lnTo>
                    <a:pt x="0" y="1001"/>
                  </a:lnTo>
                  <a:lnTo>
                    <a:pt x="4477" y="7602"/>
                  </a:lnTo>
                  <a:lnTo>
                    <a:pt x="8637" y="4160"/>
                  </a:lnTo>
                  <a:lnTo>
                    <a:pt x="1383" y="0"/>
                  </a:lnTo>
                  <a:close/>
                </a:path>
              </a:pathLst>
            </a:custGeom>
            <a:solidFill>
              <a:srgbClr val="EA551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0" name="Google Shape;280;p28">
              <a:extLst>
                <a:ext uri="{FF2B5EF4-FFF2-40B4-BE49-F238E27FC236}">
                  <a16:creationId xmlns="" xmlns:a16="http://schemas.microsoft.com/office/drawing/2014/main" id="{9D5FDB84-48DF-4EE6-81E4-AE7B6FB9CB5C}"/>
                </a:ext>
              </a:extLst>
            </p:cNvPr>
            <p:cNvSpPr/>
            <p:nvPr/>
          </p:nvSpPr>
          <p:spPr>
            <a:xfrm>
              <a:off x="10401232" y="4590183"/>
              <a:ext cx="192283" cy="162163"/>
            </a:xfrm>
            <a:custGeom>
              <a:avLst/>
              <a:gdLst/>
              <a:ahLst/>
              <a:cxnLst/>
              <a:rect l="l" t="t" r="r" b="b"/>
              <a:pathLst>
                <a:path w="2145" h="1809" extrusionOk="0">
                  <a:moveTo>
                    <a:pt x="1001" y="0"/>
                  </a:moveTo>
                  <a:cubicBezTo>
                    <a:pt x="932" y="0"/>
                    <a:pt x="862" y="8"/>
                    <a:pt x="789" y="25"/>
                  </a:cubicBezTo>
                  <a:cubicBezTo>
                    <a:pt x="301" y="137"/>
                    <a:pt x="1" y="619"/>
                    <a:pt x="112" y="1107"/>
                  </a:cubicBezTo>
                  <a:cubicBezTo>
                    <a:pt x="218" y="1558"/>
                    <a:pt x="606" y="1808"/>
                    <a:pt x="999" y="1808"/>
                  </a:cubicBezTo>
                  <a:cubicBezTo>
                    <a:pt x="1287" y="1808"/>
                    <a:pt x="1578" y="1673"/>
                    <a:pt x="1760" y="1384"/>
                  </a:cubicBezTo>
                  <a:cubicBezTo>
                    <a:pt x="2144" y="765"/>
                    <a:pt x="1676" y="0"/>
                    <a:pt x="1001" y="0"/>
                  </a:cubicBezTo>
                  <a:close/>
                </a:path>
              </a:pathLst>
            </a:custGeom>
            <a:solidFill>
              <a:srgbClr val="45454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1" name="Google Shape;281;p28">
              <a:extLst>
                <a:ext uri="{FF2B5EF4-FFF2-40B4-BE49-F238E27FC236}">
                  <a16:creationId xmlns="" xmlns:a16="http://schemas.microsoft.com/office/drawing/2014/main" id="{329A4CB2-550F-45BC-A328-BC4478E7681C}"/>
                </a:ext>
              </a:extLst>
            </p:cNvPr>
            <p:cNvSpPr/>
            <p:nvPr/>
          </p:nvSpPr>
          <p:spPr>
            <a:xfrm>
              <a:off x="10446053" y="4631418"/>
              <a:ext cx="95469" cy="80320"/>
            </a:xfrm>
            <a:custGeom>
              <a:avLst/>
              <a:gdLst/>
              <a:ahLst/>
              <a:cxnLst/>
              <a:rect l="l" t="t" r="r" b="b"/>
              <a:pathLst>
                <a:path w="1065" h="896" extrusionOk="0">
                  <a:moveTo>
                    <a:pt x="499" y="0"/>
                  </a:moveTo>
                  <a:cubicBezTo>
                    <a:pt x="465" y="0"/>
                    <a:pt x="430" y="4"/>
                    <a:pt x="395" y="12"/>
                  </a:cubicBezTo>
                  <a:cubicBezTo>
                    <a:pt x="148" y="65"/>
                    <a:pt x="1" y="306"/>
                    <a:pt x="54" y="547"/>
                  </a:cubicBezTo>
                  <a:cubicBezTo>
                    <a:pt x="108" y="771"/>
                    <a:pt x="300" y="895"/>
                    <a:pt x="495" y="895"/>
                  </a:cubicBezTo>
                  <a:cubicBezTo>
                    <a:pt x="638" y="895"/>
                    <a:pt x="782" y="828"/>
                    <a:pt x="872" y="683"/>
                  </a:cubicBezTo>
                  <a:cubicBezTo>
                    <a:pt x="1064" y="378"/>
                    <a:pt x="834" y="0"/>
                    <a:pt x="499" y="0"/>
                  </a:cubicBezTo>
                  <a:close/>
                </a:path>
              </a:pathLst>
            </a:custGeom>
            <a:solidFill>
              <a:srgbClr val="FDFDFB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2" name="Google Shape;282;p28">
              <a:extLst>
                <a:ext uri="{FF2B5EF4-FFF2-40B4-BE49-F238E27FC236}">
                  <a16:creationId xmlns="" xmlns:a16="http://schemas.microsoft.com/office/drawing/2014/main" id="{A1F225B2-39AB-4BC5-BE35-5A3CF6088A17}"/>
                </a:ext>
              </a:extLst>
            </p:cNvPr>
            <p:cNvSpPr/>
            <p:nvPr/>
          </p:nvSpPr>
          <p:spPr>
            <a:xfrm>
              <a:off x="8315266" y="5069139"/>
              <a:ext cx="192283" cy="162253"/>
            </a:xfrm>
            <a:custGeom>
              <a:avLst/>
              <a:gdLst/>
              <a:ahLst/>
              <a:cxnLst/>
              <a:rect l="l" t="t" r="r" b="b"/>
              <a:pathLst>
                <a:path w="2145" h="1810" extrusionOk="0">
                  <a:moveTo>
                    <a:pt x="997" y="1"/>
                  </a:moveTo>
                  <a:cubicBezTo>
                    <a:pt x="930" y="1"/>
                    <a:pt x="860" y="8"/>
                    <a:pt x="789" y="24"/>
                  </a:cubicBezTo>
                  <a:cubicBezTo>
                    <a:pt x="301" y="136"/>
                    <a:pt x="1" y="624"/>
                    <a:pt x="113" y="1107"/>
                  </a:cubicBezTo>
                  <a:cubicBezTo>
                    <a:pt x="214" y="1560"/>
                    <a:pt x="602" y="1809"/>
                    <a:pt x="993" y="1809"/>
                  </a:cubicBezTo>
                  <a:cubicBezTo>
                    <a:pt x="1283" y="1809"/>
                    <a:pt x="1574" y="1673"/>
                    <a:pt x="1754" y="1383"/>
                  </a:cubicBezTo>
                  <a:cubicBezTo>
                    <a:pt x="2145" y="763"/>
                    <a:pt x="1674" y="1"/>
                    <a:pt x="997" y="1"/>
                  </a:cubicBezTo>
                  <a:close/>
                </a:path>
              </a:pathLst>
            </a:custGeom>
            <a:solidFill>
              <a:srgbClr val="45454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3" name="Google Shape;283;p28">
              <a:extLst>
                <a:ext uri="{FF2B5EF4-FFF2-40B4-BE49-F238E27FC236}">
                  <a16:creationId xmlns="" xmlns:a16="http://schemas.microsoft.com/office/drawing/2014/main" id="{E7510844-BAA5-431A-9AB2-D09D17A9A235}"/>
                </a:ext>
              </a:extLst>
            </p:cNvPr>
            <p:cNvSpPr/>
            <p:nvPr/>
          </p:nvSpPr>
          <p:spPr>
            <a:xfrm>
              <a:off x="8134369" y="5110823"/>
              <a:ext cx="192821" cy="162253"/>
            </a:xfrm>
            <a:custGeom>
              <a:avLst/>
              <a:gdLst/>
              <a:ahLst/>
              <a:cxnLst/>
              <a:rect l="l" t="t" r="r" b="b"/>
              <a:pathLst>
                <a:path w="2151" h="1810" extrusionOk="0">
                  <a:moveTo>
                    <a:pt x="1002" y="1"/>
                  </a:moveTo>
                  <a:cubicBezTo>
                    <a:pt x="935" y="1"/>
                    <a:pt x="866" y="8"/>
                    <a:pt x="795" y="24"/>
                  </a:cubicBezTo>
                  <a:cubicBezTo>
                    <a:pt x="307" y="136"/>
                    <a:pt x="1" y="624"/>
                    <a:pt x="119" y="1112"/>
                  </a:cubicBezTo>
                  <a:cubicBezTo>
                    <a:pt x="220" y="1562"/>
                    <a:pt x="607" y="1810"/>
                    <a:pt x="998" y="1810"/>
                  </a:cubicBezTo>
                  <a:cubicBezTo>
                    <a:pt x="1288" y="1810"/>
                    <a:pt x="1580" y="1674"/>
                    <a:pt x="1760" y="1383"/>
                  </a:cubicBezTo>
                  <a:cubicBezTo>
                    <a:pt x="2151" y="767"/>
                    <a:pt x="1679" y="1"/>
                    <a:pt x="1002" y="1"/>
                  </a:cubicBezTo>
                  <a:close/>
                </a:path>
              </a:pathLst>
            </a:custGeom>
            <a:solidFill>
              <a:srgbClr val="45454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4" name="Google Shape;284;p28">
              <a:extLst>
                <a:ext uri="{FF2B5EF4-FFF2-40B4-BE49-F238E27FC236}">
                  <a16:creationId xmlns="" xmlns:a16="http://schemas.microsoft.com/office/drawing/2014/main" id="{CD85FE74-8794-4156-9A78-AB26005B63F6}"/>
                </a:ext>
              </a:extLst>
            </p:cNvPr>
            <p:cNvSpPr/>
            <p:nvPr/>
          </p:nvSpPr>
          <p:spPr>
            <a:xfrm>
              <a:off x="8788934" y="4714157"/>
              <a:ext cx="256915" cy="156605"/>
            </a:xfrm>
            <a:custGeom>
              <a:avLst/>
              <a:gdLst/>
              <a:ahLst/>
              <a:cxnLst/>
              <a:rect l="l" t="t" r="r" b="b"/>
              <a:pathLst>
                <a:path w="2866" h="1747" extrusionOk="0">
                  <a:moveTo>
                    <a:pt x="2513" y="1"/>
                  </a:moveTo>
                  <a:cubicBezTo>
                    <a:pt x="1083" y="330"/>
                    <a:pt x="0" y="942"/>
                    <a:pt x="100" y="1366"/>
                  </a:cubicBezTo>
                  <a:cubicBezTo>
                    <a:pt x="155" y="1616"/>
                    <a:pt x="600" y="1747"/>
                    <a:pt x="1244" y="1747"/>
                  </a:cubicBezTo>
                  <a:cubicBezTo>
                    <a:pt x="1706" y="1747"/>
                    <a:pt x="2269" y="1680"/>
                    <a:pt x="2866" y="1542"/>
                  </a:cubicBezTo>
                  <a:lnTo>
                    <a:pt x="2513" y="1"/>
                  </a:lnTo>
                  <a:close/>
                </a:path>
              </a:pathLst>
            </a:custGeom>
            <a:solidFill>
              <a:srgbClr val="45454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" name="Google Shape;285;p28">
              <a:extLst>
                <a:ext uri="{FF2B5EF4-FFF2-40B4-BE49-F238E27FC236}">
                  <a16:creationId xmlns="" xmlns:a16="http://schemas.microsoft.com/office/drawing/2014/main" id="{9713CB5E-AF61-4D54-909C-B0E4F21989A0}"/>
                </a:ext>
              </a:extLst>
            </p:cNvPr>
            <p:cNvSpPr/>
            <p:nvPr/>
          </p:nvSpPr>
          <p:spPr>
            <a:xfrm>
              <a:off x="7558420" y="4543838"/>
              <a:ext cx="1858199" cy="302275"/>
            </a:xfrm>
            <a:custGeom>
              <a:avLst/>
              <a:gdLst/>
              <a:ahLst/>
              <a:cxnLst/>
              <a:rect l="l" t="t" r="r" b="b"/>
              <a:pathLst>
                <a:path w="20729" h="3372" extrusionOk="0">
                  <a:moveTo>
                    <a:pt x="20729" y="1"/>
                  </a:moveTo>
                  <a:lnTo>
                    <a:pt x="1" y="1448"/>
                  </a:lnTo>
                  <a:lnTo>
                    <a:pt x="148" y="2077"/>
                  </a:lnTo>
                  <a:lnTo>
                    <a:pt x="7197" y="3372"/>
                  </a:lnTo>
                  <a:lnTo>
                    <a:pt x="20729" y="1"/>
                  </a:lnTo>
                  <a:close/>
                </a:path>
              </a:pathLst>
            </a:custGeom>
            <a:solidFill>
              <a:srgbClr val="C7C7C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" name="Google Shape;286;p28">
              <a:extLst>
                <a:ext uri="{FF2B5EF4-FFF2-40B4-BE49-F238E27FC236}">
                  <a16:creationId xmlns="" xmlns:a16="http://schemas.microsoft.com/office/drawing/2014/main" id="{4F34BC95-90D3-4656-A08F-65A549CA59BC}"/>
                </a:ext>
              </a:extLst>
            </p:cNvPr>
            <p:cNvSpPr/>
            <p:nvPr/>
          </p:nvSpPr>
          <p:spPr>
            <a:xfrm>
              <a:off x="8133024" y="4530123"/>
              <a:ext cx="1317924" cy="341269"/>
            </a:xfrm>
            <a:custGeom>
              <a:avLst/>
              <a:gdLst/>
              <a:ahLst/>
              <a:cxnLst/>
              <a:rect l="l" t="t" r="r" b="b"/>
              <a:pathLst>
                <a:path w="14702" h="3807" extrusionOk="0">
                  <a:moveTo>
                    <a:pt x="14367" y="1"/>
                  </a:moveTo>
                  <a:cubicBezTo>
                    <a:pt x="14339" y="1"/>
                    <a:pt x="14311" y="4"/>
                    <a:pt x="14284" y="12"/>
                  </a:cubicBezTo>
                  <a:lnTo>
                    <a:pt x="345" y="3213"/>
                  </a:lnTo>
                  <a:cubicBezTo>
                    <a:pt x="1" y="3308"/>
                    <a:pt x="92" y="3807"/>
                    <a:pt x="421" y="3807"/>
                  </a:cubicBezTo>
                  <a:cubicBezTo>
                    <a:pt x="440" y="3807"/>
                    <a:pt x="460" y="3805"/>
                    <a:pt x="481" y="3801"/>
                  </a:cubicBezTo>
                  <a:lnTo>
                    <a:pt x="14419" y="601"/>
                  </a:lnTo>
                  <a:cubicBezTo>
                    <a:pt x="14590" y="571"/>
                    <a:pt x="14701" y="401"/>
                    <a:pt x="14660" y="236"/>
                  </a:cubicBezTo>
                  <a:cubicBezTo>
                    <a:pt x="14631" y="94"/>
                    <a:pt x="14503" y="1"/>
                    <a:pt x="14367" y="1"/>
                  </a:cubicBezTo>
                  <a:close/>
                </a:path>
              </a:pathLst>
            </a:custGeom>
            <a:solidFill>
              <a:srgbClr val="45454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" name="Google Shape;287;p28">
              <a:extLst>
                <a:ext uri="{FF2B5EF4-FFF2-40B4-BE49-F238E27FC236}">
                  <a16:creationId xmlns="" xmlns:a16="http://schemas.microsoft.com/office/drawing/2014/main" id="{62BD695C-6B01-4C87-82D0-AA05040A661C}"/>
                </a:ext>
              </a:extLst>
            </p:cNvPr>
            <p:cNvSpPr/>
            <p:nvPr/>
          </p:nvSpPr>
          <p:spPr>
            <a:xfrm>
              <a:off x="5748909" y="5039826"/>
              <a:ext cx="1067553" cy="251268"/>
            </a:xfrm>
            <a:custGeom>
              <a:avLst/>
              <a:gdLst/>
              <a:ahLst/>
              <a:cxnLst/>
              <a:rect l="l" t="t" r="r" b="b"/>
              <a:pathLst>
                <a:path w="11909" h="2803" extrusionOk="0">
                  <a:moveTo>
                    <a:pt x="11659" y="0"/>
                  </a:moveTo>
                  <a:cubicBezTo>
                    <a:pt x="10966" y="0"/>
                    <a:pt x="8626" y="422"/>
                    <a:pt x="5872" y="1057"/>
                  </a:cubicBezTo>
                  <a:cubicBezTo>
                    <a:pt x="2607" y="1804"/>
                    <a:pt x="0" y="2569"/>
                    <a:pt x="41" y="2758"/>
                  </a:cubicBezTo>
                  <a:cubicBezTo>
                    <a:pt x="48" y="2788"/>
                    <a:pt x="119" y="2803"/>
                    <a:pt x="247" y="2803"/>
                  </a:cubicBezTo>
                  <a:cubicBezTo>
                    <a:pt x="937" y="2803"/>
                    <a:pt x="3277" y="2381"/>
                    <a:pt x="6031" y="1746"/>
                  </a:cubicBezTo>
                  <a:cubicBezTo>
                    <a:pt x="9296" y="998"/>
                    <a:pt x="11909" y="233"/>
                    <a:pt x="11867" y="45"/>
                  </a:cubicBezTo>
                  <a:cubicBezTo>
                    <a:pt x="11860" y="15"/>
                    <a:pt x="11788" y="0"/>
                    <a:pt x="11659" y="0"/>
                  </a:cubicBezTo>
                  <a:close/>
                </a:path>
              </a:pathLst>
            </a:custGeom>
            <a:solidFill>
              <a:srgbClr val="C7C7C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8" name="Google Shape;288;p28">
              <a:extLst>
                <a:ext uri="{FF2B5EF4-FFF2-40B4-BE49-F238E27FC236}">
                  <a16:creationId xmlns="" xmlns:a16="http://schemas.microsoft.com/office/drawing/2014/main" id="{D30CE90F-DEFA-4763-93CA-09477333C2B2}"/>
                </a:ext>
              </a:extLst>
            </p:cNvPr>
            <p:cNvSpPr/>
            <p:nvPr/>
          </p:nvSpPr>
          <p:spPr>
            <a:xfrm>
              <a:off x="5787903" y="4207860"/>
              <a:ext cx="472147" cy="728435"/>
            </a:xfrm>
            <a:custGeom>
              <a:avLst/>
              <a:gdLst/>
              <a:ahLst/>
              <a:cxnLst/>
              <a:rect l="l" t="t" r="r" b="b"/>
              <a:pathLst>
                <a:path w="5267" h="8126" extrusionOk="0">
                  <a:moveTo>
                    <a:pt x="2007" y="1"/>
                  </a:moveTo>
                  <a:lnTo>
                    <a:pt x="1" y="201"/>
                  </a:lnTo>
                  <a:lnTo>
                    <a:pt x="5266" y="8126"/>
                  </a:lnTo>
                  <a:lnTo>
                    <a:pt x="2007" y="1"/>
                  </a:lnTo>
                  <a:close/>
                </a:path>
              </a:pathLst>
            </a:custGeom>
            <a:solidFill>
              <a:srgbClr val="45454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9" name="Google Shape;289;p28">
              <a:extLst>
                <a:ext uri="{FF2B5EF4-FFF2-40B4-BE49-F238E27FC236}">
                  <a16:creationId xmlns="" xmlns:a16="http://schemas.microsoft.com/office/drawing/2014/main" id="{41941FA6-3AB2-40D4-8551-0D5BD4D4FE94}"/>
                </a:ext>
              </a:extLst>
            </p:cNvPr>
            <p:cNvSpPr/>
            <p:nvPr/>
          </p:nvSpPr>
          <p:spPr>
            <a:xfrm>
              <a:off x="8361163" y="5111181"/>
              <a:ext cx="95380" cy="80499"/>
            </a:xfrm>
            <a:custGeom>
              <a:avLst/>
              <a:gdLst/>
              <a:ahLst/>
              <a:cxnLst/>
              <a:rect l="l" t="t" r="r" b="b"/>
              <a:pathLst>
                <a:path w="1064" h="898" extrusionOk="0">
                  <a:moveTo>
                    <a:pt x="503" y="1"/>
                  </a:moveTo>
                  <a:cubicBezTo>
                    <a:pt x="468" y="1"/>
                    <a:pt x="432" y="5"/>
                    <a:pt x="395" y="14"/>
                  </a:cubicBezTo>
                  <a:cubicBezTo>
                    <a:pt x="154" y="67"/>
                    <a:pt x="1" y="308"/>
                    <a:pt x="60" y="550"/>
                  </a:cubicBezTo>
                  <a:cubicBezTo>
                    <a:pt x="110" y="773"/>
                    <a:pt x="302" y="897"/>
                    <a:pt x="495" y="897"/>
                  </a:cubicBezTo>
                  <a:cubicBezTo>
                    <a:pt x="638" y="897"/>
                    <a:pt x="782" y="830"/>
                    <a:pt x="872" y="685"/>
                  </a:cubicBezTo>
                  <a:cubicBezTo>
                    <a:pt x="1063" y="381"/>
                    <a:pt x="836" y="1"/>
                    <a:pt x="503" y="1"/>
                  </a:cubicBezTo>
                  <a:close/>
                </a:path>
              </a:pathLst>
            </a:custGeom>
            <a:solidFill>
              <a:srgbClr val="FDFDFB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" name="Google Shape;290;p28">
              <a:extLst>
                <a:ext uri="{FF2B5EF4-FFF2-40B4-BE49-F238E27FC236}">
                  <a16:creationId xmlns="" xmlns:a16="http://schemas.microsoft.com/office/drawing/2014/main" id="{A200FC29-6F16-4E06-98A8-98A9421A84DD}"/>
                </a:ext>
              </a:extLst>
            </p:cNvPr>
            <p:cNvSpPr/>
            <p:nvPr/>
          </p:nvSpPr>
          <p:spPr>
            <a:xfrm>
              <a:off x="8180803" y="5152506"/>
              <a:ext cx="95380" cy="80409"/>
            </a:xfrm>
            <a:custGeom>
              <a:avLst/>
              <a:gdLst/>
              <a:ahLst/>
              <a:cxnLst/>
              <a:rect l="l" t="t" r="r" b="b"/>
              <a:pathLst>
                <a:path w="1064" h="897" extrusionOk="0">
                  <a:moveTo>
                    <a:pt x="498" y="0"/>
                  </a:moveTo>
                  <a:cubicBezTo>
                    <a:pt x="465" y="0"/>
                    <a:pt x="430" y="4"/>
                    <a:pt x="395" y="12"/>
                  </a:cubicBezTo>
                  <a:cubicBezTo>
                    <a:pt x="154" y="65"/>
                    <a:pt x="1" y="306"/>
                    <a:pt x="59" y="547"/>
                  </a:cubicBezTo>
                  <a:cubicBezTo>
                    <a:pt x="110" y="772"/>
                    <a:pt x="303" y="896"/>
                    <a:pt x="498" y="896"/>
                  </a:cubicBezTo>
                  <a:cubicBezTo>
                    <a:pt x="639" y="896"/>
                    <a:pt x="782" y="830"/>
                    <a:pt x="871" y="689"/>
                  </a:cubicBezTo>
                  <a:cubicBezTo>
                    <a:pt x="1064" y="378"/>
                    <a:pt x="833" y="0"/>
                    <a:pt x="498" y="0"/>
                  </a:cubicBezTo>
                  <a:close/>
                </a:path>
              </a:pathLst>
            </a:custGeom>
            <a:solidFill>
              <a:srgbClr val="FDFDFB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" name="Google Shape;291;p28">
              <a:extLst>
                <a:ext uri="{FF2B5EF4-FFF2-40B4-BE49-F238E27FC236}">
                  <a16:creationId xmlns="" xmlns:a16="http://schemas.microsoft.com/office/drawing/2014/main" id="{C9EE34CC-698A-4917-A300-BC6354121D53}"/>
                </a:ext>
              </a:extLst>
            </p:cNvPr>
            <p:cNvSpPr/>
            <p:nvPr/>
          </p:nvSpPr>
          <p:spPr>
            <a:xfrm>
              <a:off x="10246690" y="4114722"/>
              <a:ext cx="148807" cy="248130"/>
            </a:xfrm>
            <a:custGeom>
              <a:avLst/>
              <a:gdLst/>
              <a:ahLst/>
              <a:cxnLst/>
              <a:rect l="l" t="t" r="r" b="b"/>
              <a:pathLst>
                <a:path w="1660" h="2768" extrusionOk="0">
                  <a:moveTo>
                    <a:pt x="980" y="0"/>
                  </a:moveTo>
                  <a:cubicBezTo>
                    <a:pt x="970" y="0"/>
                    <a:pt x="959" y="2"/>
                    <a:pt x="948" y="4"/>
                  </a:cubicBezTo>
                  <a:lnTo>
                    <a:pt x="124" y="192"/>
                  </a:lnTo>
                  <a:cubicBezTo>
                    <a:pt x="48" y="210"/>
                    <a:pt x="1" y="287"/>
                    <a:pt x="18" y="363"/>
                  </a:cubicBezTo>
                  <a:lnTo>
                    <a:pt x="548" y="2658"/>
                  </a:lnTo>
                  <a:cubicBezTo>
                    <a:pt x="563" y="2723"/>
                    <a:pt x="622" y="2767"/>
                    <a:pt x="686" y="2767"/>
                  </a:cubicBezTo>
                  <a:cubicBezTo>
                    <a:pt x="697" y="2767"/>
                    <a:pt x="708" y="2766"/>
                    <a:pt x="719" y="2764"/>
                  </a:cubicBezTo>
                  <a:lnTo>
                    <a:pt x="1536" y="2575"/>
                  </a:lnTo>
                  <a:cubicBezTo>
                    <a:pt x="1613" y="2558"/>
                    <a:pt x="1660" y="2481"/>
                    <a:pt x="1642" y="2405"/>
                  </a:cubicBezTo>
                  <a:lnTo>
                    <a:pt x="1119" y="110"/>
                  </a:lnTo>
                  <a:cubicBezTo>
                    <a:pt x="1103" y="44"/>
                    <a:pt x="1045" y="0"/>
                    <a:pt x="980" y="0"/>
                  </a:cubicBezTo>
                  <a:close/>
                </a:path>
              </a:pathLst>
            </a:custGeom>
            <a:solidFill>
              <a:srgbClr val="C7C7C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" name="Google Shape;292;p28">
              <a:extLst>
                <a:ext uri="{FF2B5EF4-FFF2-40B4-BE49-F238E27FC236}">
                  <a16:creationId xmlns="" xmlns:a16="http://schemas.microsoft.com/office/drawing/2014/main" id="{51CAC2E7-4516-492B-BC87-562B8EC25987}"/>
                </a:ext>
              </a:extLst>
            </p:cNvPr>
            <p:cNvSpPr/>
            <p:nvPr/>
          </p:nvSpPr>
          <p:spPr>
            <a:xfrm>
              <a:off x="9728291" y="4437343"/>
              <a:ext cx="481022" cy="162522"/>
            </a:xfrm>
            <a:custGeom>
              <a:avLst/>
              <a:gdLst/>
              <a:ahLst/>
              <a:cxnLst/>
              <a:rect l="l" t="t" r="r" b="b"/>
              <a:pathLst>
                <a:path w="5366" h="1813" extrusionOk="0">
                  <a:moveTo>
                    <a:pt x="4784" y="0"/>
                  </a:moveTo>
                  <a:cubicBezTo>
                    <a:pt x="4748" y="0"/>
                    <a:pt x="4719" y="6"/>
                    <a:pt x="4689" y="12"/>
                  </a:cubicBezTo>
                  <a:lnTo>
                    <a:pt x="488" y="977"/>
                  </a:lnTo>
                  <a:cubicBezTo>
                    <a:pt x="0" y="1089"/>
                    <a:pt x="83" y="1812"/>
                    <a:pt x="583" y="1812"/>
                  </a:cubicBezTo>
                  <a:cubicBezTo>
                    <a:pt x="618" y="1812"/>
                    <a:pt x="647" y="1806"/>
                    <a:pt x="677" y="1800"/>
                  </a:cubicBezTo>
                  <a:lnTo>
                    <a:pt x="4878" y="836"/>
                  </a:lnTo>
                  <a:cubicBezTo>
                    <a:pt x="5366" y="724"/>
                    <a:pt x="5284" y="0"/>
                    <a:pt x="4784" y="0"/>
                  </a:cubicBezTo>
                  <a:close/>
                </a:path>
              </a:pathLst>
            </a:custGeom>
            <a:solidFill>
              <a:srgbClr val="EA551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" name="Google Shape;293;p28">
              <a:extLst>
                <a:ext uri="{FF2B5EF4-FFF2-40B4-BE49-F238E27FC236}">
                  <a16:creationId xmlns="" xmlns:a16="http://schemas.microsoft.com/office/drawing/2014/main" id="{FF25432C-C2EE-4F6C-AC88-0B28C59F781C}"/>
                </a:ext>
              </a:extLst>
            </p:cNvPr>
            <p:cNvSpPr/>
            <p:nvPr/>
          </p:nvSpPr>
          <p:spPr>
            <a:xfrm>
              <a:off x="7296845" y="4995274"/>
              <a:ext cx="481111" cy="162611"/>
            </a:xfrm>
            <a:custGeom>
              <a:avLst/>
              <a:gdLst/>
              <a:ahLst/>
              <a:cxnLst/>
              <a:rect l="l" t="t" r="r" b="b"/>
              <a:pathLst>
                <a:path w="5367" h="1814" extrusionOk="0">
                  <a:moveTo>
                    <a:pt x="4784" y="1"/>
                  </a:moveTo>
                  <a:cubicBezTo>
                    <a:pt x="4749" y="1"/>
                    <a:pt x="4719" y="7"/>
                    <a:pt x="4690" y="13"/>
                  </a:cubicBezTo>
                  <a:lnTo>
                    <a:pt x="489" y="978"/>
                  </a:lnTo>
                  <a:cubicBezTo>
                    <a:pt x="1" y="1089"/>
                    <a:pt x="83" y="1813"/>
                    <a:pt x="583" y="1813"/>
                  </a:cubicBezTo>
                  <a:cubicBezTo>
                    <a:pt x="618" y="1813"/>
                    <a:pt x="648" y="1807"/>
                    <a:pt x="677" y="1801"/>
                  </a:cubicBezTo>
                  <a:lnTo>
                    <a:pt x="4878" y="842"/>
                  </a:lnTo>
                  <a:cubicBezTo>
                    <a:pt x="5366" y="725"/>
                    <a:pt x="5284" y="1"/>
                    <a:pt x="4784" y="1"/>
                  </a:cubicBezTo>
                  <a:close/>
                </a:path>
              </a:pathLst>
            </a:custGeom>
            <a:solidFill>
              <a:srgbClr val="EA551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5" name="Group 94">
            <a:extLst>
              <a:ext uri="{FF2B5EF4-FFF2-40B4-BE49-F238E27FC236}">
                <a16:creationId xmlns="" xmlns:a16="http://schemas.microsoft.com/office/drawing/2014/main" id="{6A123EE4-4455-404A-8235-24BBD2E12BCD}"/>
              </a:ext>
            </a:extLst>
          </p:cNvPr>
          <p:cNvGrpSpPr/>
          <p:nvPr/>
        </p:nvGrpSpPr>
        <p:grpSpPr>
          <a:xfrm>
            <a:off x="7877395" y="1225848"/>
            <a:ext cx="937795" cy="385342"/>
            <a:chOff x="7877395" y="1225848"/>
            <a:chExt cx="937795" cy="385342"/>
          </a:xfrm>
        </p:grpSpPr>
        <p:sp>
          <p:nvSpPr>
            <p:cNvPr id="96" name="Isosceles Triangle 95">
              <a:extLst>
                <a:ext uri="{FF2B5EF4-FFF2-40B4-BE49-F238E27FC236}">
                  <a16:creationId xmlns="" xmlns:a16="http://schemas.microsoft.com/office/drawing/2014/main" id="{820DB21F-E38E-40A3-B372-637808873B14}"/>
                </a:ext>
              </a:extLst>
            </p:cNvPr>
            <p:cNvSpPr>
              <a:spLocks noChangeAspect="1"/>
            </p:cNvSpPr>
            <p:nvPr/>
          </p:nvSpPr>
          <p:spPr bwMode="gray">
            <a:xfrm rot="9927096">
              <a:off x="8132907" y="1349645"/>
              <a:ext cx="73611" cy="63458"/>
            </a:xfrm>
            <a:prstGeom prst="triangle">
              <a:avLst/>
            </a:prstGeom>
            <a:solidFill>
              <a:schemeClr val="bg2"/>
            </a:solidFill>
            <a:ln w="9525">
              <a:solidFill>
                <a:srgbClr val="007F7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050" dirty="0">
                <a:solidFill>
                  <a:schemeClr val="tx1"/>
                </a:solidFill>
              </a:endParaRPr>
            </a:p>
          </p:txBody>
        </p:sp>
        <p:sp>
          <p:nvSpPr>
            <p:cNvPr id="97" name="Oval 96">
              <a:extLst>
                <a:ext uri="{FF2B5EF4-FFF2-40B4-BE49-F238E27FC236}">
                  <a16:creationId xmlns="" xmlns:a16="http://schemas.microsoft.com/office/drawing/2014/main" id="{62DA63F2-4831-4FB9-973A-9D2D9710C5E0}"/>
                </a:ext>
              </a:extLst>
            </p:cNvPr>
            <p:cNvSpPr/>
            <p:nvPr/>
          </p:nvSpPr>
          <p:spPr>
            <a:xfrm>
              <a:off x="8002635" y="1243852"/>
              <a:ext cx="50253" cy="50252"/>
            </a:xfrm>
            <a:prstGeom prst="ellipse">
              <a:avLst/>
            </a:prstGeom>
            <a:solidFill>
              <a:schemeClr val="bg2"/>
            </a:solidFill>
            <a:ln w="12700" cap="flat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 b="1" dirty="0">
                <a:solidFill>
                  <a:schemeClr val="bg1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98" name="Oval 97">
              <a:extLst>
                <a:ext uri="{FF2B5EF4-FFF2-40B4-BE49-F238E27FC236}">
                  <a16:creationId xmlns="" xmlns:a16="http://schemas.microsoft.com/office/drawing/2014/main" id="{3201F033-AEAA-4FD8-8629-754BE6F1F70F}"/>
                </a:ext>
              </a:extLst>
            </p:cNvPr>
            <p:cNvSpPr/>
            <p:nvPr/>
          </p:nvSpPr>
          <p:spPr>
            <a:xfrm>
              <a:off x="8530035" y="1349312"/>
              <a:ext cx="212364" cy="212364"/>
            </a:xfrm>
            <a:prstGeom prst="ellipse">
              <a:avLst/>
            </a:prstGeom>
            <a:solidFill>
              <a:schemeClr val="accent5"/>
            </a:solidFill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ot="0" spcFirstLastPara="0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99" name="Arc 98">
              <a:extLst>
                <a:ext uri="{FF2B5EF4-FFF2-40B4-BE49-F238E27FC236}">
                  <a16:creationId xmlns="" xmlns:a16="http://schemas.microsoft.com/office/drawing/2014/main" id="{56345525-DA7A-41FF-A800-0CF47349963B}"/>
                </a:ext>
              </a:extLst>
            </p:cNvPr>
            <p:cNvSpPr/>
            <p:nvPr/>
          </p:nvSpPr>
          <p:spPr bwMode="gray">
            <a:xfrm>
              <a:off x="8486575" y="1267966"/>
              <a:ext cx="283644" cy="247796"/>
            </a:xfrm>
            <a:prstGeom prst="arc">
              <a:avLst>
                <a:gd name="adj1" fmla="val 11178900"/>
                <a:gd name="adj2" fmla="val 21075396"/>
              </a:avLst>
            </a:prstGeom>
            <a:ln w="19050" cap="flat">
              <a:solidFill>
                <a:schemeClr val="accent5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100" dirty="0"/>
            </a:p>
          </p:txBody>
        </p:sp>
        <p:sp>
          <p:nvSpPr>
            <p:cNvPr id="100" name="Isosceles Triangle 99">
              <a:extLst>
                <a:ext uri="{FF2B5EF4-FFF2-40B4-BE49-F238E27FC236}">
                  <a16:creationId xmlns="" xmlns:a16="http://schemas.microsoft.com/office/drawing/2014/main" id="{1C956BFD-221D-4182-A536-53987C9097AD}"/>
                </a:ext>
              </a:extLst>
            </p:cNvPr>
            <p:cNvSpPr>
              <a:spLocks noChangeAspect="1"/>
            </p:cNvSpPr>
            <p:nvPr/>
          </p:nvSpPr>
          <p:spPr bwMode="gray">
            <a:xfrm rot="9927096">
              <a:off x="8734789" y="1347929"/>
              <a:ext cx="73611" cy="63458"/>
            </a:xfrm>
            <a:prstGeom prst="triangle">
              <a:avLst/>
            </a:prstGeom>
            <a:solidFill>
              <a:schemeClr val="accent5"/>
            </a:solidFill>
            <a:ln w="952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050" dirty="0">
                <a:solidFill>
                  <a:schemeClr val="tx1"/>
                </a:solidFill>
              </a:endParaRPr>
            </a:p>
          </p:txBody>
        </p:sp>
        <p:sp>
          <p:nvSpPr>
            <p:cNvPr id="101" name="Oval 100">
              <a:extLst>
                <a:ext uri="{FF2B5EF4-FFF2-40B4-BE49-F238E27FC236}">
                  <a16:creationId xmlns="" xmlns:a16="http://schemas.microsoft.com/office/drawing/2014/main" id="{BD4EBEB6-69B8-41AF-BD10-E9BADE3B5E7A}"/>
                </a:ext>
              </a:extLst>
            </p:cNvPr>
            <p:cNvSpPr/>
            <p:nvPr/>
          </p:nvSpPr>
          <p:spPr>
            <a:xfrm>
              <a:off x="8611091" y="1243852"/>
              <a:ext cx="50253" cy="50252"/>
            </a:xfrm>
            <a:prstGeom prst="ellipse">
              <a:avLst/>
            </a:prstGeom>
            <a:solidFill>
              <a:schemeClr val="accent5"/>
            </a:solidFill>
            <a:ln w="12700" cap="flat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 b="1" dirty="0">
                <a:solidFill>
                  <a:schemeClr val="bg1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102" name="Rectangle 101">
              <a:extLst>
                <a:ext uri="{FF2B5EF4-FFF2-40B4-BE49-F238E27FC236}">
                  <a16:creationId xmlns="" xmlns:a16="http://schemas.microsoft.com/office/drawing/2014/main" id="{EBADB9D1-9A6D-4381-BF86-81716AA65AD2}"/>
                </a:ext>
              </a:extLst>
            </p:cNvPr>
            <p:cNvSpPr/>
            <p:nvPr/>
          </p:nvSpPr>
          <p:spPr>
            <a:xfrm>
              <a:off x="8486575" y="1225848"/>
              <a:ext cx="328615" cy="385342"/>
            </a:xfrm>
            <a:prstGeom prst="rect">
              <a:avLst/>
            </a:prstGeom>
            <a:solidFill>
              <a:schemeClr val="bg1">
                <a:alpha val="80000"/>
              </a:schemeClr>
            </a:solidFill>
            <a:ln w="6350" cap="flat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900"/>
                </a:spcBef>
              </a:pPr>
              <a:endParaRPr lang="en-US" sz="140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03" name="Oval 102">
              <a:extLst>
                <a:ext uri="{FF2B5EF4-FFF2-40B4-BE49-F238E27FC236}">
                  <a16:creationId xmlns="" xmlns:a16="http://schemas.microsoft.com/office/drawing/2014/main" id="{09C64FD1-2AC7-4BED-BA28-7E688E9F2B4B}"/>
                </a:ext>
              </a:extLst>
            </p:cNvPr>
            <p:cNvSpPr/>
            <p:nvPr/>
          </p:nvSpPr>
          <p:spPr>
            <a:xfrm>
              <a:off x="7921579" y="1349312"/>
              <a:ext cx="212364" cy="212364"/>
            </a:xfrm>
            <a:prstGeom prst="ellipse">
              <a:avLst/>
            </a:prstGeom>
            <a:solidFill>
              <a:schemeClr val="bg2"/>
            </a:solidFill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ot="0" spcFirstLastPara="0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104" name="Arc 103">
              <a:extLst>
                <a:ext uri="{FF2B5EF4-FFF2-40B4-BE49-F238E27FC236}">
                  <a16:creationId xmlns="" xmlns:a16="http://schemas.microsoft.com/office/drawing/2014/main" id="{0248C1F5-2F36-4BE7-B7A0-1D2C06153E46}"/>
                </a:ext>
              </a:extLst>
            </p:cNvPr>
            <p:cNvSpPr/>
            <p:nvPr/>
          </p:nvSpPr>
          <p:spPr bwMode="gray">
            <a:xfrm>
              <a:off x="7883769" y="1267966"/>
              <a:ext cx="283644" cy="247796"/>
            </a:xfrm>
            <a:prstGeom prst="arc">
              <a:avLst>
                <a:gd name="adj1" fmla="val 11178900"/>
                <a:gd name="adj2" fmla="val 21075396"/>
              </a:avLst>
            </a:prstGeom>
            <a:ln w="19050" cap="flat">
              <a:solidFill>
                <a:schemeClr val="bg2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100" dirty="0"/>
            </a:p>
          </p:txBody>
        </p:sp>
        <p:sp>
          <p:nvSpPr>
            <p:cNvPr id="105" name="Rectangle 104">
              <a:extLst>
                <a:ext uri="{FF2B5EF4-FFF2-40B4-BE49-F238E27FC236}">
                  <a16:creationId xmlns="" xmlns:a16="http://schemas.microsoft.com/office/drawing/2014/main" id="{35C35683-4FAC-49FB-9D79-73FE1F180FA7}"/>
                </a:ext>
              </a:extLst>
            </p:cNvPr>
            <p:cNvSpPr/>
            <p:nvPr/>
          </p:nvSpPr>
          <p:spPr>
            <a:xfrm>
              <a:off x="7877395" y="1225848"/>
              <a:ext cx="328615" cy="385342"/>
            </a:xfrm>
            <a:prstGeom prst="rect">
              <a:avLst/>
            </a:prstGeom>
            <a:solidFill>
              <a:schemeClr val="bg1">
                <a:alpha val="80000"/>
              </a:schemeClr>
            </a:solidFill>
            <a:ln w="6350" cap="flat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900"/>
                </a:spcBef>
              </a:pPr>
              <a:endParaRPr lang="en-US" sz="140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06" name="Oval 105">
              <a:extLst>
                <a:ext uri="{FF2B5EF4-FFF2-40B4-BE49-F238E27FC236}">
                  <a16:creationId xmlns="" xmlns:a16="http://schemas.microsoft.com/office/drawing/2014/main" id="{F5F2D9CD-9259-4B8C-BD25-FD541AC9DD2C}"/>
                </a:ext>
              </a:extLst>
            </p:cNvPr>
            <p:cNvSpPr/>
            <p:nvPr/>
          </p:nvSpPr>
          <p:spPr>
            <a:xfrm>
              <a:off x="8225098" y="1244357"/>
              <a:ext cx="212364" cy="212364"/>
            </a:xfrm>
            <a:prstGeom prst="ellipse">
              <a:avLst/>
            </a:prstGeom>
            <a:solidFill>
              <a:schemeClr val="accent1"/>
            </a:solidFill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ot="0" spcFirstLastPara="0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107" name="Arc 106">
              <a:extLst>
                <a:ext uri="{FF2B5EF4-FFF2-40B4-BE49-F238E27FC236}">
                  <a16:creationId xmlns="" xmlns:a16="http://schemas.microsoft.com/office/drawing/2014/main" id="{3BA7D346-38A2-48D1-B5D2-32114DF79C57}"/>
                </a:ext>
              </a:extLst>
            </p:cNvPr>
            <p:cNvSpPr/>
            <p:nvPr/>
          </p:nvSpPr>
          <p:spPr bwMode="gray">
            <a:xfrm flipV="1">
              <a:off x="8184095" y="1313981"/>
              <a:ext cx="283644" cy="247373"/>
            </a:xfrm>
            <a:prstGeom prst="arc">
              <a:avLst>
                <a:gd name="adj1" fmla="val 11178900"/>
                <a:gd name="adj2" fmla="val 21075396"/>
              </a:avLst>
            </a:prstGeom>
            <a:ln w="19050" cap="flat">
              <a:solidFill>
                <a:schemeClr val="accent1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100" dirty="0"/>
            </a:p>
          </p:txBody>
        </p:sp>
        <p:sp>
          <p:nvSpPr>
            <p:cNvPr id="108" name="Isosceles Triangle 107">
              <a:extLst>
                <a:ext uri="{FF2B5EF4-FFF2-40B4-BE49-F238E27FC236}">
                  <a16:creationId xmlns="" xmlns:a16="http://schemas.microsoft.com/office/drawing/2014/main" id="{1EDA8C76-1882-4AC4-AFDB-1EE4D7B62390}"/>
                </a:ext>
              </a:extLst>
            </p:cNvPr>
            <p:cNvSpPr>
              <a:spLocks noChangeAspect="1"/>
            </p:cNvSpPr>
            <p:nvPr/>
          </p:nvSpPr>
          <p:spPr bwMode="gray">
            <a:xfrm rot="11672904" flipV="1">
              <a:off x="8432310" y="1418179"/>
              <a:ext cx="73611" cy="63349"/>
            </a:xfrm>
            <a:prstGeom prst="triangle">
              <a:avLst/>
            </a:prstGeom>
            <a:solidFill>
              <a:schemeClr val="accent1"/>
            </a:solidFill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050" dirty="0">
                <a:solidFill>
                  <a:schemeClr val="tx1"/>
                </a:solidFill>
              </a:endParaRPr>
            </a:p>
          </p:txBody>
        </p:sp>
        <p:sp>
          <p:nvSpPr>
            <p:cNvPr id="109" name="Oval 108">
              <a:extLst>
                <a:ext uri="{FF2B5EF4-FFF2-40B4-BE49-F238E27FC236}">
                  <a16:creationId xmlns="" xmlns:a16="http://schemas.microsoft.com/office/drawing/2014/main" id="{4808551E-220A-4060-B1B4-04100D5DAF7B}"/>
                </a:ext>
              </a:extLst>
            </p:cNvPr>
            <p:cNvSpPr/>
            <p:nvPr/>
          </p:nvSpPr>
          <p:spPr>
            <a:xfrm>
              <a:off x="8306154" y="1537095"/>
              <a:ext cx="50253" cy="50252"/>
            </a:xfrm>
            <a:prstGeom prst="ellipse">
              <a:avLst/>
            </a:prstGeom>
            <a:solidFill>
              <a:schemeClr val="accent1"/>
            </a:solidFill>
            <a:ln w="12700" cap="flat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 b="1" dirty="0">
                <a:solidFill>
                  <a:schemeClr val="bg1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4585769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AA16B7AC-F676-4F67-8813-4F8F68AAD7D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144716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58"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="" xmlns:a16="http://schemas.microsoft.com/office/drawing/2014/main" id="{AA16B7AC-F676-4F67-8813-4F8F68AAD7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="" xmlns:a16="http://schemas.microsoft.com/office/drawing/2014/main" id="{260A3D96-399B-450E-B597-24C3AA9AE05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US" sz="240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="" xmlns:a16="http://schemas.microsoft.com/office/drawing/2014/main" id="{48D13E25-DCE9-4BCE-806B-429683B77FA6}"/>
              </a:ext>
            </a:extLst>
          </p:cNvPr>
          <p:cNvSpPr txBox="1"/>
          <p:nvPr/>
        </p:nvSpPr>
        <p:spPr>
          <a:xfrm>
            <a:off x="244474" y="1628140"/>
            <a:ext cx="6840220" cy="249299"/>
          </a:xfrm>
          <a:prstGeom prst="rect">
            <a:avLst/>
          </a:prstGeom>
          <a:noFill/>
          <a:ln w="6350" cap="flat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A5FFFF"/>
                </a:solidFill>
              </a14:hiddenFill>
            </a:ext>
          </a:extLst>
        </p:spPr>
        <p:txBody>
          <a:bodyPr vert="horz" wrap="square" lIns="365760" tIns="0" rIns="0" bIns="0" rtlCol="0" anchor="t" anchorCtr="0">
            <a:sp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2"/>
              </a:buClr>
            </a:pP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Data Acquisition</a:t>
            </a:r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7956AB31-F718-491D-AAC7-99EB166076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4507" y="493495"/>
            <a:ext cx="7604094" cy="338554"/>
          </a:xfrm>
        </p:spPr>
        <p:txBody>
          <a:bodyPr/>
          <a:lstStyle/>
          <a:p>
            <a:r>
              <a:rPr lang="en-US" b="1" dirty="0"/>
              <a:t>Framework</a:t>
            </a:r>
          </a:p>
        </p:txBody>
      </p:sp>
      <p:sp>
        <p:nvSpPr>
          <p:cNvPr id="5" name="Oval 4">
            <a:extLst>
              <a:ext uri="{FF2B5EF4-FFF2-40B4-BE49-F238E27FC236}">
                <a16:creationId xmlns="" xmlns:a16="http://schemas.microsoft.com/office/drawing/2014/main" id="{3D60A96E-A8F3-4D57-873D-4053E79B24CA}"/>
              </a:ext>
            </a:extLst>
          </p:cNvPr>
          <p:cNvSpPr/>
          <p:nvPr/>
        </p:nvSpPr>
        <p:spPr>
          <a:xfrm>
            <a:off x="246380" y="1600200"/>
            <a:ext cx="279400" cy="279400"/>
          </a:xfrm>
          <a:prstGeom prst="ellipse">
            <a:avLst/>
          </a:prstGeom>
          <a:solidFill>
            <a:schemeClr val="accent1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1600" b="1" dirty="0">
                <a:solidFill>
                  <a:schemeClr val="bg1"/>
                </a:solidFill>
                <a:latin typeface="Arial" panose="020B0604020202020204" pitchFamily="34" charset="0"/>
                <a:cs typeface="Arial" pitchFamily="34" charset="0"/>
              </a:rPr>
              <a:t>1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="" xmlns:a16="http://schemas.microsoft.com/office/drawing/2014/main" id="{C62F604D-F319-46A6-9847-3DE66678843A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953" r="900" b="4117"/>
          <a:stretch/>
        </p:blipFill>
        <p:spPr>
          <a:xfrm>
            <a:off x="244475" y="4747133"/>
            <a:ext cx="6352007" cy="1603366"/>
          </a:xfrm>
          <a:prstGeom prst="rect">
            <a:avLst/>
          </a:prstGeom>
          <a:effectLst>
            <a:outerShdw blurRad="50800" dist="38100" dir="2700015" rotWithShape="0">
              <a:schemeClr val="tx1">
                <a:alpha val="40000"/>
              </a:schemeClr>
            </a:outerShdw>
          </a:effectLst>
        </p:spPr>
      </p:pic>
      <p:pic>
        <p:nvPicPr>
          <p:cNvPr id="7" name="Picture 6">
            <a:extLst>
              <a:ext uri="{FF2B5EF4-FFF2-40B4-BE49-F238E27FC236}">
                <a16:creationId xmlns="" xmlns:a16="http://schemas.microsoft.com/office/drawing/2014/main" id="{CBA10F90-80D8-4640-9CF0-D17ABD7487E2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l="31" r="-1"/>
          <a:stretch/>
        </p:blipFill>
        <p:spPr>
          <a:xfrm>
            <a:off x="246380" y="2909763"/>
            <a:ext cx="6068838" cy="1672221"/>
          </a:xfrm>
          <a:prstGeom prst="rect">
            <a:avLst/>
          </a:prstGeom>
          <a:effectLst>
            <a:outerShdw blurRad="50800" dist="38100" dir="2700015" rotWithShape="0">
              <a:schemeClr val="tx1">
                <a:alpha val="40000"/>
              </a:schemeClr>
            </a:outerShdw>
          </a:effectLst>
        </p:spPr>
      </p:pic>
      <p:sp>
        <p:nvSpPr>
          <p:cNvPr id="9" name="Rectangle: Single Corner Snipped 8">
            <a:extLst>
              <a:ext uri="{FF2B5EF4-FFF2-40B4-BE49-F238E27FC236}">
                <a16:creationId xmlns="" xmlns:a16="http://schemas.microsoft.com/office/drawing/2014/main" id="{3A3B9CB9-045F-4280-9677-C5FB9F74C698}"/>
              </a:ext>
            </a:extLst>
          </p:cNvPr>
          <p:cNvSpPr/>
          <p:nvPr/>
        </p:nvSpPr>
        <p:spPr>
          <a:xfrm flipH="1">
            <a:off x="246380" y="1952836"/>
            <a:ext cx="8646795" cy="791779"/>
          </a:xfrm>
          <a:prstGeom prst="snip1Rect">
            <a:avLst/>
          </a:prstGeom>
          <a:gradFill flip="none" rotWithShape="1">
            <a:gsLst>
              <a:gs pos="0">
                <a:schemeClr val="bg1"/>
              </a:gs>
              <a:gs pos="100000">
                <a:schemeClr val="accent1">
                  <a:lumMod val="20000"/>
                  <a:lumOff val="80000"/>
                </a:schemeClr>
              </a:gs>
            </a:gsLst>
            <a:lin ang="0" scaled="1"/>
            <a:tileRect/>
          </a:gra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13414" indent="-113414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1200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Kaggle</a:t>
            </a:r>
            <a:r>
              <a:rPr lang="en-US" sz="12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: </a:t>
            </a:r>
            <a:r>
              <a:rPr lang="en-US" sz="1200" u="sng" dirty="0">
                <a:solidFill>
                  <a:srgbClr val="0000FF"/>
                </a:solidFill>
                <a:hlinkClick r:id="rId10"/>
              </a:rPr>
              <a:t>https://www.kaggle.com/teejmahal20/airline-passenger-satisfaction</a:t>
            </a:r>
            <a:endParaRPr lang="en-US" sz="1200" u="sng" dirty="0">
              <a:solidFill>
                <a:srgbClr val="0000FF"/>
              </a:solidFill>
            </a:endParaRPr>
          </a:p>
          <a:p>
            <a:pPr marL="113414" indent="-113414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1200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File Type</a:t>
            </a:r>
            <a:r>
              <a:rPr lang="en-US" sz="12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: CSV file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="" xmlns:a16="http://schemas.microsoft.com/office/drawing/2014/main" id="{06C85ADB-D567-488B-B9D4-0EB9C8A1B045}"/>
              </a:ext>
            </a:extLst>
          </p:cNvPr>
          <p:cNvSpPr/>
          <p:nvPr/>
        </p:nvSpPr>
        <p:spPr>
          <a:xfrm flipH="1">
            <a:off x="5296661" y="2594725"/>
            <a:ext cx="0" cy="0"/>
          </a:xfrm>
          <a:prstGeom prst="rect">
            <a:avLst/>
          </a:prstGeom>
          <a:noFill/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US" sz="1400" dirty="0" err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21" name="Straight Connector 20">
            <a:extLst>
              <a:ext uri="{FF2B5EF4-FFF2-40B4-BE49-F238E27FC236}">
                <a16:creationId xmlns="" xmlns:a16="http://schemas.microsoft.com/office/drawing/2014/main" id="{9BF82A4A-30B3-4056-94C0-CDBD717F2F90}"/>
              </a:ext>
            </a:extLst>
          </p:cNvPr>
          <p:cNvCxnSpPr>
            <a:cxnSpLocks/>
          </p:cNvCxnSpPr>
          <p:nvPr/>
        </p:nvCxnSpPr>
        <p:spPr>
          <a:xfrm>
            <a:off x="244475" y="4747133"/>
            <a:ext cx="0" cy="1603366"/>
          </a:xfrm>
          <a:prstGeom prst="line">
            <a:avLst/>
          </a:prstGeom>
          <a:ln w="22225" cap="flat">
            <a:solidFill>
              <a:schemeClr val="accent1"/>
            </a:soli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="" xmlns:a16="http://schemas.microsoft.com/office/drawing/2014/main" id="{FDE95CEE-36F8-497D-A855-2A4C8432355F}"/>
              </a:ext>
            </a:extLst>
          </p:cNvPr>
          <p:cNvCxnSpPr>
            <a:cxnSpLocks/>
          </p:cNvCxnSpPr>
          <p:nvPr/>
        </p:nvCxnSpPr>
        <p:spPr>
          <a:xfrm>
            <a:off x="6315218" y="2909763"/>
            <a:ext cx="0" cy="1672221"/>
          </a:xfrm>
          <a:prstGeom prst="line">
            <a:avLst/>
          </a:prstGeom>
          <a:ln w="22225" cap="flat">
            <a:solidFill>
              <a:schemeClr val="accent1"/>
            </a:soli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Isosceles Triangle 22">
            <a:extLst>
              <a:ext uri="{FF2B5EF4-FFF2-40B4-BE49-F238E27FC236}">
                <a16:creationId xmlns="" xmlns:a16="http://schemas.microsoft.com/office/drawing/2014/main" id="{079D8E56-02A6-448F-9DCB-9D6BE9C5585D}"/>
              </a:ext>
            </a:extLst>
          </p:cNvPr>
          <p:cNvSpPr/>
          <p:nvPr/>
        </p:nvSpPr>
        <p:spPr>
          <a:xfrm>
            <a:off x="6225210" y="4484539"/>
            <a:ext cx="180017" cy="180020"/>
          </a:xfrm>
          <a:prstGeom prst="triangle">
            <a:avLst/>
          </a:prstGeom>
          <a:solidFill>
            <a:schemeClr val="accent1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US" sz="1400" dirty="0" err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4" name="Isosceles Triangle 23">
            <a:extLst>
              <a:ext uri="{FF2B5EF4-FFF2-40B4-BE49-F238E27FC236}">
                <a16:creationId xmlns="" xmlns:a16="http://schemas.microsoft.com/office/drawing/2014/main" id="{31777EF7-5B4E-4508-906C-4BC0A6DD5935}"/>
              </a:ext>
            </a:extLst>
          </p:cNvPr>
          <p:cNvSpPr/>
          <p:nvPr/>
        </p:nvSpPr>
        <p:spPr>
          <a:xfrm>
            <a:off x="158750" y="6260489"/>
            <a:ext cx="180017" cy="180020"/>
          </a:xfrm>
          <a:prstGeom prst="triangle">
            <a:avLst/>
          </a:prstGeom>
          <a:solidFill>
            <a:schemeClr val="accent1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US" sz="1400" dirty="0" err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51" name="Group 50">
            <a:extLst>
              <a:ext uri="{FF2B5EF4-FFF2-40B4-BE49-F238E27FC236}">
                <a16:creationId xmlns="" xmlns:a16="http://schemas.microsoft.com/office/drawing/2014/main" id="{C0519D76-3895-48FE-AFFE-E05BD751CA7D}"/>
              </a:ext>
            </a:extLst>
          </p:cNvPr>
          <p:cNvGrpSpPr/>
          <p:nvPr/>
        </p:nvGrpSpPr>
        <p:grpSpPr>
          <a:xfrm>
            <a:off x="7877395" y="1225848"/>
            <a:ext cx="937795" cy="385342"/>
            <a:chOff x="7877395" y="1225848"/>
            <a:chExt cx="937795" cy="385342"/>
          </a:xfrm>
        </p:grpSpPr>
        <p:sp>
          <p:nvSpPr>
            <p:cNvPr id="52" name="Isosceles Triangle 51">
              <a:extLst>
                <a:ext uri="{FF2B5EF4-FFF2-40B4-BE49-F238E27FC236}">
                  <a16:creationId xmlns="" xmlns:a16="http://schemas.microsoft.com/office/drawing/2014/main" id="{591143B1-D773-41C0-B894-15E5A99972E7}"/>
                </a:ext>
              </a:extLst>
            </p:cNvPr>
            <p:cNvSpPr>
              <a:spLocks noChangeAspect="1"/>
            </p:cNvSpPr>
            <p:nvPr/>
          </p:nvSpPr>
          <p:spPr bwMode="gray">
            <a:xfrm rot="9927096">
              <a:off x="8132907" y="1349645"/>
              <a:ext cx="73611" cy="63458"/>
            </a:xfrm>
            <a:prstGeom prst="triangle">
              <a:avLst/>
            </a:prstGeom>
            <a:solidFill>
              <a:schemeClr val="bg2"/>
            </a:solidFill>
            <a:ln w="9525">
              <a:solidFill>
                <a:srgbClr val="007F7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050" dirty="0">
                <a:solidFill>
                  <a:schemeClr val="tx1"/>
                </a:solidFill>
              </a:endParaRPr>
            </a:p>
          </p:txBody>
        </p:sp>
        <p:sp>
          <p:nvSpPr>
            <p:cNvPr id="53" name="Oval 52">
              <a:extLst>
                <a:ext uri="{FF2B5EF4-FFF2-40B4-BE49-F238E27FC236}">
                  <a16:creationId xmlns="" xmlns:a16="http://schemas.microsoft.com/office/drawing/2014/main" id="{31225DF6-E86F-4BDA-AFB3-68F76D5E23B2}"/>
                </a:ext>
              </a:extLst>
            </p:cNvPr>
            <p:cNvSpPr/>
            <p:nvPr/>
          </p:nvSpPr>
          <p:spPr>
            <a:xfrm>
              <a:off x="8002635" y="1243852"/>
              <a:ext cx="50253" cy="50252"/>
            </a:xfrm>
            <a:prstGeom prst="ellipse">
              <a:avLst/>
            </a:prstGeom>
            <a:solidFill>
              <a:schemeClr val="bg2"/>
            </a:solidFill>
            <a:ln w="12700" cap="flat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 b="1" dirty="0">
                <a:solidFill>
                  <a:schemeClr val="bg1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54" name="Oval 53">
              <a:extLst>
                <a:ext uri="{FF2B5EF4-FFF2-40B4-BE49-F238E27FC236}">
                  <a16:creationId xmlns="" xmlns:a16="http://schemas.microsoft.com/office/drawing/2014/main" id="{144A1806-1563-420C-884D-066A1A9D06EF}"/>
                </a:ext>
              </a:extLst>
            </p:cNvPr>
            <p:cNvSpPr/>
            <p:nvPr/>
          </p:nvSpPr>
          <p:spPr>
            <a:xfrm>
              <a:off x="8530035" y="1349312"/>
              <a:ext cx="212364" cy="212364"/>
            </a:xfrm>
            <a:prstGeom prst="ellipse">
              <a:avLst/>
            </a:prstGeom>
            <a:solidFill>
              <a:schemeClr val="accent5"/>
            </a:solidFill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ot="0" spcFirstLastPara="0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55" name="Arc 54">
              <a:extLst>
                <a:ext uri="{FF2B5EF4-FFF2-40B4-BE49-F238E27FC236}">
                  <a16:creationId xmlns="" xmlns:a16="http://schemas.microsoft.com/office/drawing/2014/main" id="{83B0522B-6901-42C2-9147-56F17DF7E3A4}"/>
                </a:ext>
              </a:extLst>
            </p:cNvPr>
            <p:cNvSpPr/>
            <p:nvPr/>
          </p:nvSpPr>
          <p:spPr bwMode="gray">
            <a:xfrm>
              <a:off x="8486575" y="1267966"/>
              <a:ext cx="283644" cy="247796"/>
            </a:xfrm>
            <a:prstGeom prst="arc">
              <a:avLst>
                <a:gd name="adj1" fmla="val 11178900"/>
                <a:gd name="adj2" fmla="val 21075396"/>
              </a:avLst>
            </a:prstGeom>
            <a:ln w="19050" cap="flat">
              <a:solidFill>
                <a:schemeClr val="accent5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100" dirty="0"/>
            </a:p>
          </p:txBody>
        </p:sp>
        <p:sp>
          <p:nvSpPr>
            <p:cNvPr id="56" name="Isosceles Triangle 55">
              <a:extLst>
                <a:ext uri="{FF2B5EF4-FFF2-40B4-BE49-F238E27FC236}">
                  <a16:creationId xmlns="" xmlns:a16="http://schemas.microsoft.com/office/drawing/2014/main" id="{1E17F368-0797-4D79-8EAE-68E739B26A7D}"/>
                </a:ext>
              </a:extLst>
            </p:cNvPr>
            <p:cNvSpPr>
              <a:spLocks noChangeAspect="1"/>
            </p:cNvSpPr>
            <p:nvPr/>
          </p:nvSpPr>
          <p:spPr bwMode="gray">
            <a:xfrm rot="9927096">
              <a:off x="8734789" y="1347929"/>
              <a:ext cx="73611" cy="63458"/>
            </a:xfrm>
            <a:prstGeom prst="triangle">
              <a:avLst/>
            </a:prstGeom>
            <a:solidFill>
              <a:schemeClr val="accent5"/>
            </a:solidFill>
            <a:ln w="952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050" dirty="0">
                <a:solidFill>
                  <a:schemeClr val="tx1"/>
                </a:solidFill>
              </a:endParaRPr>
            </a:p>
          </p:txBody>
        </p:sp>
        <p:sp>
          <p:nvSpPr>
            <p:cNvPr id="57" name="Oval 56">
              <a:extLst>
                <a:ext uri="{FF2B5EF4-FFF2-40B4-BE49-F238E27FC236}">
                  <a16:creationId xmlns="" xmlns:a16="http://schemas.microsoft.com/office/drawing/2014/main" id="{5197AE72-FF7C-4E71-86E1-15C5DBB27AA5}"/>
                </a:ext>
              </a:extLst>
            </p:cNvPr>
            <p:cNvSpPr/>
            <p:nvPr/>
          </p:nvSpPr>
          <p:spPr>
            <a:xfrm>
              <a:off x="8611091" y="1243852"/>
              <a:ext cx="50253" cy="50252"/>
            </a:xfrm>
            <a:prstGeom prst="ellipse">
              <a:avLst/>
            </a:prstGeom>
            <a:solidFill>
              <a:schemeClr val="accent5"/>
            </a:solidFill>
            <a:ln w="12700" cap="flat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 b="1" dirty="0">
                <a:solidFill>
                  <a:schemeClr val="bg1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58" name="Rectangle 57">
              <a:extLst>
                <a:ext uri="{FF2B5EF4-FFF2-40B4-BE49-F238E27FC236}">
                  <a16:creationId xmlns="" xmlns:a16="http://schemas.microsoft.com/office/drawing/2014/main" id="{9384239C-1E37-475D-A6B2-43FE4BF1CCA7}"/>
                </a:ext>
              </a:extLst>
            </p:cNvPr>
            <p:cNvSpPr/>
            <p:nvPr/>
          </p:nvSpPr>
          <p:spPr>
            <a:xfrm>
              <a:off x="8486575" y="1225848"/>
              <a:ext cx="328615" cy="385342"/>
            </a:xfrm>
            <a:prstGeom prst="rect">
              <a:avLst/>
            </a:prstGeom>
            <a:solidFill>
              <a:schemeClr val="bg1">
                <a:alpha val="80000"/>
              </a:schemeClr>
            </a:solidFill>
            <a:ln w="6350" cap="flat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900"/>
                </a:spcBef>
              </a:pPr>
              <a:endParaRPr lang="en-US" sz="140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59" name="Oval 58">
              <a:extLst>
                <a:ext uri="{FF2B5EF4-FFF2-40B4-BE49-F238E27FC236}">
                  <a16:creationId xmlns="" xmlns:a16="http://schemas.microsoft.com/office/drawing/2014/main" id="{58EFAE28-E605-4E72-99FD-C3FB05963595}"/>
                </a:ext>
              </a:extLst>
            </p:cNvPr>
            <p:cNvSpPr/>
            <p:nvPr/>
          </p:nvSpPr>
          <p:spPr>
            <a:xfrm>
              <a:off x="7921579" y="1349312"/>
              <a:ext cx="212364" cy="212364"/>
            </a:xfrm>
            <a:prstGeom prst="ellipse">
              <a:avLst/>
            </a:prstGeom>
            <a:solidFill>
              <a:schemeClr val="bg2"/>
            </a:solidFill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ot="0" spcFirstLastPara="0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60" name="Arc 59">
              <a:extLst>
                <a:ext uri="{FF2B5EF4-FFF2-40B4-BE49-F238E27FC236}">
                  <a16:creationId xmlns="" xmlns:a16="http://schemas.microsoft.com/office/drawing/2014/main" id="{93C6B2BE-6CA6-457B-B2C1-A16C8572191A}"/>
                </a:ext>
              </a:extLst>
            </p:cNvPr>
            <p:cNvSpPr/>
            <p:nvPr/>
          </p:nvSpPr>
          <p:spPr bwMode="gray">
            <a:xfrm>
              <a:off x="7883769" y="1267966"/>
              <a:ext cx="283644" cy="247796"/>
            </a:xfrm>
            <a:prstGeom prst="arc">
              <a:avLst>
                <a:gd name="adj1" fmla="val 11178900"/>
                <a:gd name="adj2" fmla="val 21075396"/>
              </a:avLst>
            </a:prstGeom>
            <a:ln w="19050" cap="flat">
              <a:solidFill>
                <a:schemeClr val="bg2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100" dirty="0"/>
            </a:p>
          </p:txBody>
        </p:sp>
        <p:sp>
          <p:nvSpPr>
            <p:cNvPr id="61" name="Rectangle 60">
              <a:extLst>
                <a:ext uri="{FF2B5EF4-FFF2-40B4-BE49-F238E27FC236}">
                  <a16:creationId xmlns="" xmlns:a16="http://schemas.microsoft.com/office/drawing/2014/main" id="{E938B61C-064D-46AD-A9F7-DA6D78A5D3E4}"/>
                </a:ext>
              </a:extLst>
            </p:cNvPr>
            <p:cNvSpPr/>
            <p:nvPr/>
          </p:nvSpPr>
          <p:spPr>
            <a:xfrm>
              <a:off x="7877395" y="1225848"/>
              <a:ext cx="328615" cy="385342"/>
            </a:xfrm>
            <a:prstGeom prst="rect">
              <a:avLst/>
            </a:prstGeom>
            <a:solidFill>
              <a:schemeClr val="bg1">
                <a:alpha val="80000"/>
              </a:schemeClr>
            </a:solidFill>
            <a:ln w="6350" cap="flat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900"/>
                </a:spcBef>
              </a:pPr>
              <a:endParaRPr lang="en-US" sz="140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62" name="Oval 61">
              <a:extLst>
                <a:ext uri="{FF2B5EF4-FFF2-40B4-BE49-F238E27FC236}">
                  <a16:creationId xmlns="" xmlns:a16="http://schemas.microsoft.com/office/drawing/2014/main" id="{AB297AA4-1A8C-4DC3-AACD-14073F25B8A9}"/>
                </a:ext>
              </a:extLst>
            </p:cNvPr>
            <p:cNvSpPr/>
            <p:nvPr/>
          </p:nvSpPr>
          <p:spPr>
            <a:xfrm>
              <a:off x="8225098" y="1244357"/>
              <a:ext cx="212364" cy="212364"/>
            </a:xfrm>
            <a:prstGeom prst="ellipse">
              <a:avLst/>
            </a:prstGeom>
            <a:solidFill>
              <a:schemeClr val="accent1"/>
            </a:solidFill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ot="0" spcFirstLastPara="0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63" name="Arc 62">
              <a:extLst>
                <a:ext uri="{FF2B5EF4-FFF2-40B4-BE49-F238E27FC236}">
                  <a16:creationId xmlns="" xmlns:a16="http://schemas.microsoft.com/office/drawing/2014/main" id="{08A09246-53C9-4170-95B0-A2690D22FC68}"/>
                </a:ext>
              </a:extLst>
            </p:cNvPr>
            <p:cNvSpPr/>
            <p:nvPr/>
          </p:nvSpPr>
          <p:spPr bwMode="gray">
            <a:xfrm flipV="1">
              <a:off x="8184095" y="1313981"/>
              <a:ext cx="283644" cy="247373"/>
            </a:xfrm>
            <a:prstGeom prst="arc">
              <a:avLst>
                <a:gd name="adj1" fmla="val 11178900"/>
                <a:gd name="adj2" fmla="val 21075396"/>
              </a:avLst>
            </a:prstGeom>
            <a:ln w="19050" cap="flat">
              <a:solidFill>
                <a:schemeClr val="accent1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100" dirty="0"/>
            </a:p>
          </p:txBody>
        </p:sp>
        <p:sp>
          <p:nvSpPr>
            <p:cNvPr id="64" name="Isosceles Triangle 63">
              <a:extLst>
                <a:ext uri="{FF2B5EF4-FFF2-40B4-BE49-F238E27FC236}">
                  <a16:creationId xmlns="" xmlns:a16="http://schemas.microsoft.com/office/drawing/2014/main" id="{64CB3415-1C83-4EAC-88AA-6BA3A9AEFE1E}"/>
                </a:ext>
              </a:extLst>
            </p:cNvPr>
            <p:cNvSpPr>
              <a:spLocks noChangeAspect="1"/>
            </p:cNvSpPr>
            <p:nvPr/>
          </p:nvSpPr>
          <p:spPr bwMode="gray">
            <a:xfrm rot="11672904" flipV="1">
              <a:off x="8432310" y="1418179"/>
              <a:ext cx="73611" cy="63349"/>
            </a:xfrm>
            <a:prstGeom prst="triangle">
              <a:avLst/>
            </a:prstGeom>
            <a:solidFill>
              <a:schemeClr val="accent1"/>
            </a:solidFill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050" dirty="0">
                <a:solidFill>
                  <a:schemeClr val="tx1"/>
                </a:solidFill>
              </a:endParaRPr>
            </a:p>
          </p:txBody>
        </p:sp>
        <p:sp>
          <p:nvSpPr>
            <p:cNvPr id="65" name="Oval 64">
              <a:extLst>
                <a:ext uri="{FF2B5EF4-FFF2-40B4-BE49-F238E27FC236}">
                  <a16:creationId xmlns="" xmlns:a16="http://schemas.microsoft.com/office/drawing/2014/main" id="{9E238B57-D2A1-40C7-8A83-4BB1F4818BA4}"/>
                </a:ext>
              </a:extLst>
            </p:cNvPr>
            <p:cNvSpPr/>
            <p:nvPr/>
          </p:nvSpPr>
          <p:spPr>
            <a:xfrm>
              <a:off x="8306154" y="1537095"/>
              <a:ext cx="50253" cy="50252"/>
            </a:xfrm>
            <a:prstGeom prst="ellipse">
              <a:avLst/>
            </a:prstGeom>
            <a:solidFill>
              <a:schemeClr val="accent1"/>
            </a:solidFill>
            <a:ln w="12700" cap="flat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 b="1" dirty="0">
                <a:solidFill>
                  <a:schemeClr val="bg1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4210831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AA16B7AC-F676-4F67-8813-4F8F68AAD7D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961455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82"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="" xmlns:a16="http://schemas.microsoft.com/office/drawing/2014/main" id="{AA16B7AC-F676-4F67-8813-4F8F68AAD7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="" xmlns:a16="http://schemas.microsoft.com/office/drawing/2014/main" id="{260A3D96-399B-450E-B597-24C3AA9AE05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US" sz="240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8" name="Freeform: Shape 47">
            <a:extLst>
              <a:ext uri="{FF2B5EF4-FFF2-40B4-BE49-F238E27FC236}">
                <a16:creationId xmlns="" xmlns:a16="http://schemas.microsoft.com/office/drawing/2014/main" id="{BDB1C7ED-00C3-4599-8669-90ACE851ED81}"/>
              </a:ext>
            </a:extLst>
          </p:cNvPr>
          <p:cNvSpPr/>
          <p:nvPr/>
        </p:nvSpPr>
        <p:spPr>
          <a:xfrm flipH="1">
            <a:off x="1439651" y="2057400"/>
            <a:ext cx="7704347" cy="4684714"/>
          </a:xfrm>
          <a:custGeom>
            <a:avLst/>
            <a:gdLst>
              <a:gd name="connsiteX0" fmla="*/ 0 w 8654725"/>
              <a:gd name="connsiteY0" fmla="*/ 0 h 5168163"/>
              <a:gd name="connsiteX1" fmla="*/ 4579228 w 8654725"/>
              <a:gd name="connsiteY1" fmla="*/ 0 h 5168163"/>
              <a:gd name="connsiteX2" fmla="*/ 8654725 w 8654725"/>
              <a:gd name="connsiteY2" fmla="*/ 5168163 h 5168163"/>
              <a:gd name="connsiteX3" fmla="*/ 4579228 w 8654725"/>
              <a:gd name="connsiteY3" fmla="*/ 5168163 h 5168163"/>
              <a:gd name="connsiteX4" fmla="*/ 0 w 8654725"/>
              <a:gd name="connsiteY4" fmla="*/ 5168163 h 51681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654725" h="5168163">
                <a:moveTo>
                  <a:pt x="0" y="0"/>
                </a:moveTo>
                <a:lnTo>
                  <a:pt x="4579228" y="0"/>
                </a:lnTo>
                <a:lnTo>
                  <a:pt x="8654725" y="5168163"/>
                </a:lnTo>
                <a:lnTo>
                  <a:pt x="4579228" y="5168163"/>
                </a:lnTo>
                <a:lnTo>
                  <a:pt x="0" y="5168163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  <a:alpha val="40000"/>
            </a:schemeClr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914400" rIns="1920240" bIns="18288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spcBef>
                <a:spcPts val="900"/>
              </a:spcBef>
            </a:pPr>
            <a:endParaRPr lang="en-US" sz="1100" i="1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="" xmlns:a16="http://schemas.microsoft.com/office/drawing/2014/main" id="{48D13E25-DCE9-4BCE-806B-429683B77FA6}"/>
              </a:ext>
            </a:extLst>
          </p:cNvPr>
          <p:cNvSpPr txBox="1"/>
          <p:nvPr/>
        </p:nvSpPr>
        <p:spPr>
          <a:xfrm>
            <a:off x="244474" y="1628140"/>
            <a:ext cx="6840220" cy="249299"/>
          </a:xfrm>
          <a:prstGeom prst="rect">
            <a:avLst/>
          </a:prstGeom>
          <a:noFill/>
          <a:ln w="6350" cap="flat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A5FFFF"/>
                </a:solidFill>
              </a14:hiddenFill>
            </a:ext>
          </a:extLst>
        </p:spPr>
        <p:txBody>
          <a:bodyPr vert="horz" wrap="square" lIns="365760" tIns="0" rIns="0" bIns="0" rtlCol="0" anchor="t" anchorCtr="0">
            <a:sp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2"/>
              </a:buClr>
            </a:pP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Data Wrangling and Cleaning</a:t>
            </a:r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7956AB31-F718-491D-AAC7-99EB166076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4507" y="493495"/>
            <a:ext cx="7604094" cy="338554"/>
          </a:xfrm>
        </p:spPr>
        <p:txBody>
          <a:bodyPr/>
          <a:lstStyle/>
          <a:p>
            <a:r>
              <a:rPr lang="en-US" b="1" dirty="0"/>
              <a:t>Framework</a:t>
            </a:r>
          </a:p>
        </p:txBody>
      </p:sp>
      <p:sp>
        <p:nvSpPr>
          <p:cNvPr id="5" name="Oval 4">
            <a:extLst>
              <a:ext uri="{FF2B5EF4-FFF2-40B4-BE49-F238E27FC236}">
                <a16:creationId xmlns="" xmlns:a16="http://schemas.microsoft.com/office/drawing/2014/main" id="{3D60A96E-A8F3-4D57-873D-4053E79B24CA}"/>
              </a:ext>
            </a:extLst>
          </p:cNvPr>
          <p:cNvSpPr/>
          <p:nvPr/>
        </p:nvSpPr>
        <p:spPr>
          <a:xfrm>
            <a:off x="246380" y="1600200"/>
            <a:ext cx="279400" cy="279400"/>
          </a:xfrm>
          <a:prstGeom prst="ellipse">
            <a:avLst/>
          </a:prstGeom>
          <a:solidFill>
            <a:schemeClr val="accent1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1600" b="1" dirty="0">
                <a:solidFill>
                  <a:schemeClr val="bg1"/>
                </a:solidFill>
                <a:latin typeface="Arial" panose="020B0604020202020204" pitchFamily="34" charset="0"/>
                <a:cs typeface="Arial" pitchFamily="34" charset="0"/>
              </a:rPr>
              <a:t>2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="" xmlns:a16="http://schemas.microsoft.com/office/drawing/2014/main" id="{06C85ADB-D567-488B-B9D4-0EB9C8A1B045}"/>
              </a:ext>
            </a:extLst>
          </p:cNvPr>
          <p:cNvSpPr/>
          <p:nvPr/>
        </p:nvSpPr>
        <p:spPr>
          <a:xfrm flipH="1">
            <a:off x="5296661" y="2594725"/>
            <a:ext cx="0" cy="0"/>
          </a:xfrm>
          <a:prstGeom prst="rect">
            <a:avLst/>
          </a:prstGeom>
          <a:noFill/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US" sz="1400" dirty="0" err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17" name="Google Shape;1171;p44">
            <a:extLst>
              <a:ext uri="{FF2B5EF4-FFF2-40B4-BE49-F238E27FC236}">
                <a16:creationId xmlns="" xmlns:a16="http://schemas.microsoft.com/office/drawing/2014/main" id="{386A2D8B-71B5-4182-80F1-1AFE41C0ABDC}"/>
              </a:ext>
            </a:extLst>
          </p:cNvPr>
          <p:cNvGrpSpPr/>
          <p:nvPr/>
        </p:nvGrpSpPr>
        <p:grpSpPr>
          <a:xfrm>
            <a:off x="4745525" y="3042724"/>
            <a:ext cx="3747684" cy="2317190"/>
            <a:chOff x="5709625" y="3499575"/>
            <a:chExt cx="1134300" cy="701375"/>
          </a:xfrm>
        </p:grpSpPr>
        <p:sp>
          <p:nvSpPr>
            <p:cNvPr id="18" name="Google Shape;1172;p44">
              <a:extLst>
                <a:ext uri="{FF2B5EF4-FFF2-40B4-BE49-F238E27FC236}">
                  <a16:creationId xmlns="" xmlns:a16="http://schemas.microsoft.com/office/drawing/2014/main" id="{BE9C1786-69F8-45CF-9973-7804E9ABD3D9}"/>
                </a:ext>
              </a:extLst>
            </p:cNvPr>
            <p:cNvSpPr/>
            <p:nvPr/>
          </p:nvSpPr>
          <p:spPr>
            <a:xfrm>
              <a:off x="5847175" y="3862950"/>
              <a:ext cx="141525" cy="155200"/>
            </a:xfrm>
            <a:custGeom>
              <a:avLst/>
              <a:gdLst/>
              <a:ahLst/>
              <a:cxnLst/>
              <a:rect l="l" t="t" r="r" b="b"/>
              <a:pathLst>
                <a:path w="5661" h="6208" extrusionOk="0">
                  <a:moveTo>
                    <a:pt x="2110" y="6096"/>
                  </a:moveTo>
                  <a:cubicBezTo>
                    <a:pt x="2110" y="6096"/>
                    <a:pt x="3162" y="6208"/>
                    <a:pt x="4356" y="4644"/>
                  </a:cubicBezTo>
                  <a:cubicBezTo>
                    <a:pt x="4591" y="4333"/>
                    <a:pt x="4908" y="3798"/>
                    <a:pt x="5178" y="3322"/>
                  </a:cubicBezTo>
                  <a:cubicBezTo>
                    <a:pt x="5660" y="2458"/>
                    <a:pt x="5590" y="1376"/>
                    <a:pt x="4949" y="618"/>
                  </a:cubicBezTo>
                  <a:cubicBezTo>
                    <a:pt x="4503" y="89"/>
                    <a:pt x="4103" y="1"/>
                    <a:pt x="3280" y="130"/>
                  </a:cubicBezTo>
                  <a:cubicBezTo>
                    <a:pt x="3280" y="130"/>
                    <a:pt x="1093" y="518"/>
                    <a:pt x="0" y="1411"/>
                  </a:cubicBezTo>
                  <a:close/>
                </a:path>
              </a:pathLst>
            </a:custGeom>
            <a:solidFill>
              <a:srgbClr val="EA551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" name="Google Shape;1173;p44">
              <a:extLst>
                <a:ext uri="{FF2B5EF4-FFF2-40B4-BE49-F238E27FC236}">
                  <a16:creationId xmlns="" xmlns:a16="http://schemas.microsoft.com/office/drawing/2014/main" id="{FA8513BD-E20A-4882-9FB1-1BB101571070}"/>
                </a:ext>
              </a:extLst>
            </p:cNvPr>
            <p:cNvSpPr/>
            <p:nvPr/>
          </p:nvSpPr>
          <p:spPr>
            <a:xfrm>
              <a:off x="5818225" y="3883975"/>
              <a:ext cx="117275" cy="136975"/>
            </a:xfrm>
            <a:custGeom>
              <a:avLst/>
              <a:gdLst/>
              <a:ahLst/>
              <a:cxnLst/>
              <a:rect l="l" t="t" r="r" b="b"/>
              <a:pathLst>
                <a:path w="4691" h="5479" extrusionOk="0">
                  <a:moveTo>
                    <a:pt x="4497" y="2451"/>
                  </a:moveTo>
                  <a:cubicBezTo>
                    <a:pt x="4691" y="3874"/>
                    <a:pt x="3880" y="5155"/>
                    <a:pt x="2692" y="5320"/>
                  </a:cubicBezTo>
                  <a:cubicBezTo>
                    <a:pt x="1505" y="5478"/>
                    <a:pt x="382" y="4456"/>
                    <a:pt x="194" y="3027"/>
                  </a:cubicBezTo>
                  <a:cubicBezTo>
                    <a:pt x="0" y="1605"/>
                    <a:pt x="805" y="324"/>
                    <a:pt x="1999" y="159"/>
                  </a:cubicBezTo>
                  <a:cubicBezTo>
                    <a:pt x="3186" y="0"/>
                    <a:pt x="4309" y="1023"/>
                    <a:pt x="4497" y="2451"/>
                  </a:cubicBezTo>
                  <a:close/>
                </a:path>
              </a:pathLst>
            </a:custGeom>
            <a:solidFill>
              <a:srgbClr val="F6F6F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" name="Google Shape;1174;p44">
              <a:extLst>
                <a:ext uri="{FF2B5EF4-FFF2-40B4-BE49-F238E27FC236}">
                  <a16:creationId xmlns="" xmlns:a16="http://schemas.microsoft.com/office/drawing/2014/main" id="{884BFC23-F748-4183-B14F-B15A64F0779D}"/>
                </a:ext>
              </a:extLst>
            </p:cNvPr>
            <p:cNvSpPr/>
            <p:nvPr/>
          </p:nvSpPr>
          <p:spPr>
            <a:xfrm>
              <a:off x="5823950" y="3900425"/>
              <a:ext cx="83350" cy="111125"/>
            </a:xfrm>
            <a:custGeom>
              <a:avLst/>
              <a:gdLst/>
              <a:ahLst/>
              <a:cxnLst/>
              <a:rect l="l" t="t" r="r" b="b"/>
              <a:pathLst>
                <a:path w="3334" h="4445" extrusionOk="0">
                  <a:moveTo>
                    <a:pt x="3180" y="2017"/>
                  </a:moveTo>
                  <a:cubicBezTo>
                    <a:pt x="3333" y="3181"/>
                    <a:pt x="2786" y="4215"/>
                    <a:pt x="1952" y="4333"/>
                  </a:cubicBezTo>
                  <a:cubicBezTo>
                    <a:pt x="1117" y="4444"/>
                    <a:pt x="312" y="3592"/>
                    <a:pt x="153" y="2428"/>
                  </a:cubicBezTo>
                  <a:cubicBezTo>
                    <a:pt x="0" y="1264"/>
                    <a:pt x="547" y="230"/>
                    <a:pt x="1382" y="118"/>
                  </a:cubicBezTo>
                  <a:cubicBezTo>
                    <a:pt x="2216" y="1"/>
                    <a:pt x="3022" y="853"/>
                    <a:pt x="3180" y="2017"/>
                  </a:cubicBezTo>
                  <a:close/>
                </a:path>
              </a:pathLst>
            </a:custGeom>
            <a:solidFill>
              <a:srgbClr val="EA551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" name="Google Shape;1175;p44">
              <a:extLst>
                <a:ext uri="{FF2B5EF4-FFF2-40B4-BE49-F238E27FC236}">
                  <a16:creationId xmlns="" xmlns:a16="http://schemas.microsoft.com/office/drawing/2014/main" id="{5B2ADC38-3EEA-4509-8A1E-0115E7BBD496}"/>
                </a:ext>
              </a:extLst>
            </p:cNvPr>
            <p:cNvSpPr/>
            <p:nvPr/>
          </p:nvSpPr>
          <p:spPr>
            <a:xfrm>
              <a:off x="5848775" y="3929525"/>
              <a:ext cx="38100" cy="53075"/>
            </a:xfrm>
            <a:custGeom>
              <a:avLst/>
              <a:gdLst/>
              <a:ahLst/>
              <a:cxnLst/>
              <a:rect l="l" t="t" r="r" b="b"/>
              <a:pathLst>
                <a:path w="1524" h="2123" extrusionOk="0">
                  <a:moveTo>
                    <a:pt x="1447" y="964"/>
                  </a:moveTo>
                  <a:cubicBezTo>
                    <a:pt x="1523" y="1523"/>
                    <a:pt x="1276" y="2017"/>
                    <a:pt x="894" y="2069"/>
                  </a:cubicBezTo>
                  <a:cubicBezTo>
                    <a:pt x="518" y="2122"/>
                    <a:pt x="148" y="1711"/>
                    <a:pt x="71" y="1153"/>
                  </a:cubicBezTo>
                  <a:cubicBezTo>
                    <a:pt x="1" y="594"/>
                    <a:pt x="248" y="106"/>
                    <a:pt x="624" y="53"/>
                  </a:cubicBezTo>
                  <a:cubicBezTo>
                    <a:pt x="1006" y="0"/>
                    <a:pt x="1376" y="412"/>
                    <a:pt x="1447" y="964"/>
                  </a:cubicBezTo>
                  <a:close/>
                </a:path>
              </a:pathLst>
            </a:custGeom>
            <a:solidFill>
              <a:srgbClr val="F6F6F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" name="Google Shape;1176;p44">
              <a:extLst>
                <a:ext uri="{FF2B5EF4-FFF2-40B4-BE49-F238E27FC236}">
                  <a16:creationId xmlns="" xmlns:a16="http://schemas.microsoft.com/office/drawing/2014/main" id="{AF1D49C5-851B-4621-8C20-E4E4CB9349DC}"/>
                </a:ext>
              </a:extLst>
            </p:cNvPr>
            <p:cNvSpPr/>
            <p:nvPr/>
          </p:nvSpPr>
          <p:spPr>
            <a:xfrm>
              <a:off x="5901675" y="3842525"/>
              <a:ext cx="98925" cy="41775"/>
            </a:xfrm>
            <a:custGeom>
              <a:avLst/>
              <a:gdLst/>
              <a:ahLst/>
              <a:cxnLst/>
              <a:rect l="l" t="t" r="r" b="b"/>
              <a:pathLst>
                <a:path w="3957" h="1671" extrusionOk="0">
                  <a:moveTo>
                    <a:pt x="2023" y="165"/>
                  </a:moveTo>
                  <a:cubicBezTo>
                    <a:pt x="2023" y="165"/>
                    <a:pt x="1" y="1094"/>
                    <a:pt x="130" y="1353"/>
                  </a:cubicBezTo>
                  <a:cubicBezTo>
                    <a:pt x="259" y="1617"/>
                    <a:pt x="1435" y="1364"/>
                    <a:pt x="1976" y="1200"/>
                  </a:cubicBezTo>
                  <a:cubicBezTo>
                    <a:pt x="2511" y="1035"/>
                    <a:pt x="2951" y="1670"/>
                    <a:pt x="2951" y="1670"/>
                  </a:cubicBezTo>
                  <a:lnTo>
                    <a:pt x="3957" y="1"/>
                  </a:lnTo>
                  <a:close/>
                </a:path>
              </a:pathLst>
            </a:custGeom>
            <a:solidFill>
              <a:srgbClr val="FDFDF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" name="Google Shape;1177;p44">
              <a:extLst>
                <a:ext uri="{FF2B5EF4-FFF2-40B4-BE49-F238E27FC236}">
                  <a16:creationId xmlns="" xmlns:a16="http://schemas.microsoft.com/office/drawing/2014/main" id="{EDBA9D1C-08F6-4722-BE5D-E591C2AD3345}"/>
                </a:ext>
              </a:extLst>
            </p:cNvPr>
            <p:cNvSpPr/>
            <p:nvPr/>
          </p:nvSpPr>
          <p:spPr>
            <a:xfrm>
              <a:off x="5709625" y="3528500"/>
              <a:ext cx="405600" cy="365050"/>
            </a:xfrm>
            <a:custGeom>
              <a:avLst/>
              <a:gdLst/>
              <a:ahLst/>
              <a:cxnLst/>
              <a:rect l="l" t="t" r="r" b="b"/>
              <a:pathLst>
                <a:path w="16224" h="14602" extrusionOk="0">
                  <a:moveTo>
                    <a:pt x="11415" y="14601"/>
                  </a:moveTo>
                  <a:cubicBezTo>
                    <a:pt x="11415" y="14601"/>
                    <a:pt x="6872" y="10399"/>
                    <a:pt x="3903" y="7072"/>
                  </a:cubicBezTo>
                  <a:cubicBezTo>
                    <a:pt x="935" y="3739"/>
                    <a:pt x="359" y="2881"/>
                    <a:pt x="177" y="2252"/>
                  </a:cubicBezTo>
                  <a:cubicBezTo>
                    <a:pt x="0" y="1629"/>
                    <a:pt x="447" y="71"/>
                    <a:pt x="718" y="36"/>
                  </a:cubicBezTo>
                  <a:cubicBezTo>
                    <a:pt x="994" y="1"/>
                    <a:pt x="1135" y="1753"/>
                    <a:pt x="1488" y="2264"/>
                  </a:cubicBezTo>
                  <a:cubicBezTo>
                    <a:pt x="1834" y="2775"/>
                    <a:pt x="11639" y="11157"/>
                    <a:pt x="16223" y="13338"/>
                  </a:cubicBezTo>
                  <a:close/>
                </a:path>
              </a:pathLst>
            </a:custGeom>
            <a:solidFill>
              <a:srgbClr val="EA551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" name="Google Shape;1178;p44">
              <a:extLst>
                <a:ext uri="{FF2B5EF4-FFF2-40B4-BE49-F238E27FC236}">
                  <a16:creationId xmlns="" xmlns:a16="http://schemas.microsoft.com/office/drawing/2014/main" id="{991578CD-7438-4ADC-9CF3-A94B63435D37}"/>
                </a:ext>
              </a:extLst>
            </p:cNvPr>
            <p:cNvSpPr/>
            <p:nvPr/>
          </p:nvSpPr>
          <p:spPr>
            <a:xfrm>
              <a:off x="5716525" y="3528500"/>
              <a:ext cx="422500" cy="363425"/>
            </a:xfrm>
            <a:custGeom>
              <a:avLst/>
              <a:gdLst/>
              <a:ahLst/>
              <a:cxnLst/>
              <a:rect l="l" t="t" r="r" b="b"/>
              <a:pathLst>
                <a:path w="16900" h="14537" extrusionOk="0">
                  <a:moveTo>
                    <a:pt x="11721" y="14537"/>
                  </a:moveTo>
                  <a:cubicBezTo>
                    <a:pt x="11721" y="14537"/>
                    <a:pt x="6872" y="10369"/>
                    <a:pt x="3904" y="7037"/>
                  </a:cubicBezTo>
                  <a:cubicBezTo>
                    <a:pt x="935" y="3704"/>
                    <a:pt x="353" y="2846"/>
                    <a:pt x="177" y="2223"/>
                  </a:cubicBezTo>
                  <a:cubicBezTo>
                    <a:pt x="1" y="1594"/>
                    <a:pt x="171" y="77"/>
                    <a:pt x="442" y="42"/>
                  </a:cubicBezTo>
                  <a:cubicBezTo>
                    <a:pt x="718" y="1"/>
                    <a:pt x="1135" y="1717"/>
                    <a:pt x="1482" y="2229"/>
                  </a:cubicBezTo>
                  <a:cubicBezTo>
                    <a:pt x="1835" y="2746"/>
                    <a:pt x="12315" y="11063"/>
                    <a:pt x="16899" y="13244"/>
                  </a:cubicBezTo>
                  <a:close/>
                </a:path>
              </a:pathLst>
            </a:custGeom>
            <a:solidFill>
              <a:srgbClr val="F6F6F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" name="Google Shape;1179;p44">
              <a:extLst>
                <a:ext uri="{FF2B5EF4-FFF2-40B4-BE49-F238E27FC236}">
                  <a16:creationId xmlns="" xmlns:a16="http://schemas.microsoft.com/office/drawing/2014/main" id="{B0B0077A-9BD6-4AA0-8A38-AD3C49EB53F8}"/>
                </a:ext>
              </a:extLst>
            </p:cNvPr>
            <p:cNvSpPr/>
            <p:nvPr/>
          </p:nvSpPr>
          <p:spPr>
            <a:xfrm>
              <a:off x="6406575" y="3643275"/>
              <a:ext cx="370200" cy="214575"/>
            </a:xfrm>
            <a:custGeom>
              <a:avLst/>
              <a:gdLst/>
              <a:ahLst/>
              <a:cxnLst/>
              <a:rect l="l" t="t" r="r" b="b"/>
              <a:pathLst>
                <a:path w="14808" h="8583" extrusionOk="0">
                  <a:moveTo>
                    <a:pt x="14807" y="7983"/>
                  </a:moveTo>
                  <a:cubicBezTo>
                    <a:pt x="14625" y="8159"/>
                    <a:pt x="14413" y="8306"/>
                    <a:pt x="14190" y="8423"/>
                  </a:cubicBezTo>
                  <a:cubicBezTo>
                    <a:pt x="14020" y="8512"/>
                    <a:pt x="13831" y="8564"/>
                    <a:pt x="13637" y="8570"/>
                  </a:cubicBezTo>
                  <a:cubicBezTo>
                    <a:pt x="13044" y="8582"/>
                    <a:pt x="6120" y="7171"/>
                    <a:pt x="6120" y="7171"/>
                  </a:cubicBezTo>
                  <a:lnTo>
                    <a:pt x="2928" y="4497"/>
                  </a:lnTo>
                  <a:cubicBezTo>
                    <a:pt x="2928" y="4497"/>
                    <a:pt x="54" y="929"/>
                    <a:pt x="7" y="553"/>
                  </a:cubicBezTo>
                  <a:cubicBezTo>
                    <a:pt x="1" y="488"/>
                    <a:pt x="13" y="424"/>
                    <a:pt x="54" y="371"/>
                  </a:cubicBezTo>
                  <a:cubicBezTo>
                    <a:pt x="218" y="118"/>
                    <a:pt x="771" y="1"/>
                    <a:pt x="771" y="1"/>
                  </a:cubicBezTo>
                  <a:lnTo>
                    <a:pt x="7060" y="5343"/>
                  </a:lnTo>
                  <a:close/>
                </a:path>
              </a:pathLst>
            </a:custGeom>
            <a:solidFill>
              <a:srgbClr val="F6F6F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" name="Google Shape;1180;p44">
              <a:extLst>
                <a:ext uri="{FF2B5EF4-FFF2-40B4-BE49-F238E27FC236}">
                  <a16:creationId xmlns="" xmlns:a16="http://schemas.microsoft.com/office/drawing/2014/main" id="{12155DA4-57C5-4B05-9FDA-CE77456EA759}"/>
                </a:ext>
              </a:extLst>
            </p:cNvPr>
            <p:cNvSpPr/>
            <p:nvPr/>
          </p:nvSpPr>
          <p:spPr>
            <a:xfrm>
              <a:off x="6406575" y="3653700"/>
              <a:ext cx="354750" cy="204000"/>
            </a:xfrm>
            <a:custGeom>
              <a:avLst/>
              <a:gdLst/>
              <a:ahLst/>
              <a:cxnLst/>
              <a:rect l="l" t="t" r="r" b="b"/>
              <a:pathLst>
                <a:path w="14190" h="8160" extrusionOk="0">
                  <a:moveTo>
                    <a:pt x="14190" y="8001"/>
                  </a:moveTo>
                  <a:cubicBezTo>
                    <a:pt x="14020" y="8089"/>
                    <a:pt x="13831" y="8136"/>
                    <a:pt x="13637" y="8147"/>
                  </a:cubicBezTo>
                  <a:cubicBezTo>
                    <a:pt x="13044" y="8159"/>
                    <a:pt x="6120" y="6743"/>
                    <a:pt x="6120" y="6743"/>
                  </a:cubicBezTo>
                  <a:lnTo>
                    <a:pt x="2928" y="4068"/>
                  </a:lnTo>
                  <a:cubicBezTo>
                    <a:pt x="2928" y="4068"/>
                    <a:pt x="54" y="506"/>
                    <a:pt x="7" y="124"/>
                  </a:cubicBezTo>
                  <a:cubicBezTo>
                    <a:pt x="1" y="60"/>
                    <a:pt x="19" y="1"/>
                    <a:pt x="142" y="130"/>
                  </a:cubicBezTo>
                  <a:lnTo>
                    <a:pt x="3792" y="4362"/>
                  </a:lnTo>
                  <a:lnTo>
                    <a:pt x="7918" y="6619"/>
                  </a:lnTo>
                  <a:close/>
                </a:path>
              </a:pathLst>
            </a:custGeom>
            <a:solidFill>
              <a:srgbClr val="EA551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" name="Google Shape;1181;p44">
              <a:extLst>
                <a:ext uri="{FF2B5EF4-FFF2-40B4-BE49-F238E27FC236}">
                  <a16:creationId xmlns="" xmlns:a16="http://schemas.microsoft.com/office/drawing/2014/main" id="{388D013C-3BCE-41EC-B2D2-54F2DEFB348E}"/>
                </a:ext>
              </a:extLst>
            </p:cNvPr>
            <p:cNvSpPr/>
            <p:nvPr/>
          </p:nvSpPr>
          <p:spPr>
            <a:xfrm>
              <a:off x="5739900" y="3742775"/>
              <a:ext cx="882075" cy="448250"/>
            </a:xfrm>
            <a:custGeom>
              <a:avLst/>
              <a:gdLst/>
              <a:ahLst/>
              <a:cxnLst/>
              <a:rect l="l" t="t" r="r" b="b"/>
              <a:pathLst>
                <a:path w="35283" h="17930" extrusionOk="0">
                  <a:moveTo>
                    <a:pt x="32526" y="0"/>
                  </a:moveTo>
                  <a:cubicBezTo>
                    <a:pt x="32474" y="0"/>
                    <a:pt x="32422" y="2"/>
                    <a:pt x="32369" y="6"/>
                  </a:cubicBezTo>
                  <a:cubicBezTo>
                    <a:pt x="32170" y="17"/>
                    <a:pt x="31946" y="41"/>
                    <a:pt x="31699" y="70"/>
                  </a:cubicBezTo>
                  <a:cubicBezTo>
                    <a:pt x="30442" y="217"/>
                    <a:pt x="28566" y="564"/>
                    <a:pt x="25786" y="1316"/>
                  </a:cubicBezTo>
                  <a:cubicBezTo>
                    <a:pt x="18227" y="3362"/>
                    <a:pt x="5331" y="7335"/>
                    <a:pt x="3509" y="9075"/>
                  </a:cubicBezTo>
                  <a:cubicBezTo>
                    <a:pt x="3086" y="9492"/>
                    <a:pt x="2704" y="9957"/>
                    <a:pt x="2375" y="10456"/>
                  </a:cubicBezTo>
                  <a:cubicBezTo>
                    <a:pt x="1981" y="11038"/>
                    <a:pt x="1628" y="11644"/>
                    <a:pt x="1329" y="12273"/>
                  </a:cubicBezTo>
                  <a:cubicBezTo>
                    <a:pt x="488" y="13983"/>
                    <a:pt x="0" y="15805"/>
                    <a:pt x="388" y="16722"/>
                  </a:cubicBezTo>
                  <a:cubicBezTo>
                    <a:pt x="465" y="16887"/>
                    <a:pt x="559" y="17045"/>
                    <a:pt x="682" y="17181"/>
                  </a:cubicBezTo>
                  <a:cubicBezTo>
                    <a:pt x="782" y="17286"/>
                    <a:pt x="894" y="17380"/>
                    <a:pt x="1017" y="17463"/>
                  </a:cubicBezTo>
                  <a:cubicBezTo>
                    <a:pt x="1469" y="17764"/>
                    <a:pt x="2122" y="17930"/>
                    <a:pt x="2991" y="17930"/>
                  </a:cubicBezTo>
                  <a:cubicBezTo>
                    <a:pt x="4531" y="17930"/>
                    <a:pt x="6750" y="17411"/>
                    <a:pt x="9740" y="16205"/>
                  </a:cubicBezTo>
                  <a:cubicBezTo>
                    <a:pt x="15671" y="13824"/>
                    <a:pt x="30876" y="6924"/>
                    <a:pt x="32405" y="5789"/>
                  </a:cubicBezTo>
                  <a:cubicBezTo>
                    <a:pt x="32599" y="5642"/>
                    <a:pt x="32781" y="5484"/>
                    <a:pt x="32957" y="5313"/>
                  </a:cubicBezTo>
                  <a:cubicBezTo>
                    <a:pt x="33598" y="4679"/>
                    <a:pt x="34103" y="3897"/>
                    <a:pt x="34438" y="3309"/>
                  </a:cubicBezTo>
                  <a:cubicBezTo>
                    <a:pt x="35282" y="1821"/>
                    <a:pt x="34201" y="0"/>
                    <a:pt x="32526" y="0"/>
                  </a:cubicBezTo>
                  <a:close/>
                </a:path>
              </a:pathLst>
            </a:custGeom>
            <a:solidFill>
              <a:srgbClr val="FEFEF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" name="Google Shape;1182;p44">
              <a:extLst>
                <a:ext uri="{FF2B5EF4-FFF2-40B4-BE49-F238E27FC236}">
                  <a16:creationId xmlns="" xmlns:a16="http://schemas.microsoft.com/office/drawing/2014/main" id="{E170973C-DA0B-4BDD-BA47-62AF75B913CE}"/>
                </a:ext>
              </a:extLst>
            </p:cNvPr>
            <p:cNvSpPr/>
            <p:nvPr/>
          </p:nvSpPr>
          <p:spPr>
            <a:xfrm>
              <a:off x="5765325" y="3739975"/>
              <a:ext cx="857300" cy="460250"/>
            </a:xfrm>
            <a:custGeom>
              <a:avLst/>
              <a:gdLst/>
              <a:ahLst/>
              <a:cxnLst/>
              <a:rect l="l" t="t" r="r" b="b"/>
              <a:pathLst>
                <a:path w="34292" h="18410" extrusionOk="0">
                  <a:moveTo>
                    <a:pt x="33421" y="3421"/>
                  </a:moveTo>
                  <a:cubicBezTo>
                    <a:pt x="33086" y="4009"/>
                    <a:pt x="32581" y="4791"/>
                    <a:pt x="31940" y="5425"/>
                  </a:cubicBezTo>
                  <a:cubicBezTo>
                    <a:pt x="31764" y="5596"/>
                    <a:pt x="31582" y="5754"/>
                    <a:pt x="31388" y="5901"/>
                  </a:cubicBezTo>
                  <a:cubicBezTo>
                    <a:pt x="29859" y="7036"/>
                    <a:pt x="14654" y="13936"/>
                    <a:pt x="8723" y="16317"/>
                  </a:cubicBezTo>
                  <a:cubicBezTo>
                    <a:pt x="4044" y="18204"/>
                    <a:pt x="1252" y="18409"/>
                    <a:pt x="0" y="17575"/>
                  </a:cubicBezTo>
                  <a:cubicBezTo>
                    <a:pt x="394" y="16376"/>
                    <a:pt x="1887" y="12914"/>
                    <a:pt x="6548" y="10551"/>
                  </a:cubicBezTo>
                  <a:cubicBezTo>
                    <a:pt x="12267" y="7647"/>
                    <a:pt x="26591" y="3674"/>
                    <a:pt x="29642" y="2563"/>
                  </a:cubicBezTo>
                  <a:cubicBezTo>
                    <a:pt x="31270" y="1975"/>
                    <a:pt x="31347" y="852"/>
                    <a:pt x="30682" y="176"/>
                  </a:cubicBezTo>
                  <a:cubicBezTo>
                    <a:pt x="30929" y="147"/>
                    <a:pt x="31153" y="129"/>
                    <a:pt x="31352" y="118"/>
                  </a:cubicBezTo>
                  <a:cubicBezTo>
                    <a:pt x="33116" y="0"/>
                    <a:pt x="34291" y="1887"/>
                    <a:pt x="33421" y="3421"/>
                  </a:cubicBezTo>
                  <a:close/>
                </a:path>
              </a:pathLst>
            </a:custGeom>
            <a:solidFill>
              <a:srgbClr val="FDFDF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" name="Google Shape;1183;p44">
              <a:extLst>
                <a:ext uri="{FF2B5EF4-FFF2-40B4-BE49-F238E27FC236}">
                  <a16:creationId xmlns="" xmlns:a16="http://schemas.microsoft.com/office/drawing/2014/main" id="{C62239C3-E134-4E67-99C3-732857FB2307}"/>
                </a:ext>
              </a:extLst>
            </p:cNvPr>
            <p:cNvSpPr/>
            <p:nvPr/>
          </p:nvSpPr>
          <p:spPr>
            <a:xfrm>
              <a:off x="5756950" y="3875600"/>
              <a:ext cx="806750" cy="325350"/>
            </a:xfrm>
            <a:custGeom>
              <a:avLst/>
              <a:gdLst/>
              <a:ahLst/>
              <a:cxnLst/>
              <a:rect l="l" t="t" r="r" b="b"/>
              <a:pathLst>
                <a:path w="32270" h="13014" extrusionOk="0">
                  <a:moveTo>
                    <a:pt x="32269" y="0"/>
                  </a:moveTo>
                  <a:cubicBezTo>
                    <a:pt x="32099" y="171"/>
                    <a:pt x="31917" y="329"/>
                    <a:pt x="31723" y="476"/>
                  </a:cubicBezTo>
                  <a:cubicBezTo>
                    <a:pt x="30194" y="1611"/>
                    <a:pt x="14989" y="8511"/>
                    <a:pt x="9058" y="10892"/>
                  </a:cubicBezTo>
                  <a:cubicBezTo>
                    <a:pt x="3903" y="12967"/>
                    <a:pt x="1035" y="13014"/>
                    <a:pt x="0" y="11868"/>
                  </a:cubicBezTo>
                  <a:cubicBezTo>
                    <a:pt x="541" y="12120"/>
                    <a:pt x="1564" y="12273"/>
                    <a:pt x="3509" y="11920"/>
                  </a:cubicBezTo>
                  <a:cubicBezTo>
                    <a:pt x="7606" y="11186"/>
                    <a:pt x="19479" y="5855"/>
                    <a:pt x="22471" y="4520"/>
                  </a:cubicBezTo>
                  <a:cubicBezTo>
                    <a:pt x="25004" y="3386"/>
                    <a:pt x="30606" y="776"/>
                    <a:pt x="32269" y="0"/>
                  </a:cubicBezTo>
                  <a:close/>
                </a:path>
              </a:pathLst>
            </a:custGeom>
            <a:solidFill>
              <a:srgbClr val="EA551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" name="Google Shape;1184;p44">
              <a:extLst>
                <a:ext uri="{FF2B5EF4-FFF2-40B4-BE49-F238E27FC236}">
                  <a16:creationId xmlns="" xmlns:a16="http://schemas.microsoft.com/office/drawing/2014/main" id="{36C36C2D-8634-4892-B181-94761E25CE95}"/>
                </a:ext>
              </a:extLst>
            </p:cNvPr>
            <p:cNvSpPr/>
            <p:nvPr/>
          </p:nvSpPr>
          <p:spPr>
            <a:xfrm>
              <a:off x="5770600" y="4004325"/>
              <a:ext cx="177100" cy="89350"/>
            </a:xfrm>
            <a:custGeom>
              <a:avLst/>
              <a:gdLst/>
              <a:ahLst/>
              <a:cxnLst/>
              <a:rect l="l" t="t" r="r" b="b"/>
              <a:pathLst>
                <a:path w="7084" h="3574" extrusionOk="0">
                  <a:moveTo>
                    <a:pt x="7084" y="1370"/>
                  </a:moveTo>
                  <a:cubicBezTo>
                    <a:pt x="7084" y="1370"/>
                    <a:pt x="6472" y="3033"/>
                    <a:pt x="5843" y="3215"/>
                  </a:cubicBezTo>
                  <a:cubicBezTo>
                    <a:pt x="5214" y="3392"/>
                    <a:pt x="1788" y="3574"/>
                    <a:pt x="888" y="3133"/>
                  </a:cubicBezTo>
                  <a:cubicBezTo>
                    <a:pt x="130" y="2769"/>
                    <a:pt x="1" y="2639"/>
                    <a:pt x="95" y="1811"/>
                  </a:cubicBezTo>
                  <a:cubicBezTo>
                    <a:pt x="400" y="1182"/>
                    <a:pt x="753" y="576"/>
                    <a:pt x="1141" y="0"/>
                  </a:cubicBezTo>
                  <a:cubicBezTo>
                    <a:pt x="1141" y="30"/>
                    <a:pt x="1041" y="788"/>
                    <a:pt x="1241" y="947"/>
                  </a:cubicBezTo>
                  <a:cubicBezTo>
                    <a:pt x="1447" y="1099"/>
                    <a:pt x="2170" y="1564"/>
                    <a:pt x="4127" y="1581"/>
                  </a:cubicBezTo>
                  <a:cubicBezTo>
                    <a:pt x="6090" y="1599"/>
                    <a:pt x="7084" y="1370"/>
                    <a:pt x="7084" y="1370"/>
                  </a:cubicBezTo>
                  <a:close/>
                </a:path>
              </a:pathLst>
            </a:custGeom>
            <a:solidFill>
              <a:srgbClr val="EA551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" name="Google Shape;1185;p44">
              <a:extLst>
                <a:ext uri="{FF2B5EF4-FFF2-40B4-BE49-F238E27FC236}">
                  <a16:creationId xmlns="" xmlns:a16="http://schemas.microsoft.com/office/drawing/2014/main" id="{114F21CB-F824-4B3B-9DDD-1CC925BAA68A}"/>
                </a:ext>
              </a:extLst>
            </p:cNvPr>
            <p:cNvSpPr/>
            <p:nvPr/>
          </p:nvSpPr>
          <p:spPr>
            <a:xfrm>
              <a:off x="6051125" y="3964950"/>
              <a:ext cx="163875" cy="75550"/>
            </a:xfrm>
            <a:custGeom>
              <a:avLst/>
              <a:gdLst/>
              <a:ahLst/>
              <a:cxnLst/>
              <a:rect l="l" t="t" r="r" b="b"/>
              <a:pathLst>
                <a:path w="6555" h="3022" extrusionOk="0">
                  <a:moveTo>
                    <a:pt x="441" y="2980"/>
                  </a:moveTo>
                  <a:cubicBezTo>
                    <a:pt x="118" y="3021"/>
                    <a:pt x="1" y="2574"/>
                    <a:pt x="300" y="2445"/>
                  </a:cubicBezTo>
                  <a:lnTo>
                    <a:pt x="6002" y="141"/>
                  </a:lnTo>
                  <a:cubicBezTo>
                    <a:pt x="6349" y="0"/>
                    <a:pt x="6554" y="517"/>
                    <a:pt x="6213" y="652"/>
                  </a:cubicBezTo>
                  <a:lnTo>
                    <a:pt x="506" y="2962"/>
                  </a:lnTo>
                  <a:cubicBezTo>
                    <a:pt x="482" y="2968"/>
                    <a:pt x="459" y="2974"/>
                    <a:pt x="441" y="2980"/>
                  </a:cubicBezTo>
                  <a:close/>
                </a:path>
              </a:pathLst>
            </a:custGeom>
            <a:solidFill>
              <a:srgbClr val="EA551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" name="Google Shape;1186;p44">
              <a:extLst>
                <a:ext uri="{FF2B5EF4-FFF2-40B4-BE49-F238E27FC236}">
                  <a16:creationId xmlns="" xmlns:a16="http://schemas.microsoft.com/office/drawing/2014/main" id="{0FB7AAD5-01E5-4B10-8F09-8690F352E497}"/>
                </a:ext>
              </a:extLst>
            </p:cNvPr>
            <p:cNvSpPr/>
            <p:nvPr/>
          </p:nvSpPr>
          <p:spPr>
            <a:xfrm>
              <a:off x="6453600" y="3828125"/>
              <a:ext cx="102150" cy="51025"/>
            </a:xfrm>
            <a:custGeom>
              <a:avLst/>
              <a:gdLst/>
              <a:ahLst/>
              <a:cxnLst/>
              <a:rect l="l" t="t" r="r" b="b"/>
              <a:pathLst>
                <a:path w="4086" h="2041" extrusionOk="0">
                  <a:moveTo>
                    <a:pt x="448" y="1993"/>
                  </a:moveTo>
                  <a:cubicBezTo>
                    <a:pt x="124" y="2040"/>
                    <a:pt x="1" y="1582"/>
                    <a:pt x="306" y="1464"/>
                  </a:cubicBezTo>
                  <a:lnTo>
                    <a:pt x="3533" y="142"/>
                  </a:lnTo>
                  <a:cubicBezTo>
                    <a:pt x="3874" y="1"/>
                    <a:pt x="4086" y="512"/>
                    <a:pt x="3739" y="653"/>
                  </a:cubicBezTo>
                  <a:lnTo>
                    <a:pt x="512" y="1976"/>
                  </a:lnTo>
                  <a:cubicBezTo>
                    <a:pt x="495" y="1987"/>
                    <a:pt x="471" y="1993"/>
                    <a:pt x="448" y="1993"/>
                  </a:cubicBezTo>
                  <a:close/>
                </a:path>
              </a:pathLst>
            </a:custGeom>
            <a:solidFill>
              <a:srgbClr val="EA551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" name="Google Shape;1187;p44">
              <a:extLst>
                <a:ext uri="{FF2B5EF4-FFF2-40B4-BE49-F238E27FC236}">
                  <a16:creationId xmlns="" xmlns:a16="http://schemas.microsoft.com/office/drawing/2014/main" id="{A3969907-0137-40FE-A0C0-F85645C376B4}"/>
                </a:ext>
              </a:extLst>
            </p:cNvPr>
            <p:cNvSpPr/>
            <p:nvPr/>
          </p:nvSpPr>
          <p:spPr>
            <a:xfrm>
              <a:off x="6250375" y="3876775"/>
              <a:ext cx="191950" cy="85550"/>
            </a:xfrm>
            <a:custGeom>
              <a:avLst/>
              <a:gdLst/>
              <a:ahLst/>
              <a:cxnLst/>
              <a:rect l="l" t="t" r="r" b="b"/>
              <a:pathLst>
                <a:path w="7678" h="3422" extrusionOk="0">
                  <a:moveTo>
                    <a:pt x="442" y="3380"/>
                  </a:moveTo>
                  <a:cubicBezTo>
                    <a:pt x="118" y="3421"/>
                    <a:pt x="1" y="2969"/>
                    <a:pt x="301" y="2851"/>
                  </a:cubicBezTo>
                  <a:lnTo>
                    <a:pt x="7160" y="106"/>
                  </a:lnTo>
                  <a:cubicBezTo>
                    <a:pt x="7489" y="0"/>
                    <a:pt x="7677" y="471"/>
                    <a:pt x="7366" y="623"/>
                  </a:cubicBezTo>
                  <a:lnTo>
                    <a:pt x="506" y="3362"/>
                  </a:lnTo>
                  <a:cubicBezTo>
                    <a:pt x="489" y="3374"/>
                    <a:pt x="465" y="3380"/>
                    <a:pt x="442" y="3380"/>
                  </a:cubicBezTo>
                  <a:close/>
                </a:path>
              </a:pathLst>
            </a:custGeom>
            <a:solidFill>
              <a:srgbClr val="EA551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" name="Google Shape;1188;p44">
              <a:extLst>
                <a:ext uri="{FF2B5EF4-FFF2-40B4-BE49-F238E27FC236}">
                  <a16:creationId xmlns="" xmlns:a16="http://schemas.microsoft.com/office/drawing/2014/main" id="{3BFF43D4-C779-4701-93EF-E560FDEA4B1D}"/>
                </a:ext>
              </a:extLst>
            </p:cNvPr>
            <p:cNvSpPr/>
            <p:nvPr/>
          </p:nvSpPr>
          <p:spPr>
            <a:xfrm>
              <a:off x="6524150" y="3499575"/>
              <a:ext cx="134025" cy="257325"/>
            </a:xfrm>
            <a:custGeom>
              <a:avLst/>
              <a:gdLst/>
              <a:ahLst/>
              <a:cxnLst/>
              <a:rect l="l" t="t" r="r" b="b"/>
              <a:pathLst>
                <a:path w="5361" h="10293" extrusionOk="0">
                  <a:moveTo>
                    <a:pt x="5314" y="306"/>
                  </a:moveTo>
                  <a:lnTo>
                    <a:pt x="2269" y="10127"/>
                  </a:lnTo>
                  <a:cubicBezTo>
                    <a:pt x="2269" y="10127"/>
                    <a:pt x="1910" y="10175"/>
                    <a:pt x="576" y="10257"/>
                  </a:cubicBezTo>
                  <a:lnTo>
                    <a:pt x="0" y="10292"/>
                  </a:lnTo>
                  <a:cubicBezTo>
                    <a:pt x="0" y="10292"/>
                    <a:pt x="3868" y="911"/>
                    <a:pt x="4367" y="470"/>
                  </a:cubicBezTo>
                  <a:cubicBezTo>
                    <a:pt x="4426" y="423"/>
                    <a:pt x="4485" y="376"/>
                    <a:pt x="4544" y="329"/>
                  </a:cubicBezTo>
                  <a:cubicBezTo>
                    <a:pt x="4702" y="218"/>
                    <a:pt x="4867" y="129"/>
                    <a:pt x="5049" y="59"/>
                  </a:cubicBezTo>
                  <a:cubicBezTo>
                    <a:pt x="5202" y="0"/>
                    <a:pt x="5361" y="147"/>
                    <a:pt x="5314" y="306"/>
                  </a:cubicBezTo>
                  <a:close/>
                </a:path>
              </a:pathLst>
            </a:custGeom>
            <a:solidFill>
              <a:srgbClr val="F6F6F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" name="Google Shape;1189;p44">
              <a:extLst>
                <a:ext uri="{FF2B5EF4-FFF2-40B4-BE49-F238E27FC236}">
                  <a16:creationId xmlns="" xmlns:a16="http://schemas.microsoft.com/office/drawing/2014/main" id="{A5B8A30A-99E7-46A2-938A-C1EC89417829}"/>
                </a:ext>
              </a:extLst>
            </p:cNvPr>
            <p:cNvSpPr/>
            <p:nvPr/>
          </p:nvSpPr>
          <p:spPr>
            <a:xfrm>
              <a:off x="6524300" y="3507800"/>
              <a:ext cx="113600" cy="249100"/>
            </a:xfrm>
            <a:custGeom>
              <a:avLst/>
              <a:gdLst/>
              <a:ahLst/>
              <a:cxnLst/>
              <a:rect l="l" t="t" r="r" b="b"/>
              <a:pathLst>
                <a:path w="4544" h="9964" extrusionOk="0">
                  <a:moveTo>
                    <a:pt x="4544" y="0"/>
                  </a:moveTo>
                  <a:lnTo>
                    <a:pt x="576" y="9928"/>
                  </a:lnTo>
                  <a:lnTo>
                    <a:pt x="0" y="9963"/>
                  </a:lnTo>
                  <a:cubicBezTo>
                    <a:pt x="0" y="9963"/>
                    <a:pt x="3868" y="582"/>
                    <a:pt x="4367" y="141"/>
                  </a:cubicBezTo>
                  <a:cubicBezTo>
                    <a:pt x="4426" y="88"/>
                    <a:pt x="4485" y="41"/>
                    <a:pt x="4544" y="0"/>
                  </a:cubicBezTo>
                  <a:close/>
                </a:path>
              </a:pathLst>
            </a:custGeom>
            <a:solidFill>
              <a:srgbClr val="EA551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" name="Google Shape;1190;p44">
              <a:extLst>
                <a:ext uri="{FF2B5EF4-FFF2-40B4-BE49-F238E27FC236}">
                  <a16:creationId xmlns="" xmlns:a16="http://schemas.microsoft.com/office/drawing/2014/main" id="{8B11ED95-6BDB-454E-89A3-01CFE2E9B00A}"/>
                </a:ext>
              </a:extLst>
            </p:cNvPr>
            <p:cNvSpPr/>
            <p:nvPr/>
          </p:nvSpPr>
          <p:spPr>
            <a:xfrm>
              <a:off x="6449050" y="4015925"/>
              <a:ext cx="141525" cy="159025"/>
            </a:xfrm>
            <a:custGeom>
              <a:avLst/>
              <a:gdLst/>
              <a:ahLst/>
              <a:cxnLst/>
              <a:rect l="l" t="t" r="r" b="b"/>
              <a:pathLst>
                <a:path w="5661" h="6361" extrusionOk="0">
                  <a:moveTo>
                    <a:pt x="2105" y="6249"/>
                  </a:moveTo>
                  <a:cubicBezTo>
                    <a:pt x="2105" y="6249"/>
                    <a:pt x="3163" y="6360"/>
                    <a:pt x="4350" y="4803"/>
                  </a:cubicBezTo>
                  <a:cubicBezTo>
                    <a:pt x="4591" y="4491"/>
                    <a:pt x="4903" y="3956"/>
                    <a:pt x="5173" y="3480"/>
                  </a:cubicBezTo>
                  <a:cubicBezTo>
                    <a:pt x="5661" y="2616"/>
                    <a:pt x="5585" y="1529"/>
                    <a:pt x="4950" y="771"/>
                  </a:cubicBezTo>
                  <a:cubicBezTo>
                    <a:pt x="4503" y="242"/>
                    <a:pt x="3892" y="1"/>
                    <a:pt x="3069" y="124"/>
                  </a:cubicBezTo>
                  <a:cubicBezTo>
                    <a:pt x="3069" y="124"/>
                    <a:pt x="1065" y="488"/>
                    <a:pt x="1" y="1564"/>
                  </a:cubicBezTo>
                  <a:close/>
                </a:path>
              </a:pathLst>
            </a:custGeom>
            <a:solidFill>
              <a:srgbClr val="EA551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" name="Google Shape;1191;p44">
              <a:extLst>
                <a:ext uri="{FF2B5EF4-FFF2-40B4-BE49-F238E27FC236}">
                  <a16:creationId xmlns="" xmlns:a16="http://schemas.microsoft.com/office/drawing/2014/main" id="{C0762CD0-93EE-4462-98BF-0C6A19B1CD51}"/>
                </a:ext>
              </a:extLst>
            </p:cNvPr>
            <p:cNvSpPr/>
            <p:nvPr/>
          </p:nvSpPr>
          <p:spPr>
            <a:xfrm>
              <a:off x="6419950" y="4039450"/>
              <a:ext cx="130075" cy="137850"/>
            </a:xfrm>
            <a:custGeom>
              <a:avLst/>
              <a:gdLst/>
              <a:ahLst/>
              <a:cxnLst/>
              <a:rect l="l" t="t" r="r" b="b"/>
              <a:pathLst>
                <a:path w="5203" h="5514" extrusionOk="0">
                  <a:moveTo>
                    <a:pt x="5009" y="2433"/>
                  </a:moveTo>
                  <a:cubicBezTo>
                    <a:pt x="5203" y="3856"/>
                    <a:pt x="4280" y="5155"/>
                    <a:pt x="2951" y="5337"/>
                  </a:cubicBezTo>
                  <a:cubicBezTo>
                    <a:pt x="1617" y="5513"/>
                    <a:pt x="383" y="4508"/>
                    <a:pt x="195" y="3086"/>
                  </a:cubicBezTo>
                  <a:cubicBezTo>
                    <a:pt x="1" y="1658"/>
                    <a:pt x="924" y="359"/>
                    <a:pt x="2252" y="182"/>
                  </a:cubicBezTo>
                  <a:cubicBezTo>
                    <a:pt x="3586" y="0"/>
                    <a:pt x="4821" y="1011"/>
                    <a:pt x="5009" y="2433"/>
                  </a:cubicBezTo>
                  <a:close/>
                </a:path>
              </a:pathLst>
            </a:custGeom>
            <a:solidFill>
              <a:srgbClr val="F6F6F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" name="Google Shape;1192;p44">
              <a:extLst>
                <a:ext uri="{FF2B5EF4-FFF2-40B4-BE49-F238E27FC236}">
                  <a16:creationId xmlns="" xmlns:a16="http://schemas.microsoft.com/office/drawing/2014/main" id="{D4E417C7-19E6-4007-B6C4-26BE2C13516A}"/>
                </a:ext>
              </a:extLst>
            </p:cNvPr>
            <p:cNvSpPr/>
            <p:nvPr/>
          </p:nvSpPr>
          <p:spPr>
            <a:xfrm>
              <a:off x="6425550" y="4055300"/>
              <a:ext cx="106400" cy="112750"/>
            </a:xfrm>
            <a:custGeom>
              <a:avLst/>
              <a:gdLst/>
              <a:ahLst/>
              <a:cxnLst/>
              <a:rect l="l" t="t" r="r" b="b"/>
              <a:pathLst>
                <a:path w="4256" h="4510" extrusionOk="0">
                  <a:moveTo>
                    <a:pt x="4097" y="1988"/>
                  </a:moveTo>
                  <a:cubicBezTo>
                    <a:pt x="4256" y="3151"/>
                    <a:pt x="3497" y="4215"/>
                    <a:pt x="2410" y="4362"/>
                  </a:cubicBezTo>
                  <a:cubicBezTo>
                    <a:pt x="1323" y="4509"/>
                    <a:pt x="312" y="3680"/>
                    <a:pt x="159" y="2517"/>
                  </a:cubicBezTo>
                  <a:cubicBezTo>
                    <a:pt x="0" y="1353"/>
                    <a:pt x="753" y="289"/>
                    <a:pt x="1846" y="148"/>
                  </a:cubicBezTo>
                  <a:cubicBezTo>
                    <a:pt x="2933" y="1"/>
                    <a:pt x="3938" y="824"/>
                    <a:pt x="4097" y="1988"/>
                  </a:cubicBezTo>
                  <a:close/>
                </a:path>
              </a:pathLst>
            </a:custGeom>
            <a:solidFill>
              <a:srgbClr val="EA551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" name="Google Shape;1193;p44">
              <a:extLst>
                <a:ext uri="{FF2B5EF4-FFF2-40B4-BE49-F238E27FC236}">
                  <a16:creationId xmlns="" xmlns:a16="http://schemas.microsoft.com/office/drawing/2014/main" id="{E70379BB-469D-4A74-8F63-FB8A9F71F44F}"/>
                </a:ext>
              </a:extLst>
            </p:cNvPr>
            <p:cNvSpPr/>
            <p:nvPr/>
          </p:nvSpPr>
          <p:spPr>
            <a:xfrm>
              <a:off x="6453175" y="4084700"/>
              <a:ext cx="51000" cy="53800"/>
            </a:xfrm>
            <a:custGeom>
              <a:avLst/>
              <a:gdLst/>
              <a:ahLst/>
              <a:cxnLst/>
              <a:rect l="l" t="t" r="r" b="b"/>
              <a:pathLst>
                <a:path w="2040" h="2152" extrusionOk="0">
                  <a:moveTo>
                    <a:pt x="1963" y="953"/>
                  </a:moveTo>
                  <a:cubicBezTo>
                    <a:pt x="2040" y="1505"/>
                    <a:pt x="1675" y="2017"/>
                    <a:pt x="1158" y="2087"/>
                  </a:cubicBezTo>
                  <a:cubicBezTo>
                    <a:pt x="635" y="2152"/>
                    <a:pt x="153" y="1758"/>
                    <a:pt x="77" y="1205"/>
                  </a:cubicBezTo>
                  <a:cubicBezTo>
                    <a:pt x="0" y="647"/>
                    <a:pt x="365" y="136"/>
                    <a:pt x="888" y="71"/>
                  </a:cubicBezTo>
                  <a:cubicBezTo>
                    <a:pt x="1405" y="0"/>
                    <a:pt x="1887" y="394"/>
                    <a:pt x="1963" y="953"/>
                  </a:cubicBezTo>
                  <a:close/>
                </a:path>
              </a:pathLst>
            </a:custGeom>
            <a:solidFill>
              <a:srgbClr val="F6F6F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" name="Google Shape;1194;p44">
              <a:extLst>
                <a:ext uri="{FF2B5EF4-FFF2-40B4-BE49-F238E27FC236}">
                  <a16:creationId xmlns="" xmlns:a16="http://schemas.microsoft.com/office/drawing/2014/main" id="{3CF25BEA-ADA2-40E6-95E0-5507C6541D91}"/>
                </a:ext>
              </a:extLst>
            </p:cNvPr>
            <p:cNvSpPr/>
            <p:nvPr/>
          </p:nvSpPr>
          <p:spPr>
            <a:xfrm>
              <a:off x="6503425" y="3999325"/>
              <a:ext cx="98925" cy="41900"/>
            </a:xfrm>
            <a:custGeom>
              <a:avLst/>
              <a:gdLst/>
              <a:ahLst/>
              <a:cxnLst/>
              <a:rect l="l" t="t" r="r" b="b"/>
              <a:pathLst>
                <a:path w="3957" h="1676" extrusionOk="0">
                  <a:moveTo>
                    <a:pt x="682" y="277"/>
                  </a:moveTo>
                  <a:cubicBezTo>
                    <a:pt x="682" y="277"/>
                    <a:pt x="0" y="1094"/>
                    <a:pt x="130" y="1358"/>
                  </a:cubicBezTo>
                  <a:cubicBezTo>
                    <a:pt x="259" y="1617"/>
                    <a:pt x="1435" y="1364"/>
                    <a:pt x="1975" y="1199"/>
                  </a:cubicBezTo>
                  <a:cubicBezTo>
                    <a:pt x="2510" y="1035"/>
                    <a:pt x="2951" y="1676"/>
                    <a:pt x="2951" y="1676"/>
                  </a:cubicBezTo>
                  <a:lnTo>
                    <a:pt x="3956" y="0"/>
                  </a:lnTo>
                  <a:close/>
                </a:path>
              </a:pathLst>
            </a:custGeom>
            <a:solidFill>
              <a:srgbClr val="FDFDF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" name="Google Shape;1195;p44">
              <a:extLst>
                <a:ext uri="{FF2B5EF4-FFF2-40B4-BE49-F238E27FC236}">
                  <a16:creationId xmlns="" xmlns:a16="http://schemas.microsoft.com/office/drawing/2014/main" id="{94E5BF04-D008-4CBE-B7C2-541C538BC27B}"/>
                </a:ext>
              </a:extLst>
            </p:cNvPr>
            <p:cNvSpPr/>
            <p:nvPr/>
          </p:nvSpPr>
          <p:spPr>
            <a:xfrm>
              <a:off x="6279625" y="3954200"/>
              <a:ext cx="564300" cy="56750"/>
            </a:xfrm>
            <a:custGeom>
              <a:avLst/>
              <a:gdLst/>
              <a:ahLst/>
              <a:cxnLst/>
              <a:rect l="l" t="t" r="r" b="b"/>
              <a:pathLst>
                <a:path w="22572" h="2270" extrusionOk="0">
                  <a:moveTo>
                    <a:pt x="22083" y="665"/>
                  </a:moveTo>
                  <a:cubicBezTo>
                    <a:pt x="22054" y="695"/>
                    <a:pt x="22019" y="718"/>
                    <a:pt x="21984" y="742"/>
                  </a:cubicBezTo>
                  <a:cubicBezTo>
                    <a:pt x="21225" y="1235"/>
                    <a:pt x="17652" y="1611"/>
                    <a:pt x="12644" y="1935"/>
                  </a:cubicBezTo>
                  <a:cubicBezTo>
                    <a:pt x="7377" y="2270"/>
                    <a:pt x="1" y="2235"/>
                    <a:pt x="1" y="2235"/>
                  </a:cubicBezTo>
                  <a:cubicBezTo>
                    <a:pt x="71" y="2011"/>
                    <a:pt x="183" y="1805"/>
                    <a:pt x="318" y="1611"/>
                  </a:cubicBezTo>
                  <a:cubicBezTo>
                    <a:pt x="1476" y="1"/>
                    <a:pt x="4556" y="36"/>
                    <a:pt x="4556" y="36"/>
                  </a:cubicBezTo>
                  <a:cubicBezTo>
                    <a:pt x="4556" y="36"/>
                    <a:pt x="8964" y="330"/>
                    <a:pt x="11380" y="283"/>
                  </a:cubicBezTo>
                  <a:cubicBezTo>
                    <a:pt x="13802" y="236"/>
                    <a:pt x="21172" y="136"/>
                    <a:pt x="21643" y="166"/>
                  </a:cubicBezTo>
                  <a:cubicBezTo>
                    <a:pt x="22113" y="195"/>
                    <a:pt x="22571" y="130"/>
                    <a:pt x="22083" y="665"/>
                  </a:cubicBezTo>
                  <a:close/>
                </a:path>
              </a:pathLst>
            </a:custGeom>
            <a:solidFill>
              <a:srgbClr val="F6F6F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" name="Google Shape;1196;p44">
              <a:extLst>
                <a:ext uri="{FF2B5EF4-FFF2-40B4-BE49-F238E27FC236}">
                  <a16:creationId xmlns="" xmlns:a16="http://schemas.microsoft.com/office/drawing/2014/main" id="{28E53422-060B-498D-9935-065875BC0027}"/>
                </a:ext>
              </a:extLst>
            </p:cNvPr>
            <p:cNvSpPr/>
            <p:nvPr/>
          </p:nvSpPr>
          <p:spPr>
            <a:xfrm>
              <a:off x="6279625" y="3972725"/>
              <a:ext cx="549750" cy="38225"/>
            </a:xfrm>
            <a:custGeom>
              <a:avLst/>
              <a:gdLst/>
              <a:ahLst/>
              <a:cxnLst/>
              <a:rect l="l" t="t" r="r" b="b"/>
              <a:pathLst>
                <a:path w="21990" h="1529" extrusionOk="0">
                  <a:moveTo>
                    <a:pt x="21989" y="1"/>
                  </a:moveTo>
                  <a:cubicBezTo>
                    <a:pt x="21225" y="494"/>
                    <a:pt x="17652" y="876"/>
                    <a:pt x="12644" y="1194"/>
                  </a:cubicBezTo>
                  <a:cubicBezTo>
                    <a:pt x="7377" y="1529"/>
                    <a:pt x="1" y="1499"/>
                    <a:pt x="1" y="1499"/>
                  </a:cubicBezTo>
                  <a:cubicBezTo>
                    <a:pt x="71" y="1270"/>
                    <a:pt x="183" y="1064"/>
                    <a:pt x="318" y="870"/>
                  </a:cubicBezTo>
                  <a:cubicBezTo>
                    <a:pt x="2128" y="941"/>
                    <a:pt x="9699" y="1170"/>
                    <a:pt x="16940" y="524"/>
                  </a:cubicBezTo>
                  <a:cubicBezTo>
                    <a:pt x="19045" y="336"/>
                    <a:pt x="20696" y="159"/>
                    <a:pt x="21989" y="1"/>
                  </a:cubicBezTo>
                  <a:close/>
                </a:path>
              </a:pathLst>
            </a:custGeom>
            <a:solidFill>
              <a:srgbClr val="EA551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" name="Google Shape;1197;p44">
              <a:extLst>
                <a:ext uri="{FF2B5EF4-FFF2-40B4-BE49-F238E27FC236}">
                  <a16:creationId xmlns="" xmlns:a16="http://schemas.microsoft.com/office/drawing/2014/main" id="{8D0B8BAB-5291-4688-ACA9-2AC2ECD7A885}"/>
                </a:ext>
              </a:extLst>
            </p:cNvPr>
            <p:cNvSpPr/>
            <p:nvPr/>
          </p:nvSpPr>
          <p:spPr>
            <a:xfrm>
              <a:off x="6799800" y="4188450"/>
              <a:ext cx="1500" cy="6775"/>
            </a:xfrm>
            <a:custGeom>
              <a:avLst/>
              <a:gdLst/>
              <a:ahLst/>
              <a:cxnLst/>
              <a:rect l="l" t="t" r="r" b="b"/>
              <a:pathLst>
                <a:path w="60" h="271" extrusionOk="0">
                  <a:moveTo>
                    <a:pt x="1" y="0"/>
                  </a:moveTo>
                  <a:lnTo>
                    <a:pt x="1" y="271"/>
                  </a:lnTo>
                  <a:cubicBezTo>
                    <a:pt x="7" y="265"/>
                    <a:pt x="13" y="265"/>
                    <a:pt x="13" y="259"/>
                  </a:cubicBezTo>
                  <a:cubicBezTo>
                    <a:pt x="42" y="224"/>
                    <a:pt x="60" y="182"/>
                    <a:pt x="54" y="135"/>
                  </a:cubicBezTo>
                  <a:cubicBezTo>
                    <a:pt x="48" y="100"/>
                    <a:pt x="36" y="59"/>
                    <a:pt x="19" y="30"/>
                  </a:cubicBezTo>
                  <a:cubicBezTo>
                    <a:pt x="13" y="18"/>
                    <a:pt x="7" y="12"/>
                    <a:pt x="1" y="0"/>
                  </a:cubicBezTo>
                  <a:close/>
                </a:path>
              </a:pathLst>
            </a:custGeom>
            <a:solidFill>
              <a:srgbClr val="FFFFF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50" name="Rectangle 49">
            <a:extLst>
              <a:ext uri="{FF2B5EF4-FFF2-40B4-BE49-F238E27FC236}">
                <a16:creationId xmlns="" xmlns:a16="http://schemas.microsoft.com/office/drawing/2014/main" id="{630598AB-ECB5-487D-B9BC-AEF29DD2DF88}"/>
              </a:ext>
            </a:extLst>
          </p:cNvPr>
          <p:cNvSpPr/>
          <p:nvPr/>
        </p:nvSpPr>
        <p:spPr>
          <a:xfrm>
            <a:off x="244800" y="2057400"/>
            <a:ext cx="8648375" cy="4287838"/>
          </a:xfrm>
          <a:prstGeom prst="rect">
            <a:avLst/>
          </a:prstGeom>
          <a:noFill/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97212" indent="-97212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  <a:latin typeface="+mj-lt"/>
                <a:cs typeface="Arial" pitchFamily="34" charset="0"/>
              </a:rPr>
              <a:t>Data Type Correction</a:t>
            </a:r>
          </a:p>
          <a:p>
            <a:pPr marL="97212" indent="-97212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  <a:latin typeface="+mj-lt"/>
                <a:cs typeface="Arial" pitchFamily="34" charset="0"/>
              </a:rPr>
              <a:t>Renaming Columns</a:t>
            </a:r>
          </a:p>
          <a:p>
            <a:pPr marL="97212" indent="-97212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  <a:latin typeface="+mj-lt"/>
                <a:cs typeface="Arial" pitchFamily="34" charset="0"/>
              </a:rPr>
              <a:t>Identifying Null Values</a:t>
            </a:r>
          </a:p>
          <a:p>
            <a:pPr marL="232229" indent="-135017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–"/>
            </a:pPr>
            <a:r>
              <a:rPr lang="en-US" sz="1200" dirty="0">
                <a:solidFill>
                  <a:schemeClr val="tx1"/>
                </a:solidFill>
                <a:latin typeface="+mj-lt"/>
                <a:cs typeface="Arial" pitchFamily="34" charset="0"/>
              </a:rPr>
              <a:t>Replacing </a:t>
            </a:r>
          </a:p>
          <a:p>
            <a:pPr marL="232229" indent="-135017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–"/>
            </a:pPr>
            <a:r>
              <a:rPr lang="en-US" sz="1200" dirty="0">
                <a:solidFill>
                  <a:schemeClr val="tx1"/>
                </a:solidFill>
                <a:latin typeface="+mj-lt"/>
                <a:cs typeface="Arial" pitchFamily="34" charset="0"/>
              </a:rPr>
              <a:t>Dropping</a:t>
            </a:r>
          </a:p>
          <a:p>
            <a:pPr marL="97212" indent="-97212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  <a:latin typeface="+mj-lt"/>
                <a:cs typeface="Arial" pitchFamily="34" charset="0"/>
              </a:rPr>
              <a:t>Identifying Duplicates</a:t>
            </a:r>
          </a:p>
          <a:p>
            <a:pPr marL="97212" indent="-97212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  <a:latin typeface="+mj-lt"/>
                <a:cs typeface="Arial" pitchFamily="34" charset="0"/>
              </a:rPr>
              <a:t>Encoding Nominal Categorical Data</a:t>
            </a:r>
          </a:p>
          <a:p>
            <a:pPr marL="97212" indent="-97212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  <a:latin typeface="+mj-lt"/>
                <a:cs typeface="Arial" pitchFamily="34" charset="0"/>
              </a:rPr>
              <a:t>Identifying Incorrect values</a:t>
            </a:r>
          </a:p>
          <a:p>
            <a:pPr marL="97212" indent="-97212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  <a:latin typeface="+mj-lt"/>
                <a:cs typeface="Arial" pitchFamily="34" charset="0"/>
              </a:rPr>
              <a:t>Checking for Low Variance Columns</a:t>
            </a:r>
          </a:p>
          <a:p>
            <a:pPr marL="97212" indent="-97212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  <a:latin typeface="+mj-lt"/>
                <a:cs typeface="Arial" pitchFamily="34" charset="0"/>
              </a:rPr>
              <a:t>Dropping Uninformative Columns</a:t>
            </a:r>
          </a:p>
        </p:txBody>
      </p:sp>
      <p:grpSp>
        <p:nvGrpSpPr>
          <p:cNvPr id="51" name="Group 50">
            <a:extLst>
              <a:ext uri="{FF2B5EF4-FFF2-40B4-BE49-F238E27FC236}">
                <a16:creationId xmlns="" xmlns:a16="http://schemas.microsoft.com/office/drawing/2014/main" id="{62008B0E-1C21-48D4-90CA-13E591C9B8C8}"/>
              </a:ext>
            </a:extLst>
          </p:cNvPr>
          <p:cNvGrpSpPr/>
          <p:nvPr/>
        </p:nvGrpSpPr>
        <p:grpSpPr>
          <a:xfrm>
            <a:off x="7877395" y="1225848"/>
            <a:ext cx="937795" cy="385342"/>
            <a:chOff x="7877395" y="1225848"/>
            <a:chExt cx="937795" cy="385342"/>
          </a:xfrm>
        </p:grpSpPr>
        <p:sp>
          <p:nvSpPr>
            <p:cNvPr id="52" name="Isosceles Triangle 51">
              <a:extLst>
                <a:ext uri="{FF2B5EF4-FFF2-40B4-BE49-F238E27FC236}">
                  <a16:creationId xmlns="" xmlns:a16="http://schemas.microsoft.com/office/drawing/2014/main" id="{E3BDE8B6-1018-4F54-A11B-BCA16926DB29}"/>
                </a:ext>
              </a:extLst>
            </p:cNvPr>
            <p:cNvSpPr>
              <a:spLocks noChangeAspect="1"/>
            </p:cNvSpPr>
            <p:nvPr/>
          </p:nvSpPr>
          <p:spPr bwMode="gray">
            <a:xfrm rot="9927096">
              <a:off x="8132907" y="1349645"/>
              <a:ext cx="73611" cy="63458"/>
            </a:xfrm>
            <a:prstGeom prst="triangle">
              <a:avLst/>
            </a:prstGeom>
            <a:solidFill>
              <a:schemeClr val="bg2"/>
            </a:solidFill>
            <a:ln w="9525">
              <a:solidFill>
                <a:srgbClr val="007F7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050" dirty="0">
                <a:solidFill>
                  <a:schemeClr val="tx1"/>
                </a:solidFill>
              </a:endParaRPr>
            </a:p>
          </p:txBody>
        </p:sp>
        <p:sp>
          <p:nvSpPr>
            <p:cNvPr id="53" name="Oval 52">
              <a:extLst>
                <a:ext uri="{FF2B5EF4-FFF2-40B4-BE49-F238E27FC236}">
                  <a16:creationId xmlns="" xmlns:a16="http://schemas.microsoft.com/office/drawing/2014/main" id="{C2E7D666-7BA8-411C-B861-2265AD7A013A}"/>
                </a:ext>
              </a:extLst>
            </p:cNvPr>
            <p:cNvSpPr/>
            <p:nvPr/>
          </p:nvSpPr>
          <p:spPr>
            <a:xfrm>
              <a:off x="8002635" y="1243852"/>
              <a:ext cx="50253" cy="50252"/>
            </a:xfrm>
            <a:prstGeom prst="ellipse">
              <a:avLst/>
            </a:prstGeom>
            <a:solidFill>
              <a:schemeClr val="bg2"/>
            </a:solidFill>
            <a:ln w="12700" cap="flat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 b="1" dirty="0">
                <a:solidFill>
                  <a:schemeClr val="bg1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54" name="Oval 53">
              <a:extLst>
                <a:ext uri="{FF2B5EF4-FFF2-40B4-BE49-F238E27FC236}">
                  <a16:creationId xmlns="" xmlns:a16="http://schemas.microsoft.com/office/drawing/2014/main" id="{1B8BBE3B-6A6E-4647-8D5D-FBF3DA402E92}"/>
                </a:ext>
              </a:extLst>
            </p:cNvPr>
            <p:cNvSpPr/>
            <p:nvPr/>
          </p:nvSpPr>
          <p:spPr>
            <a:xfrm>
              <a:off x="8530035" y="1349312"/>
              <a:ext cx="212364" cy="212364"/>
            </a:xfrm>
            <a:prstGeom prst="ellipse">
              <a:avLst/>
            </a:prstGeom>
            <a:solidFill>
              <a:schemeClr val="accent5"/>
            </a:solidFill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ot="0" spcFirstLastPara="0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55" name="Arc 54">
              <a:extLst>
                <a:ext uri="{FF2B5EF4-FFF2-40B4-BE49-F238E27FC236}">
                  <a16:creationId xmlns="" xmlns:a16="http://schemas.microsoft.com/office/drawing/2014/main" id="{F34B0093-552D-42D0-B569-0497C804A40E}"/>
                </a:ext>
              </a:extLst>
            </p:cNvPr>
            <p:cNvSpPr/>
            <p:nvPr/>
          </p:nvSpPr>
          <p:spPr bwMode="gray">
            <a:xfrm>
              <a:off x="8486575" y="1267966"/>
              <a:ext cx="283644" cy="247796"/>
            </a:xfrm>
            <a:prstGeom prst="arc">
              <a:avLst>
                <a:gd name="adj1" fmla="val 11178900"/>
                <a:gd name="adj2" fmla="val 21075396"/>
              </a:avLst>
            </a:prstGeom>
            <a:ln w="19050" cap="flat">
              <a:solidFill>
                <a:schemeClr val="accent5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100" dirty="0"/>
            </a:p>
          </p:txBody>
        </p:sp>
        <p:sp>
          <p:nvSpPr>
            <p:cNvPr id="56" name="Isosceles Triangle 55">
              <a:extLst>
                <a:ext uri="{FF2B5EF4-FFF2-40B4-BE49-F238E27FC236}">
                  <a16:creationId xmlns="" xmlns:a16="http://schemas.microsoft.com/office/drawing/2014/main" id="{901D8746-F614-4FF3-9503-86C642840928}"/>
                </a:ext>
              </a:extLst>
            </p:cNvPr>
            <p:cNvSpPr>
              <a:spLocks noChangeAspect="1"/>
            </p:cNvSpPr>
            <p:nvPr/>
          </p:nvSpPr>
          <p:spPr bwMode="gray">
            <a:xfrm rot="9927096">
              <a:off x="8734789" y="1347929"/>
              <a:ext cx="73611" cy="63458"/>
            </a:xfrm>
            <a:prstGeom prst="triangle">
              <a:avLst/>
            </a:prstGeom>
            <a:solidFill>
              <a:schemeClr val="accent5"/>
            </a:solidFill>
            <a:ln w="952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050" dirty="0">
                <a:solidFill>
                  <a:schemeClr val="tx1"/>
                </a:solidFill>
              </a:endParaRPr>
            </a:p>
          </p:txBody>
        </p:sp>
        <p:sp>
          <p:nvSpPr>
            <p:cNvPr id="57" name="Oval 56">
              <a:extLst>
                <a:ext uri="{FF2B5EF4-FFF2-40B4-BE49-F238E27FC236}">
                  <a16:creationId xmlns="" xmlns:a16="http://schemas.microsoft.com/office/drawing/2014/main" id="{6E567D50-314F-4B5F-BE0C-9B85E91EE762}"/>
                </a:ext>
              </a:extLst>
            </p:cNvPr>
            <p:cNvSpPr/>
            <p:nvPr/>
          </p:nvSpPr>
          <p:spPr>
            <a:xfrm>
              <a:off x="8611091" y="1243852"/>
              <a:ext cx="50253" cy="50252"/>
            </a:xfrm>
            <a:prstGeom prst="ellipse">
              <a:avLst/>
            </a:prstGeom>
            <a:solidFill>
              <a:schemeClr val="accent5"/>
            </a:solidFill>
            <a:ln w="12700" cap="flat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 b="1" dirty="0">
                <a:solidFill>
                  <a:schemeClr val="bg1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58" name="Rectangle 57">
              <a:extLst>
                <a:ext uri="{FF2B5EF4-FFF2-40B4-BE49-F238E27FC236}">
                  <a16:creationId xmlns="" xmlns:a16="http://schemas.microsoft.com/office/drawing/2014/main" id="{C3AE872A-3584-4B2C-9F87-BFBBD970CDCC}"/>
                </a:ext>
              </a:extLst>
            </p:cNvPr>
            <p:cNvSpPr/>
            <p:nvPr/>
          </p:nvSpPr>
          <p:spPr>
            <a:xfrm>
              <a:off x="8486575" y="1225848"/>
              <a:ext cx="328615" cy="385342"/>
            </a:xfrm>
            <a:prstGeom prst="rect">
              <a:avLst/>
            </a:prstGeom>
            <a:solidFill>
              <a:schemeClr val="bg1">
                <a:alpha val="80000"/>
              </a:schemeClr>
            </a:solidFill>
            <a:ln w="6350" cap="flat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900"/>
                </a:spcBef>
              </a:pPr>
              <a:endParaRPr lang="en-US" sz="140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59" name="Oval 58">
              <a:extLst>
                <a:ext uri="{FF2B5EF4-FFF2-40B4-BE49-F238E27FC236}">
                  <a16:creationId xmlns="" xmlns:a16="http://schemas.microsoft.com/office/drawing/2014/main" id="{4FDDBCF9-BB92-481D-A407-499BC232E176}"/>
                </a:ext>
              </a:extLst>
            </p:cNvPr>
            <p:cNvSpPr/>
            <p:nvPr/>
          </p:nvSpPr>
          <p:spPr>
            <a:xfrm>
              <a:off x="7921579" y="1349312"/>
              <a:ext cx="212364" cy="212364"/>
            </a:xfrm>
            <a:prstGeom prst="ellipse">
              <a:avLst/>
            </a:prstGeom>
            <a:solidFill>
              <a:schemeClr val="bg2"/>
            </a:solidFill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ot="0" spcFirstLastPara="0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60" name="Arc 59">
              <a:extLst>
                <a:ext uri="{FF2B5EF4-FFF2-40B4-BE49-F238E27FC236}">
                  <a16:creationId xmlns="" xmlns:a16="http://schemas.microsoft.com/office/drawing/2014/main" id="{75ADA742-CD1E-43FC-80C6-DCD54F40C959}"/>
                </a:ext>
              </a:extLst>
            </p:cNvPr>
            <p:cNvSpPr/>
            <p:nvPr/>
          </p:nvSpPr>
          <p:spPr bwMode="gray">
            <a:xfrm>
              <a:off x="7883769" y="1267966"/>
              <a:ext cx="283644" cy="247796"/>
            </a:xfrm>
            <a:prstGeom prst="arc">
              <a:avLst>
                <a:gd name="adj1" fmla="val 11178900"/>
                <a:gd name="adj2" fmla="val 21075396"/>
              </a:avLst>
            </a:prstGeom>
            <a:ln w="19050" cap="flat">
              <a:solidFill>
                <a:schemeClr val="bg2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100" dirty="0"/>
            </a:p>
          </p:txBody>
        </p:sp>
        <p:sp>
          <p:nvSpPr>
            <p:cNvPr id="61" name="Rectangle 60">
              <a:extLst>
                <a:ext uri="{FF2B5EF4-FFF2-40B4-BE49-F238E27FC236}">
                  <a16:creationId xmlns="" xmlns:a16="http://schemas.microsoft.com/office/drawing/2014/main" id="{DFAF7B0F-467C-492D-90CF-589AC3562B8B}"/>
                </a:ext>
              </a:extLst>
            </p:cNvPr>
            <p:cNvSpPr/>
            <p:nvPr/>
          </p:nvSpPr>
          <p:spPr>
            <a:xfrm>
              <a:off x="7877395" y="1225848"/>
              <a:ext cx="328615" cy="385342"/>
            </a:xfrm>
            <a:prstGeom prst="rect">
              <a:avLst/>
            </a:prstGeom>
            <a:solidFill>
              <a:schemeClr val="bg1">
                <a:alpha val="80000"/>
              </a:schemeClr>
            </a:solidFill>
            <a:ln w="6350" cap="flat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900"/>
                </a:spcBef>
              </a:pPr>
              <a:endParaRPr lang="en-US" sz="140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62" name="Oval 61">
              <a:extLst>
                <a:ext uri="{FF2B5EF4-FFF2-40B4-BE49-F238E27FC236}">
                  <a16:creationId xmlns="" xmlns:a16="http://schemas.microsoft.com/office/drawing/2014/main" id="{B1C8C3E4-3210-49A6-911A-3E728DF43802}"/>
                </a:ext>
              </a:extLst>
            </p:cNvPr>
            <p:cNvSpPr/>
            <p:nvPr/>
          </p:nvSpPr>
          <p:spPr>
            <a:xfrm>
              <a:off x="8225098" y="1244357"/>
              <a:ext cx="212364" cy="212364"/>
            </a:xfrm>
            <a:prstGeom prst="ellipse">
              <a:avLst/>
            </a:prstGeom>
            <a:solidFill>
              <a:schemeClr val="accent1"/>
            </a:solidFill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ot="0" spcFirstLastPara="0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63" name="Arc 62">
              <a:extLst>
                <a:ext uri="{FF2B5EF4-FFF2-40B4-BE49-F238E27FC236}">
                  <a16:creationId xmlns="" xmlns:a16="http://schemas.microsoft.com/office/drawing/2014/main" id="{5F3F444B-F17F-4FBA-87A3-2A2B2663E99A}"/>
                </a:ext>
              </a:extLst>
            </p:cNvPr>
            <p:cNvSpPr/>
            <p:nvPr/>
          </p:nvSpPr>
          <p:spPr bwMode="gray">
            <a:xfrm flipV="1">
              <a:off x="8184095" y="1313981"/>
              <a:ext cx="283644" cy="247373"/>
            </a:xfrm>
            <a:prstGeom prst="arc">
              <a:avLst>
                <a:gd name="adj1" fmla="val 11178900"/>
                <a:gd name="adj2" fmla="val 21075396"/>
              </a:avLst>
            </a:prstGeom>
            <a:ln w="19050" cap="flat">
              <a:solidFill>
                <a:schemeClr val="accent1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100" dirty="0"/>
            </a:p>
          </p:txBody>
        </p:sp>
        <p:sp>
          <p:nvSpPr>
            <p:cNvPr id="64" name="Isosceles Triangle 63">
              <a:extLst>
                <a:ext uri="{FF2B5EF4-FFF2-40B4-BE49-F238E27FC236}">
                  <a16:creationId xmlns="" xmlns:a16="http://schemas.microsoft.com/office/drawing/2014/main" id="{0FD66F6A-EA4B-4CCC-ACD9-C36278E85305}"/>
                </a:ext>
              </a:extLst>
            </p:cNvPr>
            <p:cNvSpPr>
              <a:spLocks noChangeAspect="1"/>
            </p:cNvSpPr>
            <p:nvPr/>
          </p:nvSpPr>
          <p:spPr bwMode="gray">
            <a:xfrm rot="11672904" flipV="1">
              <a:off x="8432310" y="1418179"/>
              <a:ext cx="73611" cy="63349"/>
            </a:xfrm>
            <a:prstGeom prst="triangle">
              <a:avLst/>
            </a:prstGeom>
            <a:solidFill>
              <a:schemeClr val="accent1"/>
            </a:solidFill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050" dirty="0">
                <a:solidFill>
                  <a:schemeClr val="tx1"/>
                </a:solidFill>
              </a:endParaRPr>
            </a:p>
          </p:txBody>
        </p:sp>
        <p:sp>
          <p:nvSpPr>
            <p:cNvPr id="65" name="Oval 64">
              <a:extLst>
                <a:ext uri="{FF2B5EF4-FFF2-40B4-BE49-F238E27FC236}">
                  <a16:creationId xmlns="" xmlns:a16="http://schemas.microsoft.com/office/drawing/2014/main" id="{0D1A0C2D-318D-442F-B01C-0583165F5271}"/>
                </a:ext>
              </a:extLst>
            </p:cNvPr>
            <p:cNvSpPr/>
            <p:nvPr/>
          </p:nvSpPr>
          <p:spPr>
            <a:xfrm>
              <a:off x="8306154" y="1537095"/>
              <a:ext cx="50253" cy="50252"/>
            </a:xfrm>
            <a:prstGeom prst="ellipse">
              <a:avLst/>
            </a:prstGeom>
            <a:solidFill>
              <a:schemeClr val="accent1"/>
            </a:solidFill>
            <a:ln w="12700" cap="flat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 b="1" dirty="0">
                <a:solidFill>
                  <a:schemeClr val="bg1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</p:grpSp>
      <p:sp>
        <p:nvSpPr>
          <p:cNvPr id="67" name="Google Shape;203;p26">
            <a:extLst>
              <a:ext uri="{FF2B5EF4-FFF2-40B4-BE49-F238E27FC236}">
                <a16:creationId xmlns="" xmlns:a16="http://schemas.microsoft.com/office/drawing/2014/main" id="{E3312A4C-A07D-4024-B277-593684D2CD8C}"/>
              </a:ext>
            </a:extLst>
          </p:cNvPr>
          <p:cNvSpPr/>
          <p:nvPr/>
        </p:nvSpPr>
        <p:spPr>
          <a:xfrm rot="10800000" flipH="1" flipV="1">
            <a:off x="7084695" y="5664482"/>
            <a:ext cx="2072956" cy="1328913"/>
          </a:xfrm>
          <a:custGeom>
            <a:avLst/>
            <a:gdLst/>
            <a:ahLst/>
            <a:cxnLst/>
            <a:rect l="l" t="t" r="r" b="b"/>
            <a:pathLst>
              <a:path w="88563" h="57373" extrusionOk="0">
                <a:moveTo>
                  <a:pt x="77406" y="1"/>
                </a:moveTo>
                <a:cubicBezTo>
                  <a:pt x="73923" y="1"/>
                  <a:pt x="70569" y="1636"/>
                  <a:pt x="68428" y="4533"/>
                </a:cubicBezTo>
                <a:cubicBezTo>
                  <a:pt x="66354" y="2849"/>
                  <a:pt x="63871" y="2037"/>
                  <a:pt x="61410" y="2037"/>
                </a:cubicBezTo>
                <a:cubicBezTo>
                  <a:pt x="57939" y="2037"/>
                  <a:pt x="54510" y="3652"/>
                  <a:pt x="52326" y="6713"/>
                </a:cubicBezTo>
                <a:cubicBezTo>
                  <a:pt x="50354" y="3053"/>
                  <a:pt x="46550" y="846"/>
                  <a:pt x="42494" y="846"/>
                </a:cubicBezTo>
                <a:cubicBezTo>
                  <a:pt x="41870" y="846"/>
                  <a:pt x="41240" y="898"/>
                  <a:pt x="40610" y="1005"/>
                </a:cubicBezTo>
                <a:cubicBezTo>
                  <a:pt x="35883" y="1822"/>
                  <a:pt x="32205" y="5555"/>
                  <a:pt x="31469" y="10296"/>
                </a:cubicBezTo>
                <a:cubicBezTo>
                  <a:pt x="29397" y="8536"/>
                  <a:pt x="26838" y="7653"/>
                  <a:pt x="24274" y="7653"/>
                </a:cubicBezTo>
                <a:cubicBezTo>
                  <a:pt x="21817" y="7653"/>
                  <a:pt x="19356" y="8464"/>
                  <a:pt x="17315" y="10091"/>
                </a:cubicBezTo>
                <a:cubicBezTo>
                  <a:pt x="13160" y="13415"/>
                  <a:pt x="11921" y="19218"/>
                  <a:pt x="14373" y="23945"/>
                </a:cubicBezTo>
                <a:cubicBezTo>
                  <a:pt x="10504" y="26302"/>
                  <a:pt x="8447" y="30770"/>
                  <a:pt x="9183" y="35252"/>
                </a:cubicBezTo>
                <a:cubicBezTo>
                  <a:pt x="3883" y="36206"/>
                  <a:pt x="28" y="40810"/>
                  <a:pt x="15" y="46205"/>
                </a:cubicBezTo>
                <a:cubicBezTo>
                  <a:pt x="1" y="51586"/>
                  <a:pt x="3829" y="56204"/>
                  <a:pt x="9128" y="57198"/>
                </a:cubicBezTo>
                <a:lnTo>
                  <a:pt x="9155" y="57198"/>
                </a:lnTo>
                <a:cubicBezTo>
                  <a:pt x="9817" y="57315"/>
                  <a:pt x="10485" y="57373"/>
                  <a:pt x="11154" y="57373"/>
                </a:cubicBezTo>
                <a:cubicBezTo>
                  <a:pt x="11739" y="57373"/>
                  <a:pt x="12323" y="57328"/>
                  <a:pt x="12902" y="57239"/>
                </a:cubicBezTo>
                <a:cubicBezTo>
                  <a:pt x="16726" y="57262"/>
                  <a:pt x="23112" y="57271"/>
                  <a:pt x="30601" y="57271"/>
                </a:cubicBezTo>
                <a:cubicBezTo>
                  <a:pt x="54137" y="57271"/>
                  <a:pt x="88562" y="57185"/>
                  <a:pt x="88562" y="57185"/>
                </a:cubicBezTo>
                <a:lnTo>
                  <a:pt x="88562" y="10377"/>
                </a:lnTo>
                <a:lnTo>
                  <a:pt x="88535" y="10377"/>
                </a:lnTo>
                <a:cubicBezTo>
                  <a:pt x="88208" y="5718"/>
                  <a:pt x="85007" y="1740"/>
                  <a:pt x="80525" y="446"/>
                </a:cubicBezTo>
                <a:cubicBezTo>
                  <a:pt x="79493" y="146"/>
                  <a:pt x="78444" y="1"/>
                  <a:pt x="77406" y="1"/>
                </a:cubicBezTo>
                <a:close/>
              </a:path>
            </a:pathLst>
          </a:custGeom>
          <a:solidFill>
            <a:schemeClr val="accent1"/>
          </a:solidFill>
          <a:ln w="9525" cap="flat" cmpd="sng">
            <a:noFill/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 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85377757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7842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d.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4&quot;&gt;&lt;elem m_fUsage=&quot;3.07421559900000085364E+00&quot;&gt;&lt;m_msothmcolidx val=&quot;0&quot;/&gt;&lt;m_rgb r=&quot;C4&quot; g=&quot;00&quot; b=&quot;00&quot;/&gt;&lt;m_nBrightness endver=&quot;26206&quot; val=&quot;0&quot;/&gt;&lt;/elem&gt;&lt;elem m_fUsage=&quot;1.70999999999999996447E+00&quot;&gt;&lt;m_msothmcolidx val=&quot;0&quot;/&gt;&lt;m_rgb r=&quot;02&quot; g=&quot;55&quot; b=&quot;71&quot;/&gt;&lt;m_nBrightness endver=&quot;26206&quot; val=&quot;0&quot;/&gt;&lt;/elem&gt;&lt;elem m_fUsage=&quot;1.00000000000000000000E+00&quot;&gt;&lt;m_msothmcolidx val=&quot;0&quot;/&gt;&lt;m_rgb r=&quot;9B&quot; g=&quot;17&quot; b=&quot;17&quot;/&gt;&lt;m_nBrightness endver=&quot;26206&quot; val=&quot;0&quot;/&gt;&lt;/elem&gt;&lt;elem m_fUsage=&quot;7.29000000000000092371E-01&quot;&gt;&lt;m_msothmcolidx val=&quot;0&quot;/&gt;&lt;m_rgb r=&quot;01&quot; g=&quot;39&quot; b=&quot;4B&quot;/&gt;&lt;m_nBrightness endver=&quot;26206&quot;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w.hKXQrdqHvU.pBSvTkR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n_03WHBhZGDjxW0hjFuU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b_wbOq1k_gf_35piUfP9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0avDvtA2zuFzDO5jvaC5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TWSdb8uwUg5QzKTshHN9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TWSdb8uwUg5QzKTshHN9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TWSdb8uwUg5QzKTshHN9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TWSdb8uwUg5QzKTshHN9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9kTwunFTbagcnNzM1QTh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TWSdb8uwUg5QzKTshHN9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TWSdb8uwUg5QzKTshHN9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TWSdb8uwUg5QzKTshHN9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TWSdb8uwUg5QzKTshHN9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TWSdb8uwUg5QzKTshHN9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TWSdb8uwUg5QzKTshHN9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TWSdb8uwUg5QzKTshHN9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TWSdb8uwUg5QzKTshHN9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TWSdb8uwUg5QzKTshHN9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TWSdb8uwUg5QzKTshHN9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0OdZ_bTZ.fyTQFwjRuSJ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TWSdb8uwUg5QzKTshHN9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TWSdb8uwUg5QzKTshHN9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TWSdb8uwUg5QzKTshHN9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TWSdb8uwUg5QzKTshHN9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TWSdb8uwUg5QzKTshHN9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TWSdb8uwUg5QzKTshHN9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TWSdb8uwUg5QzKTshHN9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TWSdb8uwUg5QzKTshHN9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TWSdb8uwUg5QzKTshHN9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TWSdb8uwUg5QzKTshHN9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gqI9Fsl_FEOxYEN3nJBIw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TWSdb8uwUg5QzKTshHN9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TWSdb8uwUg5QzKTshHN9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TWSdb8uwUg5QzKTshHN9w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TWSdb8uwUg5QzKTshHN9w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TWSdb8uwUg5QzKTshHN9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TWSdb8uwUg5QzKTshHN9w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TWSdb8uwUg5QzKTshHN9w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TWSdb8uwUg5QzKTshHN9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TWSdb8uwUg5QzKTshHN9w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TWSdb8uwUg5QzKTshHN9w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TWSdb8uwUg5QzKTshHN9w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TWSdb8uwUg5QzKTshHN9w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TWSdb8uwUg5QzKTshHN9w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TWSdb8uwUg5QzKTshHN9w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TWSdb8uwUg5QzKTshHN9w"/>
</p:tagLst>
</file>

<file path=ppt/theme/theme1.xml><?xml version="1.0" encoding="utf-8"?>
<a:theme xmlns:a="http://schemas.openxmlformats.org/drawingml/2006/main" name="Blank">
  <a:themeElements>
    <a:clrScheme name="Custom 32">
      <a:dk1>
        <a:srgbClr val="000000"/>
      </a:dk1>
      <a:lt1>
        <a:srgbClr val="FFFFFF"/>
      </a:lt1>
      <a:dk2>
        <a:srgbClr val="083C2D"/>
      </a:dk2>
      <a:lt2>
        <a:srgbClr val="048962"/>
      </a:lt2>
      <a:accent1>
        <a:srgbClr val="037196"/>
      </a:accent1>
      <a:accent2>
        <a:srgbClr val="EFEEEC"/>
      </a:accent2>
      <a:accent3>
        <a:srgbClr val="ADABA1"/>
      </a:accent3>
      <a:accent4>
        <a:srgbClr val="858274"/>
      </a:accent4>
      <a:accent5>
        <a:srgbClr val="D5A111"/>
      </a:accent5>
      <a:accent6>
        <a:srgbClr val="CDD773"/>
      </a:accent6>
      <a:hlink>
        <a:srgbClr val="037196"/>
      </a:hlink>
      <a:folHlink>
        <a:srgbClr val="73DAFC"/>
      </a:folHlink>
    </a:clrScheme>
    <a:fontScheme name="ATK Font 2012_0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 w="6350" cap="flat">
          <a:noFill/>
          <a:miter lim="800000"/>
        </a:ln>
      </a:spPr>
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Bef>
            <a:spcPts val="900"/>
          </a:spcBef>
          <a:defRPr sz="1400" dirty="0" err="1" smtClean="0">
            <a:solidFill>
              <a:schemeClr val="bg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accent3"/>
          </a:solidFill>
          <a:miter lim="800000"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6350" cap="flat">
          <a:noFill/>
          <a:miter lim="800000"/>
        </a:ln>
      </a:spPr>
      <a:bodyPr wrap="none" lIns="0" tIns="0" rIns="0" bIns="0" rtlCol="0" anchor="t" anchorCtr="0">
        <a:spAutoFit/>
      </a:bodyPr>
      <a:lstStyle>
        <a:defPPr>
          <a:lnSpc>
            <a:spcPct val="90000"/>
          </a:lnSpc>
          <a:spcBef>
            <a:spcPts val="600"/>
          </a:spcBef>
          <a:buClr>
            <a:schemeClr val="bg2"/>
          </a:buClr>
          <a:defRPr sz="1400" dirty="0" smtClean="0">
            <a:latin typeface="Arial" pitchFamily="34" charset="0"/>
            <a:cs typeface="Arial" pitchFamily="34" charset="0"/>
          </a:defRPr>
        </a:defPPr>
      </a:lstStyle>
    </a:txDef>
  </a:objectDefaults>
  <a:extraClrSchemeLst/>
  <a:custClrLst>
    <a:custClr name="Custom Color 1">
      <a:srgbClr val="9B1717"/>
    </a:custClr>
    <a:custClr name="Custom Color 2">
      <a:srgbClr val="DCDC00"/>
    </a:custClr>
    <a:custClr name="Custom Color 3">
      <a:srgbClr val="289055"/>
    </a:custClr>
  </a:custClrLst>
  <a:extLst>
    <a:ext uri="{05A4C25C-085E-4340-85A3-A5531E510DB2}">
      <thm15:themeFamily xmlns="" xmlns:thm15="http://schemas.microsoft.com/office/thememl/2012/main" name="Presentation2" id="{FA9FA181-37F3-4E5D-A9D1-9E5C9EABC57F}" vid="{55EEA2C4-D835-42E6-9617-DF2BD6848D1E}"/>
    </a:ext>
  </a:extLst>
</a:theme>
</file>

<file path=ppt/theme/theme2.xml><?xml version="1.0" encoding="utf-8"?>
<a:theme xmlns:a="http://schemas.openxmlformats.org/drawingml/2006/main" name="Aviation Consulting by Slidesgo">
  <a:themeElements>
    <a:clrScheme name="Simple Light">
      <a:dk1>
        <a:srgbClr val="1C4587"/>
      </a:dk1>
      <a:lt1>
        <a:srgbClr val="FFFFFF"/>
      </a:lt1>
      <a:dk2>
        <a:srgbClr val="595959"/>
      </a:dk2>
      <a:lt2>
        <a:srgbClr val="EEEEEE"/>
      </a:lt2>
      <a:accent1>
        <a:srgbClr val="F49968"/>
      </a:accent1>
      <a:accent2>
        <a:srgbClr val="C1E0FB"/>
      </a:accent2>
      <a:accent3>
        <a:srgbClr val="87B7FF"/>
      </a:accent3>
      <a:accent4>
        <a:srgbClr val="F5CEBA"/>
      </a:accent4>
      <a:accent5>
        <a:srgbClr val="F49968"/>
      </a:accent5>
      <a:accent6>
        <a:srgbClr val="C1E0FB"/>
      </a:accent6>
      <a:hlink>
        <a:srgbClr val="1C4587"/>
      </a:hlink>
      <a:folHlink>
        <a:srgbClr val="0097A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ATK Color 2012_01">
      <a:dk1>
        <a:srgbClr val="000000"/>
      </a:dk1>
      <a:lt1>
        <a:srgbClr val="FFFFFF"/>
      </a:lt1>
      <a:dk2>
        <a:srgbClr val="778242"/>
      </a:dk2>
      <a:lt2>
        <a:srgbClr val="9B1717"/>
      </a:lt2>
      <a:accent1>
        <a:srgbClr val="364086"/>
      </a:accent1>
      <a:accent2>
        <a:srgbClr val="EFEEEC"/>
      </a:accent2>
      <a:accent3>
        <a:srgbClr val="ADABA1"/>
      </a:accent3>
      <a:accent4>
        <a:srgbClr val="858274"/>
      </a:accent4>
      <a:accent5>
        <a:srgbClr val="FCA248"/>
      </a:accent5>
      <a:accent6>
        <a:srgbClr val="CDD773"/>
      </a:accent6>
      <a:hlink>
        <a:srgbClr val="364086"/>
      </a:hlink>
      <a:folHlink>
        <a:srgbClr val="A3AADA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350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9BD27F15-3DF3-4CAA-B1FC-36C1DBE9CBE7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CB682138C6F3D4C935484BE852DB7AD" ma:contentTypeVersion="7" ma:contentTypeDescription="Create a new document." ma:contentTypeScope="" ma:versionID="9450f9d7ceb1bf851f9bc0ba34232b0c">
  <xsd:schema xmlns:xsd="http://www.w3.org/2001/XMLSchema" xmlns:xs="http://www.w3.org/2001/XMLSchema" xmlns:p="http://schemas.microsoft.com/office/2006/metadata/properties" xmlns:ns2="e5848bd9-8427-4287-939e-998f3bca544d" xmlns:ns3="426a185e-60fd-4b3d-804b-a28241322ccc" targetNamespace="http://schemas.microsoft.com/office/2006/metadata/properties" ma:root="true" ma:fieldsID="783c114cfb9b1db3818aab98423deb54" ns2:_="" ns3:_="">
    <xsd:import namespace="e5848bd9-8427-4287-939e-998f3bca544d"/>
    <xsd:import namespace="426a185e-60fd-4b3d-804b-a28241322ccc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KeyPoints" minOccurs="0"/>
                <xsd:element ref="ns3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5848bd9-8427-4287-939e-998f3bca544d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26a185e-60fd-4b3d-804b-a28241322cc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3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4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A497C85D-B1ED-46A0-ADED-9FA6C2734E6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5848bd9-8427-4287-939e-998f3bca544d"/>
    <ds:schemaRef ds:uri="426a185e-60fd-4b3d-804b-a28241322ccc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E5EAB3FF-5141-4646-9140-AD5D6DB28E6A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B7D37D30-F2C1-423D-AFC4-829694A2A9E0}">
  <ds:schemaRefs>
    <ds:schemaRef ds:uri="e5848bd9-8427-4287-939e-998f3bca544d"/>
    <ds:schemaRef ds:uri="426a185e-60fd-4b3d-804b-a28241322ccc"/>
    <ds:schemaRef ds:uri="http://purl.org/dc/elements/1.1/"/>
    <ds:schemaRef ds:uri="http://www.w3.org/XML/1998/namespace"/>
    <ds:schemaRef ds:uri="http://purl.org/dc/dcmitype/"/>
    <ds:schemaRef ds:uri="http://schemas.openxmlformats.org/package/2006/metadata/core-properties"/>
    <ds:schemaRef ds:uri="http://schemas.microsoft.com/office/2006/documentManagement/types"/>
    <ds:schemaRef ds:uri="http://purl.org/dc/terms/"/>
    <ds:schemaRef ds:uri="http://schemas.microsoft.com/office/infopath/2007/PartnerControls"/>
    <ds:schemaRef ds:uri="http://schemas.microsoft.com/office/2006/metadata/propertie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20191001_Western Hub_Template_v02</Template>
  <TotalTime>0</TotalTime>
  <Words>1901</Words>
  <Application>Microsoft Macintosh PowerPoint</Application>
  <PresentationFormat>On-screen Show (4:3)</PresentationFormat>
  <Paragraphs>453</Paragraphs>
  <Slides>46</Slides>
  <Notes>19</Notes>
  <HiddenSlides>0</HiddenSlides>
  <MMClips>0</MMClips>
  <ScaleCrop>false</ScaleCrop>
  <HeadingPairs>
    <vt:vector size="6" baseType="variant"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6</vt:i4>
      </vt:variant>
    </vt:vector>
  </HeadingPairs>
  <TitlesOfParts>
    <vt:vector size="49" baseType="lpstr">
      <vt:lpstr>Blank</vt:lpstr>
      <vt:lpstr>Aviation Consulting by Slidesgo</vt:lpstr>
      <vt:lpstr>think-cell Slide</vt:lpstr>
      <vt:lpstr>AVIATION CONSULTING</vt:lpstr>
      <vt:lpstr>Understanding the Situation</vt:lpstr>
      <vt:lpstr>Objective</vt:lpstr>
      <vt:lpstr>Project Approach</vt:lpstr>
      <vt:lpstr>Problem Definition</vt:lpstr>
      <vt:lpstr>Tools &amp; References</vt:lpstr>
      <vt:lpstr>Framework</vt:lpstr>
      <vt:lpstr>Framework</vt:lpstr>
      <vt:lpstr>Framework</vt:lpstr>
      <vt:lpstr>Framework</vt:lpstr>
      <vt:lpstr>Framework</vt:lpstr>
      <vt:lpstr>Framework</vt:lpstr>
      <vt:lpstr>Framework</vt:lpstr>
      <vt:lpstr>Framework</vt:lpstr>
      <vt:lpstr>Framework</vt:lpstr>
      <vt:lpstr>Framework</vt:lpstr>
      <vt:lpstr>Framework</vt:lpstr>
      <vt:lpstr>Framework</vt:lpstr>
      <vt:lpstr>Framework</vt:lpstr>
      <vt:lpstr>Framework</vt:lpstr>
      <vt:lpstr>Framework</vt:lpstr>
      <vt:lpstr>Framework</vt:lpstr>
      <vt:lpstr>Framework</vt:lpstr>
      <vt:lpstr>Framework</vt:lpstr>
      <vt:lpstr>Framework</vt:lpstr>
      <vt:lpstr>Framework</vt:lpstr>
      <vt:lpstr>Framework</vt:lpstr>
      <vt:lpstr>Framework</vt:lpstr>
      <vt:lpstr>Framework</vt:lpstr>
      <vt:lpstr>Framework</vt:lpstr>
      <vt:lpstr>Framework</vt:lpstr>
      <vt:lpstr>Framework</vt:lpstr>
      <vt:lpstr>Framework</vt:lpstr>
      <vt:lpstr>Framework</vt:lpstr>
      <vt:lpstr>Framework</vt:lpstr>
      <vt:lpstr>Framework</vt:lpstr>
      <vt:lpstr>Framework</vt:lpstr>
      <vt:lpstr>Framework</vt:lpstr>
      <vt:lpstr>PowerPoint Presentation</vt:lpstr>
      <vt:lpstr>Framework</vt:lpstr>
      <vt:lpstr>Framework</vt:lpstr>
      <vt:lpstr>Framework</vt:lpstr>
      <vt:lpstr>PowerPoint Presentation</vt:lpstr>
      <vt:lpstr>PowerPoint Presentation</vt:lpstr>
      <vt:lpstr>Key Results</vt:lpstr>
      <vt:lpstr>PowerPoint Presentation</vt:lpstr>
    </vt:vector>
  </TitlesOfParts>
  <Manager/>
  <Company/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19-10-21T09:43:16Z</dcterms:created>
  <dcterms:modified xsi:type="dcterms:W3CDTF">2020-05-22T14:16:27Z</dcterms:modified>
  <cp:version>122016</cp:version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CB682138C6F3D4C935484BE852DB7AD</vt:lpwstr>
  </property>
</Properties>
</file>